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  <p:sldMasterId id="2147483733" r:id="rId5"/>
    <p:sldMasterId id="2147483772" r:id="rId6"/>
  </p:sldMasterIdLst>
  <p:notesMasterIdLst>
    <p:notesMasterId r:id="rId30"/>
  </p:notesMasterIdLst>
  <p:handoutMasterIdLst>
    <p:handoutMasterId r:id="rId31"/>
  </p:handoutMasterIdLst>
  <p:sldIdLst>
    <p:sldId id="365" r:id="rId7"/>
    <p:sldId id="398" r:id="rId8"/>
    <p:sldId id="400" r:id="rId9"/>
    <p:sldId id="401" r:id="rId10"/>
    <p:sldId id="393" r:id="rId11"/>
    <p:sldId id="381" r:id="rId12"/>
    <p:sldId id="382" r:id="rId13"/>
    <p:sldId id="383" r:id="rId14"/>
    <p:sldId id="385" r:id="rId15"/>
    <p:sldId id="396" r:id="rId16"/>
    <p:sldId id="374" r:id="rId17"/>
    <p:sldId id="375" r:id="rId18"/>
    <p:sldId id="376" r:id="rId19"/>
    <p:sldId id="387" r:id="rId20"/>
    <p:sldId id="399" r:id="rId21"/>
    <p:sldId id="404" r:id="rId22"/>
    <p:sldId id="405" r:id="rId23"/>
    <p:sldId id="407" r:id="rId24"/>
    <p:sldId id="408" r:id="rId25"/>
    <p:sldId id="406" r:id="rId26"/>
    <p:sldId id="391" r:id="rId27"/>
    <p:sldId id="403" r:id="rId28"/>
    <p:sldId id="402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4" pos="7333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D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206B06-7071-41B3-9856-BFB74944C11D}" v="20" dt="2023-05-02T15:56:27.537"/>
  </p1510:revLst>
</p1510:revInfo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327" autoAdjust="0"/>
  </p:normalViewPr>
  <p:slideViewPr>
    <p:cSldViewPr showGuides="1">
      <p:cViewPr varScale="1">
        <p:scale>
          <a:sx n="115" d="100"/>
          <a:sy n="115" d="100"/>
        </p:scale>
        <p:origin x="318" y="108"/>
      </p:cViewPr>
      <p:guideLst>
        <p:guide orient="horz" pos="1570"/>
        <p:guide pos="3840"/>
        <p:guide pos="347"/>
        <p:guide pos="7333"/>
        <p:guide orient="horz" pos="3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1" d="100"/>
          <a:sy n="111" d="100"/>
        </p:scale>
        <p:origin x="3936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D6206B06-7071-41B3-9856-BFB74944C11D}"/>
    <pc:docChg chg="addSld">
      <pc:chgData name="" userId="" providerId="" clId="Web-{D6206B06-7071-41B3-9856-BFB74944C11D}" dt="2023-05-02T15:54:59.754" v="0"/>
      <pc:docMkLst>
        <pc:docMk/>
      </pc:docMkLst>
      <pc:sldChg chg="new">
        <pc:chgData name="" userId="" providerId="" clId="Web-{D6206B06-7071-41B3-9856-BFB74944C11D}" dt="2023-05-02T15:54:59.754" v="0"/>
        <pc:sldMkLst>
          <pc:docMk/>
          <pc:sldMk cId="1764021908" sldId="380"/>
        </pc:sldMkLst>
      </pc:sldChg>
    </pc:docChg>
  </pc:docChgLst>
  <pc:docChgLst>
    <pc:chgData name="Senn Adrian TDD" userId="S::adrian.senn@axpo.com::75af1e71-a579-44ab-9a4e-afca0bb7f775" providerId="AD" clId="Web-{D6206B06-7071-41B3-9856-BFB74944C11D}"/>
    <pc:docChg chg="addSld delSld modSld sldOrd">
      <pc:chgData name="Senn Adrian TDD" userId="S::adrian.senn@axpo.com::75af1e71-a579-44ab-9a4e-afca0bb7f775" providerId="AD" clId="Web-{D6206B06-7071-41B3-9856-BFB74944C11D}" dt="2023-05-02T15:56:27.537" v="23"/>
      <pc:docMkLst>
        <pc:docMk/>
      </pc:docMkLst>
      <pc:sldChg chg="modSp">
        <pc:chgData name="Senn Adrian TDD" userId="S::adrian.senn@axpo.com::75af1e71-a579-44ab-9a4e-afca0bb7f775" providerId="AD" clId="Web-{D6206B06-7071-41B3-9856-BFB74944C11D}" dt="2023-05-02T15:55:48.161" v="13" actId="20577"/>
        <pc:sldMkLst>
          <pc:docMk/>
          <pc:sldMk cId="587083735" sldId="307"/>
        </pc:sldMkLst>
        <pc:spChg chg="mod">
          <ac:chgData name="Senn Adrian TDD" userId="S::adrian.senn@axpo.com::75af1e71-a579-44ab-9a4e-afca0bb7f775" providerId="AD" clId="Web-{D6206B06-7071-41B3-9856-BFB74944C11D}" dt="2023-05-02T15:55:48.161" v="13" actId="20577"/>
          <ac:spMkLst>
            <pc:docMk/>
            <pc:sldMk cId="587083735" sldId="307"/>
            <ac:spMk id="7" creationId="{2240AEB0-7B0E-44B3-ADA7-36F7F8001351}"/>
          </ac:spMkLst>
        </pc:spChg>
      </pc:sldChg>
      <pc:sldChg chg="modSp new ord">
        <pc:chgData name="Senn Adrian TDD" userId="S::adrian.senn@axpo.com::75af1e71-a579-44ab-9a4e-afca0bb7f775" providerId="AD" clId="Web-{D6206B06-7071-41B3-9856-BFB74944C11D}" dt="2023-05-02T15:56:27.537" v="23"/>
        <pc:sldMkLst>
          <pc:docMk/>
          <pc:sldMk cId="956687634" sldId="380"/>
        </pc:sldMkLst>
        <pc:spChg chg="mod">
          <ac:chgData name="Senn Adrian TDD" userId="S::adrian.senn@axpo.com::75af1e71-a579-44ab-9a4e-afca0bb7f775" providerId="AD" clId="Web-{D6206B06-7071-41B3-9856-BFB74944C11D}" dt="2023-05-02T15:56:21.631" v="22" actId="20577"/>
          <ac:spMkLst>
            <pc:docMk/>
            <pc:sldMk cId="956687634" sldId="380"/>
            <ac:spMk id="3" creationId="{C99D88CB-B58E-CE96-317C-0731843A3ED6}"/>
          </ac:spMkLst>
        </pc:spChg>
      </pc:sldChg>
      <pc:sldChg chg="del">
        <pc:chgData name="Senn Adrian TDD" userId="S::adrian.senn@axpo.com::75af1e71-a579-44ab-9a4e-afca0bb7f775" providerId="AD" clId="Web-{D6206B06-7071-41B3-9856-BFB74944C11D}" dt="2023-05-02T15:55:51.489" v="14"/>
        <pc:sldMkLst>
          <pc:docMk/>
          <pc:sldMk cId="1764021908" sldId="380"/>
        </pc:sldMkLst>
      </pc:sldChg>
      <pc:sldChg chg="new del">
        <pc:chgData name="Senn Adrian TDD" userId="S::adrian.senn@axpo.com::75af1e71-a579-44ab-9a4e-afca0bb7f775" providerId="AD" clId="Web-{D6206B06-7071-41B3-9856-BFB74944C11D}" dt="2023-05-02T15:56:02.818" v="16"/>
        <pc:sldMkLst>
          <pc:docMk/>
          <pc:sldMk cId="2907753644" sldId="38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4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4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D3AD8FE0-DA8D-4E18-B8A1-7AC4274A977A}" type="datetimeFigureOut">
              <a:rPr lang="de-CH" sz="1050" smtClean="0"/>
              <a:t>09.05.2023</a:t>
            </a:fld>
            <a:endParaRPr lang="de-CH" sz="105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3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5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1000" smtClean="0"/>
              <a:t>‹#›</a:t>
            </a:fld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20688" y="229394"/>
            <a:ext cx="4032448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/>
            </a:lvl1pPr>
          </a:lstStyle>
          <a:p>
            <a:fld id="{67103740-C717-4353-A962-7DFFEF2467DB}" type="datetimeFigureOut">
              <a:rPr lang="de-CH" smtClean="0"/>
              <a:pPr/>
              <a:t>09.05.2023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20688" y="628650"/>
            <a:ext cx="5616624" cy="3159889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20688" y="3995937"/>
            <a:ext cx="5616624" cy="43924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/>
            </a:lvl1pPr>
          </a:lstStyle>
          <a:p>
            <a:fld id="{3A493298-6094-4361-B311-891E531296F6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3784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82625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346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209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879725" y="468313"/>
            <a:ext cx="4181475" cy="2352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266AD-4E43-4990-980A-F0579AD94FE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4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93298-6094-4361-B311-891E531296F6}" type="slidenum">
              <a:rPr kumimoji="0" lang="de-CH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CH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753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628650"/>
            <a:ext cx="5616575" cy="3159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493298-6094-4361-B311-891E531296F6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438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de-DE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5CA7A98-9412-4F18-B493-0229D5759B65}" type="slidenum">
              <a:rPr lang="en-GB" altLang="de-DE" smtClean="0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GB" altLang="de-DE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913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1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48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5556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986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2500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3579295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635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758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7879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748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3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854695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0868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63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934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441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014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752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785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8152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6554118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2523590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308306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8276484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 userDrawn="1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7272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63289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294079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32018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016282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469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181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292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629462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6216698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056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4705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42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14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9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3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83118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282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08682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196031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56698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80562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550688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643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371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006332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7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042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3511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75941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10910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985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49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7629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7436652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8197839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0149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1831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5835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18460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708586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8031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8390776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645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2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4156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3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014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 dirty="0"/>
              <a:t>Product</a:t>
            </a:r>
          </a:p>
          <a:p>
            <a:pPr lvl="1"/>
            <a:r>
              <a:rPr lang="en-GB" noProof="0" dirty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4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48936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6C8B6C-8352-4F55-ABC1-F3166C3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4A640-E4A8-4D8D-BCBF-9487F1AA3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EED89-70AA-4B5B-B5C6-0457E59D5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1F1AD0-9390-4FC0-A8D4-6BE07180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70AA4A9-6E0D-43E2-B122-D6632B3CC3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40653546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6577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92000" cy="6858000"/>
          </a:xfrm>
          <a:noFill/>
        </p:spPr>
        <p:txBody>
          <a:bodyPr vert="horz" lIns="108000" tIns="720000" rIns="108000" bIns="108000" rtlCol="0" anchor="ctr" anchorCtr="0">
            <a:noAutofit/>
          </a:bodyPr>
          <a:lstStyle>
            <a:lvl1pPr algn="ctr">
              <a:defRPr lang="de-CH" sz="16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smtClean="0"/>
              <a:t>Click icon to add med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953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F82B1-C6BE-4210-9049-F25B9352D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531341"/>
            <a:ext cx="11089232" cy="108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Type Thank You Text here</a:t>
            </a:r>
          </a:p>
        </p:txBody>
      </p:sp>
      <p:pic>
        <p:nvPicPr>
          <p:cNvPr id="5" name="Axpo Logo SVG">
            <a:extLst>
              <a:ext uri="{FF2B5EF4-FFF2-40B4-BE49-F238E27FC236}">
                <a16:creationId xmlns:a16="http://schemas.microsoft.com/office/drawing/2014/main" id="{F035D3A4-FD82-48E2-BF8A-3FBD373FE2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0616" y="5353462"/>
            <a:ext cx="2880000" cy="110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922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,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D1AE23-5178-446B-A914-4EB00F084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4125" y="2160000"/>
            <a:ext cx="6783750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15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314316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xpo Logo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XPO_AnLogo_Short_DarkText_LightBG">
            <a:hlinkClick r:id="" action="ppaction://media"/>
            <a:extLst>
              <a:ext uri="{FF2B5EF4-FFF2-40B4-BE49-F238E27FC236}">
                <a16:creationId xmlns:a16="http://schemas.microsoft.com/office/drawing/2014/main" id="{AAA0EB16-22C8-4337-BE76-573918CB513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883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8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D5E6ACB-E7EB-47EB-9A77-83EDE8E250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21925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smtClean="0"/>
              <a:t>Add tit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5/11/2023</a:t>
            </a:r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/>
          <a:lstStyle/>
          <a:p>
            <a:fld id="{442AD375-037F-43D0-B059-5172DA06796A}" type="slidenum">
              <a:rPr lang="de-CH" smtClean="0"/>
              <a:t>‹#›</a:t>
            </a:fld>
            <a:endParaRPr lang="de-CH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03847218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05F34B-6C5F-45CF-9A0A-6351A2022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663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E8820C2B-B441-4165-A472-68ECA4DBAE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3990135"/>
          </a:xfrm>
          <a:custGeom>
            <a:avLst/>
            <a:gdLst>
              <a:gd name="connsiteX0" fmla="*/ 0 w 12192000"/>
              <a:gd name="connsiteY0" fmla="*/ 0 h 3990135"/>
              <a:gd name="connsiteX1" fmla="*/ 12192000 w 12192000"/>
              <a:gd name="connsiteY1" fmla="*/ 0 h 3990135"/>
              <a:gd name="connsiteX2" fmla="*/ 12192000 w 12192000"/>
              <a:gd name="connsiteY2" fmla="*/ 3990135 h 3990135"/>
              <a:gd name="connsiteX3" fmla="*/ 12144808 w 12192000"/>
              <a:gd name="connsiteY3" fmla="*/ 3983953 h 3990135"/>
              <a:gd name="connsiteX4" fmla="*/ 6096001 w 12192000"/>
              <a:gd name="connsiteY4" fmla="*/ 3653696 h 3990135"/>
              <a:gd name="connsiteX5" fmla="*/ 47194 w 12192000"/>
              <a:gd name="connsiteY5" fmla="*/ 3983953 h 3990135"/>
              <a:gd name="connsiteX6" fmla="*/ 0 w 12192000"/>
              <a:gd name="connsiteY6" fmla="*/ 3990135 h 3990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90135">
                <a:moveTo>
                  <a:pt x="0" y="0"/>
                </a:moveTo>
                <a:lnTo>
                  <a:pt x="12192000" y="0"/>
                </a:lnTo>
                <a:lnTo>
                  <a:pt x="12192000" y="3990135"/>
                </a:lnTo>
                <a:lnTo>
                  <a:pt x="12144808" y="3983953"/>
                </a:lnTo>
                <a:cubicBezTo>
                  <a:pt x="10346720" y="3773333"/>
                  <a:pt x="8286155" y="3653696"/>
                  <a:pt x="6096001" y="3653696"/>
                </a:cubicBezTo>
                <a:cubicBezTo>
                  <a:pt x="3905847" y="3653696"/>
                  <a:pt x="1845281" y="3773333"/>
                  <a:pt x="47194" y="3983953"/>
                </a:cubicBezTo>
                <a:lnTo>
                  <a:pt x="0" y="3990135"/>
                </a:lnTo>
                <a:close/>
              </a:path>
            </a:pathLst>
          </a:cu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0966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0966" cy="3960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  <p:pic>
        <p:nvPicPr>
          <p:cNvPr id="6" name="Axpo logo" descr="Icon&#10;&#10;Description automatically generated">
            <a:extLst>
              <a:ext uri="{FF2B5EF4-FFF2-40B4-BE49-F238E27FC236}">
                <a16:creationId xmlns:a16="http://schemas.microsoft.com/office/drawing/2014/main" id="{AA373A4C-A157-F94D-BC0B-711355E13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3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A4A3A4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ky gradient" descr="Background pattern&#10;&#10;Description automatically generated">
            <a:extLst>
              <a:ext uri="{FF2B5EF4-FFF2-40B4-BE49-F238E27FC236}">
                <a16:creationId xmlns:a16="http://schemas.microsoft.com/office/drawing/2014/main" id="{2CAA67B5-BB39-435D-8759-3BCDA2EFE9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Axpo logo" descr="Icon&#10;&#10;Description automatically generated">
            <a:extLst>
              <a:ext uri="{FF2B5EF4-FFF2-40B4-BE49-F238E27FC236}">
                <a16:creationId xmlns:a16="http://schemas.microsoft.com/office/drawing/2014/main" id="{2A20CCB7-BA50-4BCE-B0DC-A5D52A0DCF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8249" y="5906572"/>
            <a:ext cx="1369367" cy="6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9362481" cy="1403588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5945733"/>
            <a:ext cx="9362481" cy="363588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Date, 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577543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244">
          <p15:clr>
            <a:srgbClr val="FBAE40"/>
          </p15:clr>
        </p15:guide>
        <p15:guide id="4" pos="347">
          <p15:clr>
            <a:srgbClr val="FBAE40"/>
          </p15:clr>
        </p15:guide>
        <p15:guide id="7" pos="7333">
          <p15:clr>
            <a:srgbClr val="FBAE40"/>
          </p15:clr>
        </p15:guide>
        <p15:guide id="9" orient="horz" pos="346">
          <p15:clr>
            <a:srgbClr val="FBAE40"/>
          </p15:clr>
        </p15:guide>
        <p15:guide id="11" orient="horz" pos="3974">
          <p15:clr>
            <a:srgbClr val="FBAE40"/>
          </p15:clr>
        </p15:guide>
        <p15:guide id="12" pos="39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3EAA1C9C-3F26-4192-9ABF-DCAA696A37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94032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Water">
            <a:extLst>
              <a:ext uri="{FF2B5EF4-FFF2-40B4-BE49-F238E27FC236}">
                <a16:creationId xmlns:a16="http://schemas.microsoft.com/office/drawing/2014/main" id="{486C3EC5-B6B3-4299-B3B4-B00D45B9AC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056992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Sun">
            <a:extLst>
              <a:ext uri="{FF2B5EF4-FFF2-40B4-BE49-F238E27FC236}">
                <a16:creationId xmlns:a16="http://schemas.microsoft.com/office/drawing/2014/main" id="{AD19A166-83B7-420A-A24A-44FB1C116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46508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dient Earth">
            <a:extLst>
              <a:ext uri="{FF2B5EF4-FFF2-40B4-BE49-F238E27FC236}">
                <a16:creationId xmlns:a16="http://schemas.microsoft.com/office/drawing/2014/main" id="{3A92EA22-BD53-476F-82D2-F3D9D8461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Logo X wh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5742" y="5408725"/>
            <a:ext cx="874874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532800"/>
            <a:ext cx="5544616" cy="1023992"/>
          </a:xfrm>
        </p:spPr>
        <p:txBody>
          <a:bodyPr anchor="t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887A16D-B6EC-488A-B469-A65F36D7A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588216"/>
            <a:ext cx="5542957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565998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0690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with numb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Flow Line">
            <a:extLst>
              <a:ext uri="{FF2B5EF4-FFF2-40B4-BE49-F238E27FC236}">
                <a16:creationId xmlns:a16="http://schemas.microsoft.com/office/drawing/2014/main" id="{A7CDC0A5-420D-4EA0-ABDA-5ED7DC7426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0" y="5221795"/>
            <a:ext cx="4568571" cy="1636205"/>
          </a:xfrm>
          <a:prstGeom prst="rect">
            <a:avLst/>
          </a:prstGeom>
        </p:spPr>
      </p:pic>
      <p:pic>
        <p:nvPicPr>
          <p:cNvPr id="10" name="Logo X wh">
            <a:extLst>
              <a:ext uri="{FF2B5EF4-FFF2-40B4-BE49-F238E27FC236}">
                <a16:creationId xmlns:a16="http://schemas.microsoft.com/office/drawing/2014/main" id="{9B8643C1-EC42-4E0D-B2FB-80F23BF099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742" y="5408725"/>
            <a:ext cx="874873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25753" y="4337351"/>
            <a:ext cx="3456384" cy="1071374"/>
          </a:xfrm>
        </p:spPr>
        <p:txBody>
          <a:bodyPr anchor="t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8" name="Number Placeholder">
            <a:extLst>
              <a:ext uri="{FF2B5EF4-FFF2-40B4-BE49-F238E27FC236}">
                <a16:creationId xmlns:a16="http://schemas.microsoft.com/office/drawing/2014/main" id="{5A73B698-9A22-48E4-A8DA-E908020CDF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400" y="4337351"/>
            <a:ext cx="1404000" cy="792000"/>
          </a:xfrm>
        </p:spPr>
        <p:txBody>
          <a:bodyPr anchor="b"/>
          <a:lstStyle>
            <a:lvl1pPr algn="r">
              <a:defRPr sz="6600"/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9F2DBAE-AC60-4C39-895C-362CB0F673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8490" y="4337351"/>
            <a:ext cx="4824014" cy="1808315"/>
          </a:xfrm>
        </p:spPr>
        <p:txBody>
          <a:bodyPr numCol="1" spcCol="360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6AD041B1-7249-4770-ACAF-B6082B06770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959934"/>
          </a:xfrm>
          <a:custGeom>
            <a:avLst/>
            <a:gdLst>
              <a:gd name="connsiteX0" fmla="*/ 0 w 12192000"/>
              <a:gd name="connsiteY0" fmla="*/ 0 h 3959934"/>
              <a:gd name="connsiteX1" fmla="*/ 12192000 w 12192000"/>
              <a:gd name="connsiteY1" fmla="*/ 0 h 3959934"/>
              <a:gd name="connsiteX2" fmla="*/ 12192000 w 12192000"/>
              <a:gd name="connsiteY2" fmla="*/ 3959934 h 3959934"/>
              <a:gd name="connsiteX3" fmla="*/ 11897309 w 12192000"/>
              <a:gd name="connsiteY3" fmla="*/ 3924858 h 3959934"/>
              <a:gd name="connsiteX4" fmla="*/ 6096000 w 12192000"/>
              <a:gd name="connsiteY4" fmla="*/ 3616490 h 3959934"/>
              <a:gd name="connsiteX5" fmla="*/ 294691 w 12192000"/>
              <a:gd name="connsiteY5" fmla="*/ 3924858 h 3959934"/>
              <a:gd name="connsiteX6" fmla="*/ 0 w 12192000"/>
              <a:gd name="connsiteY6" fmla="*/ 3959934 h 395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959934">
                <a:moveTo>
                  <a:pt x="0" y="0"/>
                </a:moveTo>
                <a:lnTo>
                  <a:pt x="12192000" y="0"/>
                </a:lnTo>
                <a:lnTo>
                  <a:pt x="12192000" y="3959934"/>
                </a:lnTo>
                <a:lnTo>
                  <a:pt x="11897309" y="3924858"/>
                </a:lnTo>
                <a:cubicBezTo>
                  <a:pt x="10114219" y="3726292"/>
                  <a:pt x="8153813" y="3616490"/>
                  <a:pt x="6096000" y="3616490"/>
                </a:cubicBezTo>
                <a:cubicBezTo>
                  <a:pt x="4038187" y="3616490"/>
                  <a:pt x="2077781" y="3726292"/>
                  <a:pt x="294691" y="3924858"/>
                </a:cubicBezTo>
                <a:lnTo>
                  <a:pt x="0" y="3959934"/>
                </a:ln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2C0F40-CD2D-4449-8A75-FAA3CDBA185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E83F4-09E9-6E47-BAB6-0B7BAFF320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5F01D-005E-BE4A-8338-F209E5DC620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EA1E533-AD62-7C46-8E95-64AA3BE80643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4009906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2"/>
          <a:lstStyle>
            <a:lvl1pPr marL="358775" indent="-358775">
              <a:spcBef>
                <a:spcPts val="1800"/>
              </a:spcBef>
              <a:buFont typeface="+mj-lt"/>
              <a:buAutoNum type="arabicPeriod"/>
              <a:defRPr b="1"/>
            </a:lvl1pPr>
            <a:lvl2pPr marL="358775" indent="0">
              <a:buNone/>
              <a:defRPr/>
            </a:lvl2pPr>
            <a:lvl3pPr marL="542925" indent="-184150">
              <a:defRPr/>
            </a:lvl3pPr>
            <a:lvl4pPr marL="715963" indent="-173038">
              <a:defRPr/>
            </a:lvl4pPr>
            <a:lvl5pPr marL="901700" indent="-185738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5537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73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2466929"/>
            <a:ext cx="11089232" cy="370896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020B7C-D947-42BD-A830-07BCF16EE6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238468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018" y="1927861"/>
            <a:ext cx="5400600" cy="424910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19C867-2FC3-43BE-8EB1-B62256383F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E8A992-7847-435B-BF73-5D2D0A6D0C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652578-47AE-4098-8BBA-BA6CFC90B0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834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2" y="532799"/>
            <a:ext cx="4608000" cy="10800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4608000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4609033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icture Placeholder">
            <a:extLst>
              <a:ext uri="{FF2B5EF4-FFF2-40B4-BE49-F238E27FC236}">
                <a16:creationId xmlns:a16="http://schemas.microsoft.com/office/drawing/2014/main" id="{D5F2DE95-CCD2-4E10-AF98-E8A387D842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21684" y="0"/>
            <a:ext cx="6770317" cy="6858000"/>
          </a:xfrm>
          <a:custGeom>
            <a:avLst/>
            <a:gdLst>
              <a:gd name="connsiteX0" fmla="*/ 0 w 6770317"/>
              <a:gd name="connsiteY0" fmla="*/ 0 h 6858000"/>
              <a:gd name="connsiteX1" fmla="*/ 6770317 w 6770317"/>
              <a:gd name="connsiteY1" fmla="*/ 0 h 6858000"/>
              <a:gd name="connsiteX2" fmla="*/ 6770317 w 6770317"/>
              <a:gd name="connsiteY2" fmla="*/ 6858000 h 6858000"/>
              <a:gd name="connsiteX3" fmla="*/ 0 w 6770317"/>
              <a:gd name="connsiteY3" fmla="*/ 6858000 h 6858000"/>
              <a:gd name="connsiteX4" fmla="*/ 24915 w 6770317"/>
              <a:gd name="connsiteY4" fmla="*/ 6622922 h 6858000"/>
              <a:gd name="connsiteX5" fmla="*/ 175087 w 6770317"/>
              <a:gd name="connsiteY5" fmla="*/ 3429000 h 6858000"/>
              <a:gd name="connsiteX6" fmla="*/ 24915 w 6770317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70317" h="6858000">
                <a:moveTo>
                  <a:pt x="0" y="0"/>
                </a:moveTo>
                <a:lnTo>
                  <a:pt x="6770317" y="0"/>
                </a:lnTo>
                <a:lnTo>
                  <a:pt x="6770317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5F625B-6700-954B-92D5-7C66360F3D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63BD58-8FF7-384F-B6F8-58917F980D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C22F9-4FBD-40D4-8C1D-36BBB682733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7543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/3 righ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B06788E-C05A-40EC-8A33-96275747D2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645286"/>
            <a:ext cx="6983732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4365103"/>
            <a:ext cx="6985298" cy="18007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BC55874-03A0-43D9-9366-96EBD6BAB7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985547" y="0"/>
            <a:ext cx="4206453" cy="6858000"/>
          </a:xfrm>
          <a:custGeom>
            <a:avLst/>
            <a:gdLst>
              <a:gd name="connsiteX0" fmla="*/ 0 w 4206453"/>
              <a:gd name="connsiteY0" fmla="*/ 0 h 6858000"/>
              <a:gd name="connsiteX1" fmla="*/ 4206453 w 4206453"/>
              <a:gd name="connsiteY1" fmla="*/ 0 h 6858000"/>
              <a:gd name="connsiteX2" fmla="*/ 4206453 w 4206453"/>
              <a:gd name="connsiteY2" fmla="*/ 6858000 h 6858000"/>
              <a:gd name="connsiteX3" fmla="*/ 0 w 4206453"/>
              <a:gd name="connsiteY3" fmla="*/ 6858000 h 6858000"/>
              <a:gd name="connsiteX4" fmla="*/ 24915 w 4206453"/>
              <a:gd name="connsiteY4" fmla="*/ 6622922 h 6858000"/>
              <a:gd name="connsiteX5" fmla="*/ 175087 w 4206453"/>
              <a:gd name="connsiteY5" fmla="*/ 3429000 h 6858000"/>
              <a:gd name="connsiteX6" fmla="*/ 24915 w 4206453"/>
              <a:gd name="connsiteY6" fmla="*/ 2350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6453" h="6858000">
                <a:moveTo>
                  <a:pt x="0" y="0"/>
                </a:moveTo>
                <a:lnTo>
                  <a:pt x="4206453" y="0"/>
                </a:lnTo>
                <a:lnTo>
                  <a:pt x="4206453" y="6858000"/>
                </a:lnTo>
                <a:lnTo>
                  <a:pt x="0" y="6858000"/>
                </a:lnTo>
                <a:lnTo>
                  <a:pt x="24915" y="6622922"/>
                </a:lnTo>
                <a:cubicBezTo>
                  <a:pt x="122949" y="5602061"/>
                  <a:pt x="175087" y="4531844"/>
                  <a:pt x="175087" y="3429000"/>
                </a:cubicBezTo>
                <a:cubicBezTo>
                  <a:pt x="175087" y="2326157"/>
                  <a:pt x="122949" y="1255940"/>
                  <a:pt x="24915" y="235079"/>
                </a:cubicBezTo>
                <a:close/>
              </a:path>
            </a:pathLst>
          </a:custGeom>
        </p:spPr>
        <p:txBody>
          <a:bodyPr wrap="square" lIns="108000" tIns="576000" rIns="108000" anchor="ctr" anchorCtr="0">
            <a:noAutofit/>
          </a:bodyPr>
          <a:lstStyle>
            <a:lvl1pPr algn="ctr">
              <a:spcBef>
                <a:spcPts val="1800"/>
              </a:spcBef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AA81DD-3CD1-8E41-9AF2-7F8E521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91504F-5821-2E44-8BE6-21C725B1272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023F-EFD9-3648-8F55-D949910B6E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AF0EF7-4722-2946-911D-B0D00ECCC3D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640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2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52000" y="3789040"/>
            <a:ext cx="4188616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61B0AF90-A02E-4B58-A7F2-251BB8F686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793"/>
            <a:ext cx="6747648" cy="6856413"/>
          </a:xfrm>
          <a:custGeom>
            <a:avLst/>
            <a:gdLst>
              <a:gd name="connsiteX0" fmla="*/ 0 w 6747648"/>
              <a:gd name="connsiteY0" fmla="*/ 0 h 6856413"/>
              <a:gd name="connsiteX1" fmla="*/ 6747648 w 6747648"/>
              <a:gd name="connsiteY1" fmla="*/ 0 h 6856413"/>
              <a:gd name="connsiteX2" fmla="*/ 6722817 w 6747648"/>
              <a:gd name="connsiteY2" fmla="*/ 234286 h 6856413"/>
              <a:gd name="connsiteX3" fmla="*/ 6572645 w 6747648"/>
              <a:gd name="connsiteY3" fmla="*/ 3428207 h 6856413"/>
              <a:gd name="connsiteX4" fmla="*/ 6722817 w 6747648"/>
              <a:gd name="connsiteY4" fmla="*/ 6622129 h 6856413"/>
              <a:gd name="connsiteX5" fmla="*/ 6747648 w 6747648"/>
              <a:gd name="connsiteY5" fmla="*/ 6856413 h 6856413"/>
              <a:gd name="connsiteX6" fmla="*/ 0 w 6747648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47648" h="6856413">
                <a:moveTo>
                  <a:pt x="0" y="0"/>
                </a:moveTo>
                <a:lnTo>
                  <a:pt x="6747648" y="0"/>
                </a:lnTo>
                <a:lnTo>
                  <a:pt x="6722817" y="234286"/>
                </a:lnTo>
                <a:cubicBezTo>
                  <a:pt x="6624783" y="1255147"/>
                  <a:pt x="6572645" y="2325364"/>
                  <a:pt x="6572645" y="3428207"/>
                </a:cubicBezTo>
                <a:cubicBezTo>
                  <a:pt x="6572645" y="4531051"/>
                  <a:pt x="6624783" y="5601268"/>
                  <a:pt x="6722817" y="6622129"/>
                </a:cubicBezTo>
                <a:lnTo>
                  <a:pt x="6747648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966" y="1772816"/>
            <a:ext cx="4188616" cy="498598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C6F5B2-61D5-314C-A710-235C8BA2B0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5DBDCA-EF6D-614A-82B2-3ADB25563C1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77A88-A316-984D-BFC4-D5AAE9486C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643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/3 lef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7888" y="1772816"/>
            <a:ext cx="6551694" cy="498598"/>
          </a:xfrm>
          <a:prstGeom prst="accentCallout1">
            <a:avLst>
              <a:gd name="adj1" fmla="val -1406"/>
              <a:gd name="adj2" fmla="val -4562"/>
              <a:gd name="adj3" fmla="val 36163"/>
              <a:gd name="adj4" fmla="val -4559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888" y="3789040"/>
            <a:ext cx="6552728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264DE2-61B3-4CC5-9A14-D4FD4133E1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793"/>
            <a:ext cx="4190379" cy="6856413"/>
          </a:xfrm>
          <a:custGeom>
            <a:avLst/>
            <a:gdLst>
              <a:gd name="connsiteX0" fmla="*/ 0 w 4190379"/>
              <a:gd name="connsiteY0" fmla="*/ 0 h 6856413"/>
              <a:gd name="connsiteX1" fmla="*/ 4190379 w 4190379"/>
              <a:gd name="connsiteY1" fmla="*/ 0 h 6856413"/>
              <a:gd name="connsiteX2" fmla="*/ 4165548 w 4190379"/>
              <a:gd name="connsiteY2" fmla="*/ 234286 h 6856413"/>
              <a:gd name="connsiteX3" fmla="*/ 4015376 w 4190379"/>
              <a:gd name="connsiteY3" fmla="*/ 3428207 h 6856413"/>
              <a:gd name="connsiteX4" fmla="*/ 4165548 w 4190379"/>
              <a:gd name="connsiteY4" fmla="*/ 6622129 h 6856413"/>
              <a:gd name="connsiteX5" fmla="*/ 4190379 w 4190379"/>
              <a:gd name="connsiteY5" fmla="*/ 6856413 h 6856413"/>
              <a:gd name="connsiteX6" fmla="*/ 0 w 4190379"/>
              <a:gd name="connsiteY6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0379" h="6856413">
                <a:moveTo>
                  <a:pt x="0" y="0"/>
                </a:moveTo>
                <a:lnTo>
                  <a:pt x="4190379" y="0"/>
                </a:lnTo>
                <a:lnTo>
                  <a:pt x="4165548" y="234286"/>
                </a:lnTo>
                <a:cubicBezTo>
                  <a:pt x="4067514" y="1255147"/>
                  <a:pt x="4015376" y="2325364"/>
                  <a:pt x="4015376" y="3428207"/>
                </a:cubicBezTo>
                <a:cubicBezTo>
                  <a:pt x="4015376" y="4531051"/>
                  <a:pt x="4067514" y="5601268"/>
                  <a:pt x="4165548" y="6622129"/>
                </a:cubicBezTo>
                <a:lnTo>
                  <a:pt x="4190379" y="6856413"/>
                </a:lnTo>
                <a:lnTo>
                  <a:pt x="0" y="6856413"/>
                </a:lnTo>
                <a:close/>
              </a:path>
            </a:pathLst>
          </a:custGeom>
        </p:spPr>
        <p:txBody>
          <a:bodyPr wrap="square" lIns="108000" tIns="576000" rIns="108000" anchor="ctr">
            <a:noAutofit/>
          </a:bodyPr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755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10801200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10800166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874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1384" y="1916113"/>
            <a:ext cx="11089232" cy="42597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412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07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ky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dient Sky" descr="Background pattern&#10;&#10;Description automatically generated">
            <a:extLst>
              <a:ext uri="{FF2B5EF4-FFF2-40B4-BE49-F238E27FC236}">
                <a16:creationId xmlns:a16="http://schemas.microsoft.com/office/drawing/2014/main" id="{CA09E31D-ABAE-4C59-9B5D-1F5041BCE8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1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D1E9C3B-29B5-439B-B5C9-E730F071897B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6046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Wat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Water">
            <a:extLst>
              <a:ext uri="{FF2B5EF4-FFF2-40B4-BE49-F238E27FC236}">
                <a16:creationId xmlns:a16="http://schemas.microsoft.com/office/drawing/2014/main" id="{E074F868-7B1F-4D17-8066-2DA256C0BA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777534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2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777534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A94638F3-9F8A-4A99-A145-A73FA0C00C61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705320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Su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Sun">
            <a:extLst>
              <a:ext uri="{FF2B5EF4-FFF2-40B4-BE49-F238E27FC236}">
                <a16:creationId xmlns:a16="http://schemas.microsoft.com/office/drawing/2014/main" id="{894D7EA8-4994-4A87-98B9-F4EB4302F0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4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426D0E3-BE58-4874-AC0D-97E32F154AEE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4830944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Ear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dient Earth">
            <a:extLst>
              <a:ext uri="{FF2B5EF4-FFF2-40B4-BE49-F238E27FC236}">
                <a16:creationId xmlns:a16="http://schemas.microsoft.com/office/drawing/2014/main" id="{F26C53A2-E5E7-475D-83F9-A9FD349859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B5C4F1-85A6-427F-996B-A4F87884F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1772816"/>
            <a:ext cx="7848972" cy="498598"/>
          </a:xfrm>
          <a:prstGeom prst="accentCallout1">
            <a:avLst>
              <a:gd name="adj1" fmla="val 7277"/>
              <a:gd name="adj2" fmla="val -2646"/>
              <a:gd name="adj3" fmla="val 50699"/>
              <a:gd name="adj4" fmla="val -2644"/>
            </a:avLst>
          </a:prstGeom>
          <a:ln w="44450">
            <a:solidFill>
              <a:schemeClr val="accent3"/>
            </a:solidFill>
          </a:ln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F76683-499F-4B45-BADD-DBC7DD7A9E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9416" y="3789040"/>
            <a:ext cx="7848972" cy="19452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3B8DD71A-DE4B-4FA2-8106-82D13D0D68D5}"/>
              </a:ext>
            </a:extLst>
          </p:cNvPr>
          <p:cNvSpPr txBox="1">
            <a:spLocks/>
          </p:cNvSpPr>
          <p:nvPr userDrawn="1"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30359156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73">
          <p15:clr>
            <a:srgbClr val="FBAE40"/>
          </p15:clr>
        </p15:guide>
        <p15:guide id="2" pos="266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94E9B3-9E7A-40C2-8487-199BCB438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Picture Placeholder left">
            <a:extLst>
              <a:ext uri="{FF2B5EF4-FFF2-40B4-BE49-F238E27FC236}">
                <a16:creationId xmlns:a16="http://schemas.microsoft.com/office/drawing/2014/main" id="{7ED991DE-F2B0-444A-B6CE-4F97B07E87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4" y="4711700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51384" y="5146675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4" name="Picture Placeholder right">
            <a:extLst>
              <a:ext uri="{FF2B5EF4-FFF2-40B4-BE49-F238E27FC236}">
                <a16:creationId xmlns:a16="http://schemas.microsoft.com/office/drawing/2014/main" id="{7F615BC6-305A-4D78-A0E1-3036CFA4F39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2616" y="3752725"/>
            <a:ext cx="5328000" cy="2556000"/>
          </a:xfrm>
          <a:prstGeom prst="rect">
            <a:avLst/>
          </a:prstGeom>
          <a:noFill/>
        </p:spPr>
        <p:txBody>
          <a:bodyPr vert="horz" wrap="square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12616" y="1989138"/>
            <a:ext cx="53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12616" y="2427204"/>
            <a:ext cx="5328000" cy="1162050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0050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980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2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4255301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4332326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8113268" y="4690275"/>
            <a:ext cx="3528000" cy="16184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4255301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783346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48328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16014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83699" y="1989137"/>
            <a:ext cx="2592288" cy="2574926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4711700"/>
            <a:ext cx="2605214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3370772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70773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6216014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6216015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9035403" y="5146675"/>
            <a:ext cx="2605213" cy="116205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9035404" y="4711700"/>
            <a:ext cx="2605214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3488212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4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4" name="Bildplatzhalter 14">
            <a:extLst>
              <a:ext uri="{FF2B5EF4-FFF2-40B4-BE49-F238E27FC236}">
                <a16:creationId xmlns:a16="http://schemas.microsoft.com/office/drawing/2014/main" id="{D43FE02A-678E-4601-8AC7-BE9A6DF81F6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6308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088000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819692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51383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4" y="3549650"/>
            <a:ext cx="2016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2819692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2819692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9"/>
          </p:nvPr>
        </p:nvSpPr>
        <p:spPr>
          <a:xfrm>
            <a:off x="5088000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5088000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1"/>
          </p:nvPr>
        </p:nvSpPr>
        <p:spPr>
          <a:xfrm>
            <a:off x="7356308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platzhalt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56308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3EFC7D1A-7480-4571-A7F8-B339DAB7D65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624616" y="1989137"/>
            <a:ext cx="2016000" cy="1439863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E339058-E142-44AD-A83A-FC600777F4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624616" y="4043363"/>
            <a:ext cx="2016000" cy="2265362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62DA9E-8791-445B-94D2-2481F25D71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24616" y="3549650"/>
            <a:ext cx="2016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1471472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3AA434A-ACAE-4781-9FC6-5D8186C1F4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382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789B74A-A39F-4BD4-A76D-A38068D07B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3268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6" name="Bildplatzhalter 14">
            <a:extLst>
              <a:ext uri="{FF2B5EF4-FFF2-40B4-BE49-F238E27FC236}">
                <a16:creationId xmlns:a16="http://schemas.microsoft.com/office/drawing/2014/main" id="{6CE9A762-46BA-4C83-AF9A-067AC6FE909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32326" y="1989137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51382" y="3631199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332326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113268" y="3631199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17" name="Bildplatzhalter 14">
            <a:extLst>
              <a:ext uri="{FF2B5EF4-FFF2-40B4-BE49-F238E27FC236}">
                <a16:creationId xmlns:a16="http://schemas.microsoft.com/office/drawing/2014/main" id="{0032D4A2-02C0-43BA-B72B-C134C797A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1382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8" name="Bildplatzhalter 14">
            <a:extLst>
              <a:ext uri="{FF2B5EF4-FFF2-40B4-BE49-F238E27FC236}">
                <a16:creationId xmlns:a16="http://schemas.microsoft.com/office/drawing/2014/main" id="{8DE922BB-FA1C-4496-9284-398D3667C99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113268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9" name="Bildplatzhalter 14">
            <a:extLst>
              <a:ext uri="{FF2B5EF4-FFF2-40B4-BE49-F238E27FC236}">
                <a16:creationId xmlns:a16="http://schemas.microsoft.com/office/drawing/2014/main" id="{32559E86-D9A6-41B8-B698-4DBAC82C3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32326" y="4293600"/>
            <a:ext cx="3527870" cy="1512000"/>
          </a:xfrm>
          <a:noFill/>
        </p:spPr>
        <p:txBody>
          <a:bodyPr vert="horz" lIns="108000" tIns="576000" rIns="108000" bIns="0" rtlCol="0" anchor="ctr" anchorCtr="0">
            <a:noAutofit/>
          </a:bodyPr>
          <a:lstStyle>
            <a:lvl1pPr algn="ctr">
              <a:defRPr lang="de-CH" sz="1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B24744E6-4E2E-4236-BCE1-8D8F0569D0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382" y="5935662"/>
            <a:ext cx="3528000" cy="373063"/>
          </a:xfrm>
        </p:spPr>
        <p:txBody>
          <a:bodyPr/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BA2F9978-D27A-4A0B-98D8-695780FE6D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32326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75BA028D-C1C6-4D04-A1A7-A2C9768FAB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3268" y="5935662"/>
            <a:ext cx="3528000" cy="3730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 headline</a:t>
            </a:r>
          </a:p>
        </p:txBody>
      </p:sp>
    </p:spTree>
    <p:extLst>
      <p:ext uri="{BB962C8B-B14F-4D97-AF65-F5344CB8AC3E}">
        <p14:creationId xmlns:p14="http://schemas.microsoft.com/office/powerpoint/2010/main" val="2331184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253">
          <p15:clr>
            <a:srgbClr val="FBAE40"/>
          </p15:clr>
        </p15:guide>
        <p15:guide id="3" orient="horz" pos="287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3043" y="1645286"/>
            <a:ext cx="11090276" cy="504000"/>
          </a:xfrm>
        </p:spPr>
        <p:txBody>
          <a:bodyPr anchor="t"/>
          <a:lstStyle>
            <a:lvl1pPr>
              <a:defRPr sz="2800"/>
            </a:lvl1pPr>
          </a:lstStyle>
          <a:p>
            <a:pPr lvl="0"/>
            <a:r>
              <a:rPr lang="en-GB" dirty="0"/>
              <a:t>Sub headline</a:t>
            </a:r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377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1950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82976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464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686575" y="2924944"/>
            <a:ext cx="900000" cy="900000"/>
          </a:xfrm>
        </p:spPr>
        <p:txBody>
          <a:bodyPr tIns="468000" anchor="ctr" anchorCtr="0"/>
          <a:lstStyle>
            <a:lvl1pPr algn="ctr">
              <a:defRPr sz="14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30978" y="3095626"/>
            <a:ext cx="2366963" cy="796372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1200"/>
              </a:spcAft>
              <a:defRPr sz="2400"/>
            </a:lvl1pPr>
            <a:lvl2pPr marL="0" indent="0">
              <a:buFontTx/>
              <a:buNone/>
              <a:defRPr sz="1400"/>
            </a:lvl2pPr>
          </a:lstStyle>
          <a:p>
            <a:pPr lvl="0"/>
            <a:r>
              <a:rPr lang="en-GB" noProof="0"/>
              <a:t>Product</a:t>
            </a:r>
          </a:p>
          <a:p>
            <a:pPr lvl="1"/>
            <a:r>
              <a:rPr lang="en-GB" noProof="0"/>
              <a:t>Type text her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438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04" r:id="rId2"/>
    <p:sldLayoutId id="2147483697" r:id="rId3"/>
    <p:sldLayoutId id="2147483719" r:id="rId4"/>
    <p:sldLayoutId id="2147483720" r:id="rId5"/>
    <p:sldLayoutId id="2147483721" r:id="rId6"/>
    <p:sldLayoutId id="2147483717" r:id="rId7"/>
    <p:sldLayoutId id="2147483689" r:id="rId8"/>
    <p:sldLayoutId id="2147483727" r:id="rId9"/>
    <p:sldLayoutId id="2147483659" r:id="rId10"/>
    <p:sldLayoutId id="2147483671" r:id="rId11"/>
    <p:sldLayoutId id="2147483673" r:id="rId12"/>
    <p:sldLayoutId id="2147483711" r:id="rId13"/>
    <p:sldLayoutId id="2147483700" r:id="rId14"/>
    <p:sldLayoutId id="2147483710" r:id="rId15"/>
    <p:sldLayoutId id="2147483712" r:id="rId16"/>
    <p:sldLayoutId id="2147483722" r:id="rId17"/>
    <p:sldLayoutId id="2147483723" r:id="rId18"/>
    <p:sldLayoutId id="2147483724" r:id="rId19"/>
    <p:sldLayoutId id="2147483725" r:id="rId20"/>
    <p:sldLayoutId id="2147483674" r:id="rId21"/>
    <p:sldLayoutId id="2147483705" r:id="rId22"/>
    <p:sldLayoutId id="2147483675" r:id="rId23"/>
    <p:sldLayoutId id="2147483714" r:id="rId24"/>
    <p:sldLayoutId id="2147483713" r:id="rId25"/>
    <p:sldLayoutId id="2147483729" r:id="rId26"/>
    <p:sldLayoutId id="2147483730" r:id="rId27"/>
    <p:sldLayoutId id="2147483731" r:id="rId28"/>
    <p:sldLayoutId id="2147483732" r:id="rId29"/>
    <p:sldLayoutId id="2147483728" r:id="rId30"/>
    <p:sldLayoutId id="2147483672" r:id="rId31"/>
    <p:sldLayoutId id="2147483690" r:id="rId32"/>
    <p:sldLayoutId id="2147483677" r:id="rId33"/>
    <p:sldLayoutId id="2147483718" r:id="rId34"/>
    <p:sldLayoutId id="2147483695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92103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60" r:id="rId27"/>
    <p:sldLayoutId id="2147483761" r:id="rId28"/>
    <p:sldLayoutId id="2147483762" r:id="rId29"/>
    <p:sldLayoutId id="2147483763" r:id="rId30"/>
    <p:sldLayoutId id="2147483764" r:id="rId31"/>
    <p:sldLayoutId id="2147483765" r:id="rId32"/>
    <p:sldLayoutId id="2147483766" r:id="rId33"/>
    <p:sldLayoutId id="2147483767" r:id="rId34"/>
    <p:sldLayoutId id="2147483768" r:id="rId35"/>
    <p:sldLayoutId id="2147483769" r:id="rId36"/>
    <p:sldLayoutId id="2147483770" r:id="rId37"/>
    <p:sldLayoutId id="2147483771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11089232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51384" y="1927861"/>
            <a:ext cx="11089232" cy="4249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801200" y="6511554"/>
            <a:ext cx="551383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5445" y="6511554"/>
            <a:ext cx="9573518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2584" y="6511554"/>
            <a:ext cx="2880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ußzeilenplatzhalter 4"/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Axpo,</a:t>
            </a:r>
          </a:p>
        </p:txBody>
      </p:sp>
    </p:spTree>
    <p:extLst>
      <p:ext uri="{BB962C8B-B14F-4D97-AF65-F5344CB8AC3E}">
        <p14:creationId xmlns:p14="http://schemas.microsoft.com/office/powerpoint/2010/main" val="262077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114000"/>
        </a:lnSpc>
        <a:spcBef>
          <a:spcPts val="0"/>
        </a:spcBef>
        <a:buSzPct val="8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4.png"/><Relationship Id="rId7" Type="http://schemas.openxmlformats.org/officeDocument/2006/relationships/image" Target="../media/image28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9.gif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marketplace.visualstudio.com/items?itemName=qetza.replacetokens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arindam0310018" TargetMode="External"/><Relationship Id="rId3" Type="http://schemas.openxmlformats.org/officeDocument/2006/relationships/image" Target="../media/image16.emf"/><Relationship Id="rId7" Type="http://schemas.openxmlformats.org/officeDocument/2006/relationships/hyperlink" Target="https://www.linkedin.com/in/arindam-mitra-28981095/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sessionize.com/arindam0310018" TargetMode="External"/><Relationship Id="rId5" Type="http://schemas.openxmlformats.org/officeDocument/2006/relationships/hyperlink" Target="https://dev.to/arindam0310018" TargetMode="External"/><Relationship Id="rId4" Type="http://schemas.openxmlformats.org/officeDocument/2006/relationships/hyperlink" Target="https://github.com/arindam0310018" TargetMode="Externa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pinsolar.ch/content/axpo19/ch/en/about-us/lightboxes/adrian-senn.html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.xml"/><Relationship Id="rId7" Type="http://schemas.openxmlformats.org/officeDocument/2006/relationships/image" Target="../media/image1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CF80A-D5D0-D849-BC5E-760D4AB15C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4" y="4437112"/>
            <a:ext cx="10513168" cy="1403588"/>
          </a:xfrm>
        </p:spPr>
        <p:txBody>
          <a:bodyPr/>
          <a:lstStyle/>
          <a:p>
            <a:r>
              <a:rPr lang="en-US" sz="6000" b="1" dirty="0" smtClean="0"/>
              <a:t>Advanced Analytics</a:t>
            </a:r>
            <a:br>
              <a:rPr lang="en-US" sz="6000" b="1" dirty="0" smtClean="0"/>
            </a:br>
            <a:r>
              <a:rPr lang="en-US" sz="6000" b="1" dirty="0" smtClean="0"/>
              <a:t>with Azure DevOps Dojo</a:t>
            </a:r>
            <a:r>
              <a:rPr lang="en-US" sz="6000" dirty="0" smtClean="0"/>
              <a:t> </a:t>
            </a:r>
            <a:endParaRPr lang="en-US" sz="6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C6A895-C928-AF49-8974-C38EF75C100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11.05.2023 | Azure Bootcamp Switzerland 2023 | Arindam Mitra &amp; Adrian Sen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64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8352928" cy="765200"/>
          </a:xfrm>
        </p:spPr>
        <p:txBody>
          <a:bodyPr/>
          <a:lstStyle/>
          <a:p>
            <a:r>
              <a:rPr lang="en-US" b="1" dirty="0" smtClean="0"/>
              <a:t>ANALYTICS AT</a:t>
            </a:r>
            <a:r>
              <a:rPr lang="en-US" b="1" dirty="0" smtClean="0"/>
              <a:t> </a:t>
            </a:r>
            <a:r>
              <a:rPr lang="en-US" b="1" dirty="0" smtClean="0"/>
              <a:t>AXPO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05/11/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t>10</a:t>
            </a:fld>
            <a:endParaRPr lang="en-US" dirty="0"/>
          </a:p>
        </p:txBody>
      </p:sp>
      <p:sp>
        <p:nvSpPr>
          <p:cNvPr id="11" name="Text Placeholder 8"/>
          <p:cNvSpPr txBox="1">
            <a:spLocks/>
          </p:cNvSpPr>
          <p:nvPr/>
        </p:nvSpPr>
        <p:spPr>
          <a:xfrm>
            <a:off x="548847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ront focus</a:t>
            </a:r>
            <a:endParaRPr lang="en-US" b="1" dirty="0"/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4332326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Full stack as team</a:t>
            </a:r>
            <a:endParaRPr lang="en-US" b="1" dirty="0"/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8113268" y="1412776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Standards</a:t>
            </a:r>
            <a:endParaRPr lang="en-US" b="1" dirty="0"/>
          </a:p>
        </p:txBody>
      </p:sp>
      <p:sp>
        <p:nvSpPr>
          <p:cNvPr id="14" name="Text Placeholder 14"/>
          <p:cNvSpPr txBox="1">
            <a:spLocks/>
          </p:cNvSpPr>
          <p:nvPr/>
        </p:nvSpPr>
        <p:spPr>
          <a:xfrm>
            <a:off x="551382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Hybrid setup</a:t>
            </a:r>
            <a:endParaRPr lang="en-US" b="1" dirty="0"/>
          </a:p>
        </p:txBody>
      </p:sp>
      <p:sp>
        <p:nvSpPr>
          <p:cNvPr id="15" name="Text Placeholder 15"/>
          <p:cNvSpPr txBox="1">
            <a:spLocks/>
          </p:cNvSpPr>
          <p:nvPr/>
        </p:nvSpPr>
        <p:spPr>
          <a:xfrm>
            <a:off x="4332326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Team background</a:t>
            </a:r>
            <a:endParaRPr lang="en-US" b="1" dirty="0"/>
          </a:p>
        </p:txBody>
      </p:sp>
      <p:sp>
        <p:nvSpPr>
          <p:cNvPr id="16" name="Text Placeholder 16"/>
          <p:cNvSpPr txBox="1">
            <a:spLocks/>
          </p:cNvSpPr>
          <p:nvPr/>
        </p:nvSpPr>
        <p:spPr>
          <a:xfrm>
            <a:off x="8113268" y="3861048"/>
            <a:ext cx="3528000" cy="3730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4150" algn="l" defTabSz="914400" rtl="0" eaLnBrk="1" latinLnBrk="0" hangingPunct="1">
              <a:lnSpc>
                <a:spcPct val="114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CI/CD, DevOps, MLOps,..</a:t>
            </a:r>
            <a:endParaRPr lang="en-US" b="1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232" y="1902074"/>
            <a:ext cx="601698" cy="66074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/>
          <a:srcRect l="33849" t="7181" r="34183" b="31363"/>
          <a:stretch/>
        </p:blipFill>
        <p:spPr>
          <a:xfrm>
            <a:off x="9130406" y="1838540"/>
            <a:ext cx="717994" cy="717994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451114" y="1844824"/>
            <a:ext cx="2818079" cy="10772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3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ti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chine Learning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Engine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ftware Engineers AI/ML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1" name="Picture 2" descr="Pin on CICD-BASE-TEMPLATE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02" r="-5502"/>
          <a:stretch/>
        </p:blipFill>
        <p:spPr bwMode="auto">
          <a:xfrm>
            <a:off x="7824192" y="4365104"/>
            <a:ext cx="4033483" cy="172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451114" y="4368511"/>
            <a:ext cx="2248436" cy="12926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Systems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zation (Ph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lecom Engine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puter Sc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uant Fi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y Engineering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3" name="Picture Placeholder 20"/>
          <p:cNvPicPr>
            <a:picLocks noChangeAspect="1"/>
          </p:cNvPicPr>
          <p:nvPr/>
        </p:nvPicPr>
        <p:blipFill rotWithShape="1">
          <a:blip r:embed="rId5"/>
          <a:srcRect l="-3831" r="-2892"/>
          <a:stretch/>
        </p:blipFill>
        <p:spPr>
          <a:xfrm>
            <a:off x="580162" y="4254460"/>
            <a:ext cx="3312368" cy="183876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16166" y="1844824"/>
            <a:ext cx="324036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s at core of our activ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asure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act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 top of existing strategie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ottom-up and hands-on</a:t>
            </a:r>
          </a:p>
          <a:p>
            <a:pPr marL="554037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</a:t>
            </a: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its </a:t>
            </a: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rst</a:t>
            </a:r>
          </a:p>
          <a:p>
            <a:pPr marL="96837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ch supports models</a:t>
            </a: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-1889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052" name="Picture 4" descr="Azure Devops Logo PNG vector in SVG, PDF, AI, CDR forma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208" y="2556534"/>
            <a:ext cx="1009527" cy="75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Azure has a new logo, but where do you download it? Here!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1825" y="2580939"/>
            <a:ext cx="645443" cy="645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269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13" grpId="0" build="p"/>
      <p:bldP spid="14" grpId="0" build="p"/>
      <p:bldP spid="15" grpId="0" build="p"/>
      <p:bldP spid="16" grpId="0" build="p"/>
      <p:bldP spid="20" grpId="0"/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DEAS IN </a:t>
            </a:r>
            <a:r>
              <a:rPr lang="en-US" b="1" dirty="0"/>
              <a:t>A</a:t>
            </a:r>
            <a:r>
              <a:rPr lang="en-US" b="1" dirty="0" smtClean="0"/>
              <a:t> COMPLEX WORLD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Picture 2" descr="https://upload.wikimedia.org/wikipedia/commons/thumb/5/58/Jenkincurves.gif/360px-Jenkincurves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27" y="1664025"/>
            <a:ext cx="2449137" cy="1460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26" name="Group 30725"/>
          <p:cNvGrpSpPr/>
          <p:nvPr/>
        </p:nvGrpSpPr>
        <p:grpSpPr>
          <a:xfrm>
            <a:off x="6260835" y="1510371"/>
            <a:ext cx="2245175" cy="1867988"/>
            <a:chOff x="6260835" y="1510371"/>
            <a:chExt cx="2245175" cy="1867988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4"/>
            <a:srcRect l="3948" t="5988" r="5246" b="4713"/>
            <a:stretch/>
          </p:blipFill>
          <p:spPr>
            <a:xfrm>
              <a:off x="6260835" y="1510371"/>
              <a:ext cx="2245175" cy="1867988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7814762" y="3249460"/>
              <a:ext cx="654025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dirty="0"/>
                <a:t>EPEXSpot.com</a:t>
              </a:r>
              <a:endParaRPr lang="en-US" sz="1000" dirty="0"/>
            </a:p>
          </p:txBody>
        </p:sp>
      </p:grpSp>
      <p:grpSp>
        <p:nvGrpSpPr>
          <p:cNvPr id="30725" name="Group 30724"/>
          <p:cNvGrpSpPr/>
          <p:nvPr/>
        </p:nvGrpSpPr>
        <p:grpSpPr>
          <a:xfrm>
            <a:off x="3196955" y="1642910"/>
            <a:ext cx="2827037" cy="1690276"/>
            <a:chOff x="3186164" y="1642910"/>
            <a:chExt cx="2827037" cy="1690276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86164" y="1642910"/>
              <a:ext cx="2377380" cy="1617082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>
            <a:xfrm>
              <a:off x="4320109" y="3133131"/>
              <a:ext cx="1693092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rgbClr val="202122"/>
                  </a:solidFill>
                </a:rPr>
                <a:t>https://powerswitcher.axpo.com/</a:t>
              </a:r>
              <a:endParaRPr lang="en-US" sz="700" dirty="0"/>
            </a:p>
          </p:txBody>
        </p:sp>
      </p:grpSp>
      <p:sp>
        <p:nvSpPr>
          <p:cNvPr id="39" name="Rectangle 38"/>
          <p:cNvSpPr/>
          <p:nvPr/>
        </p:nvSpPr>
        <p:spPr>
          <a:xfrm>
            <a:off x="1049789" y="3105837"/>
            <a:ext cx="178606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>
                <a:solidFill>
                  <a:srgbClr val="202122"/>
                </a:solidFill>
              </a:rPr>
              <a:t>Jenkin’s </a:t>
            </a:r>
            <a:r>
              <a:rPr lang="en-US" sz="600" i="1" dirty="0">
                <a:solidFill>
                  <a:srgbClr val="202122"/>
                </a:solidFill>
              </a:rPr>
              <a:t>Graphical Representation</a:t>
            </a:r>
            <a:r>
              <a:rPr lang="en-US" sz="600" dirty="0">
                <a:solidFill>
                  <a:srgbClr val="202122"/>
                </a:solidFill>
              </a:rPr>
              <a:t> (1870)</a:t>
            </a:r>
            <a:endParaRPr lang="en-US" sz="600" dirty="0"/>
          </a:p>
        </p:txBody>
      </p:sp>
      <p:grpSp>
        <p:nvGrpSpPr>
          <p:cNvPr id="30727" name="Group 30726"/>
          <p:cNvGrpSpPr/>
          <p:nvPr/>
        </p:nvGrpSpPr>
        <p:grpSpPr>
          <a:xfrm>
            <a:off x="8688288" y="1556792"/>
            <a:ext cx="2818129" cy="1746008"/>
            <a:chOff x="8894495" y="1664025"/>
            <a:chExt cx="2818129" cy="1746008"/>
          </a:xfrm>
        </p:grpSpPr>
        <p:grpSp>
          <p:nvGrpSpPr>
            <p:cNvPr id="30721" name="Group 30720"/>
            <p:cNvGrpSpPr/>
            <p:nvPr/>
          </p:nvGrpSpPr>
          <p:grpSpPr>
            <a:xfrm>
              <a:off x="8894495" y="1664025"/>
              <a:ext cx="2818129" cy="1692967"/>
              <a:chOff x="8894495" y="1664025"/>
              <a:chExt cx="2818129" cy="1692967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 rotWithShape="1">
              <a:blip r:embed="rId6"/>
              <a:srcRect r="2353" b="876"/>
              <a:stretch/>
            </p:blipFill>
            <p:spPr>
              <a:xfrm>
                <a:off x="8894495" y="1664025"/>
                <a:ext cx="2818129" cy="1692967"/>
              </a:xfrm>
              <a:prstGeom prst="rect">
                <a:avLst/>
              </a:prstGeom>
            </p:spPr>
          </p:pic>
          <p:pic>
            <p:nvPicPr>
              <p:cNvPr id="30720" name="Picture 30719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artisticBlur/>
                        </a14:imgEffect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rcRect l="35736"/>
              <a:stretch/>
            </p:blipFill>
            <p:spPr>
              <a:xfrm>
                <a:off x="9336360" y="1681799"/>
                <a:ext cx="208830" cy="429189"/>
              </a:xfrm>
              <a:prstGeom prst="rect">
                <a:avLst/>
              </a:prstGeom>
            </p:spPr>
          </p:pic>
        </p:grpSp>
        <p:sp>
          <p:nvSpPr>
            <p:cNvPr id="43" name="Rectangle 42"/>
            <p:cNvSpPr/>
            <p:nvPr/>
          </p:nvSpPr>
          <p:spPr>
            <a:xfrm>
              <a:off x="10834830" y="3209978"/>
              <a:ext cx="782587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rgbClr val="202122"/>
                  </a:solidFill>
                </a:rPr>
                <a:t>AA T&amp;S team</a:t>
              </a:r>
              <a:endParaRPr lang="en-US" sz="700" dirty="0"/>
            </a:p>
          </p:txBody>
        </p:sp>
      </p:grpSp>
      <p:sp>
        <p:nvSpPr>
          <p:cNvPr id="44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3303871" y="350100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Long term system view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6312024" y="351939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Day-Ahead Market Clearing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26"/>
          </p:nvPr>
        </p:nvSpPr>
        <p:spPr>
          <a:xfrm>
            <a:off x="8976320" y="3501008"/>
            <a:ext cx="2720121" cy="519417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Ancillary Services Energy Bidding </a:t>
            </a:r>
          </a:p>
        </p:txBody>
      </p:sp>
      <p:sp>
        <p:nvSpPr>
          <p:cNvPr id="30722" name="TextBox 30721"/>
          <p:cNvSpPr txBox="1"/>
          <p:nvPr/>
        </p:nvSpPr>
        <p:spPr>
          <a:xfrm>
            <a:off x="593498" y="4643557"/>
            <a:ext cx="33422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Order of Data points to process: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15553" y="5301208"/>
            <a:ext cx="310418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Time available for processing:</a:t>
            </a:r>
          </a:p>
        </p:txBody>
      </p:sp>
      <p:sp>
        <p:nvSpPr>
          <p:cNvPr id="30723" name="TextBox 30722"/>
          <p:cNvSpPr txBox="1"/>
          <p:nvPr/>
        </p:nvSpPr>
        <p:spPr>
          <a:xfrm>
            <a:off x="4243945" y="4610180"/>
            <a:ext cx="7719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100</a:t>
            </a:r>
            <a:endParaRPr lang="en-US" baseline="30000" dirty="0"/>
          </a:p>
        </p:txBody>
      </p:sp>
      <p:sp>
        <p:nvSpPr>
          <p:cNvPr id="50" name="TextBox 49"/>
          <p:cNvSpPr txBox="1"/>
          <p:nvPr/>
        </p:nvSpPr>
        <p:spPr>
          <a:xfrm>
            <a:off x="9534485" y="4664169"/>
            <a:ext cx="18180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100’000’000</a:t>
            </a:r>
            <a:endParaRPr lang="en-US" baseline="30000" dirty="0"/>
          </a:p>
        </p:txBody>
      </p:sp>
      <p:sp>
        <p:nvSpPr>
          <p:cNvPr id="51" name="TextBox 50"/>
          <p:cNvSpPr txBox="1"/>
          <p:nvPr/>
        </p:nvSpPr>
        <p:spPr>
          <a:xfrm>
            <a:off x="4223792" y="5301208"/>
            <a:ext cx="102699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Months</a:t>
            </a:r>
            <a:endParaRPr lang="en-US" baseline="30000" dirty="0"/>
          </a:p>
        </p:txBody>
      </p:sp>
      <p:sp>
        <p:nvSpPr>
          <p:cNvPr id="52" name="TextBox 51"/>
          <p:cNvSpPr txBox="1"/>
          <p:nvPr/>
        </p:nvSpPr>
        <p:spPr>
          <a:xfrm>
            <a:off x="9552384" y="5301208"/>
            <a:ext cx="18180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~Minutes</a:t>
            </a:r>
            <a:endParaRPr lang="en-US" baseline="30000" dirty="0"/>
          </a:p>
        </p:txBody>
      </p:sp>
      <p:sp>
        <p:nvSpPr>
          <p:cNvPr id="30724" name="Right Arrow 30723"/>
          <p:cNvSpPr/>
          <p:nvPr/>
        </p:nvSpPr>
        <p:spPr>
          <a:xfrm>
            <a:off x="5449362" y="4725144"/>
            <a:ext cx="3814990" cy="1493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ight Arrow 53"/>
          <p:cNvSpPr/>
          <p:nvPr/>
        </p:nvSpPr>
        <p:spPr>
          <a:xfrm>
            <a:off x="5449362" y="5373216"/>
            <a:ext cx="3814990" cy="1493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1</a:t>
            </a:fld>
            <a:endParaRPr lang="en-GB" dirty="0"/>
          </a:p>
        </p:txBody>
      </p:sp>
      <p:pic>
        <p:nvPicPr>
          <p:cNvPr id="30" name="Grafik 3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29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build="p"/>
      <p:bldP spid="45" grpId="0" build="p"/>
      <p:bldP spid="46" grpId="0" build="p"/>
      <p:bldP spid="30722" grpId="0"/>
      <p:bldP spid="48" grpId="0"/>
      <p:bldP spid="30723" grpId="0"/>
      <p:bldP spid="50" grpId="0"/>
      <p:bldP spid="51" grpId="0"/>
      <p:bldP spid="52" grpId="0"/>
      <p:bldP spid="30724" grpId="0" animBg="1"/>
      <p:bldP spid="5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PHYSICAL POWER TRADING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grpSp>
        <p:nvGrpSpPr>
          <p:cNvPr id="349" name="Group 348"/>
          <p:cNvGrpSpPr/>
          <p:nvPr/>
        </p:nvGrpSpPr>
        <p:grpSpPr>
          <a:xfrm>
            <a:off x="1105344" y="1130702"/>
            <a:ext cx="9981312" cy="5400600"/>
            <a:chOff x="1415480" y="1116377"/>
            <a:chExt cx="10053320" cy="5480975"/>
          </a:xfrm>
        </p:grpSpPr>
        <p:cxnSp>
          <p:nvCxnSpPr>
            <p:cNvPr id="9" name="Buet linje 2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23273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" name="Buet linje 261"/>
            <p:cNvCxnSpPr>
              <a:stCxn id="43" idx="1"/>
              <a:endCxn id="15" idx="3"/>
            </p:cNvCxnSpPr>
            <p:nvPr/>
          </p:nvCxnSpPr>
          <p:spPr>
            <a:xfrm rot="10800000" flipV="1">
              <a:off x="4678601" y="2432831"/>
              <a:ext cx="3143092" cy="39921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" name="Buet linje 262"/>
            <p:cNvCxnSpPr>
              <a:stCxn id="42" idx="1"/>
              <a:endCxn id="15" idx="3"/>
            </p:cNvCxnSpPr>
            <p:nvPr/>
          </p:nvCxnSpPr>
          <p:spPr>
            <a:xfrm rot="10800000" flipV="1">
              <a:off x="4678599" y="2079407"/>
              <a:ext cx="3127650" cy="434562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2" name="Avrundet rektangel 263"/>
            <p:cNvSpPr/>
            <p:nvPr/>
          </p:nvSpPr>
          <p:spPr>
            <a:xfrm>
              <a:off x="3739337" y="298428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forecast</a:t>
              </a:r>
            </a:p>
          </p:txBody>
        </p:sp>
        <p:sp>
          <p:nvSpPr>
            <p:cNvPr id="13" name="Avrundet rektangel 264"/>
            <p:cNvSpPr/>
            <p:nvPr/>
          </p:nvSpPr>
          <p:spPr>
            <a:xfrm>
              <a:off x="3739337" y="358853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production forecast</a:t>
              </a:r>
            </a:p>
          </p:txBody>
        </p:sp>
        <p:sp>
          <p:nvSpPr>
            <p:cNvPr id="14" name="Avrundet rektangel 265"/>
            <p:cNvSpPr/>
            <p:nvPr/>
          </p:nvSpPr>
          <p:spPr>
            <a:xfrm>
              <a:off x="3739337" y="630762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ility</a:t>
              </a:r>
            </a:p>
          </p:txBody>
        </p:sp>
        <p:sp>
          <p:nvSpPr>
            <p:cNvPr id="15" name="Avrundet rektangel 266"/>
            <p:cNvSpPr/>
            <p:nvPr/>
          </p:nvSpPr>
          <p:spPr>
            <a:xfrm>
              <a:off x="3739337" y="238004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 reserve activation</a:t>
              </a:r>
            </a:p>
          </p:txBody>
        </p:sp>
        <p:sp>
          <p:nvSpPr>
            <p:cNvPr id="16" name="Avrundet rektangel 267"/>
            <p:cNvSpPr/>
            <p:nvPr/>
          </p:nvSpPr>
          <p:spPr>
            <a:xfrm>
              <a:off x="3739337" y="479701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taken</a:t>
              </a:r>
            </a:p>
          </p:txBody>
        </p:sp>
        <p:sp>
          <p:nvSpPr>
            <p:cNvPr id="17" name="Avrundet rektangel 268"/>
            <p:cNvSpPr/>
            <p:nvPr/>
          </p:nvSpPr>
          <p:spPr>
            <a:xfrm>
              <a:off x="3739337" y="540125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water values</a:t>
              </a:r>
            </a:p>
          </p:txBody>
        </p:sp>
        <p:sp>
          <p:nvSpPr>
            <p:cNvPr id="18" name="Avrundet rektangel 269"/>
            <p:cNvSpPr/>
            <p:nvPr/>
          </p:nvSpPr>
          <p:spPr>
            <a:xfrm>
              <a:off x="3739337" y="570337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d reservoir levels</a:t>
              </a:r>
            </a:p>
          </p:txBody>
        </p:sp>
        <p:sp>
          <p:nvSpPr>
            <p:cNvPr id="19" name="Avrundet rektangel 270"/>
            <p:cNvSpPr/>
            <p:nvPr/>
          </p:nvSpPr>
          <p:spPr>
            <a:xfrm>
              <a:off x="3739337" y="117156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PEX offer placed</a:t>
              </a:r>
            </a:p>
          </p:txBody>
        </p:sp>
        <p:sp>
          <p:nvSpPr>
            <p:cNvPr id="20" name="Avrundet rektangel 271"/>
            <p:cNvSpPr/>
            <p:nvPr/>
          </p:nvSpPr>
          <p:spPr>
            <a:xfrm>
              <a:off x="3739337" y="5099134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ot OK data communication </a:t>
              </a:r>
            </a:p>
          </p:txBody>
        </p:sp>
        <p:sp>
          <p:nvSpPr>
            <p:cNvPr id="21" name="Avrundet rektangel 272"/>
            <p:cNvSpPr/>
            <p:nvPr/>
          </p:nvSpPr>
          <p:spPr>
            <a:xfrm>
              <a:off x="3739337" y="147368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s from co-owners</a:t>
              </a:r>
            </a:p>
          </p:txBody>
        </p:sp>
        <p:sp>
          <p:nvSpPr>
            <p:cNvPr id="22" name="Avrundet rektangel 273"/>
            <p:cNvSpPr/>
            <p:nvPr/>
          </p:nvSpPr>
          <p:spPr>
            <a:xfrm>
              <a:off x="3739337" y="419277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ormation from field workers</a:t>
              </a:r>
            </a:p>
          </p:txBody>
        </p:sp>
        <p:sp>
          <p:nvSpPr>
            <p:cNvPr id="23" name="Avrundet rektangel 274"/>
            <p:cNvSpPr/>
            <p:nvPr/>
          </p:nvSpPr>
          <p:spPr>
            <a:xfrm>
              <a:off x="3739337" y="3286410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forecast</a:t>
              </a:r>
            </a:p>
          </p:txBody>
        </p:sp>
        <p:sp>
          <p:nvSpPr>
            <p:cNvPr id="24" name="Avrundet rektangel 275"/>
            <p:cNvSpPr/>
            <p:nvPr/>
          </p:nvSpPr>
          <p:spPr>
            <a:xfrm>
              <a:off x="5923640" y="6391247"/>
              <a:ext cx="733798" cy="205463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Events</a:t>
              </a:r>
            </a:p>
          </p:txBody>
        </p:sp>
        <p:sp>
          <p:nvSpPr>
            <p:cNvPr id="25" name="Avrundet rektangel 276"/>
            <p:cNvSpPr/>
            <p:nvPr/>
          </p:nvSpPr>
          <p:spPr>
            <a:xfrm>
              <a:off x="6683755" y="6166344"/>
              <a:ext cx="733798" cy="205463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ons</a:t>
              </a:r>
            </a:p>
          </p:txBody>
        </p:sp>
        <p:sp>
          <p:nvSpPr>
            <p:cNvPr id="26" name="Avrundet rektangel 277"/>
            <p:cNvSpPr/>
            <p:nvPr/>
          </p:nvSpPr>
          <p:spPr>
            <a:xfrm>
              <a:off x="5585606" y="2507564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cept tertiary reserve activation</a:t>
              </a:r>
            </a:p>
          </p:txBody>
        </p:sp>
        <p:sp>
          <p:nvSpPr>
            <p:cNvPr id="27" name="Avrundet rektangel 278"/>
            <p:cNvSpPr/>
            <p:nvPr/>
          </p:nvSpPr>
          <p:spPr>
            <a:xfrm>
              <a:off x="5581478" y="351461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lculate</a:t>
              </a:r>
            </a:p>
          </p:txBody>
        </p:sp>
        <p:sp>
          <p:nvSpPr>
            <p:cNvPr id="28" name="Avrundet rektangel 279"/>
            <p:cNvSpPr/>
            <p:nvPr/>
          </p:nvSpPr>
          <p:spPr>
            <a:xfrm>
              <a:off x="10529539" y="344056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FRR bid</a:t>
              </a:r>
            </a:p>
          </p:txBody>
        </p:sp>
        <p:sp>
          <p:nvSpPr>
            <p:cNvPr id="29" name="Avrundet rektangel 280"/>
            <p:cNvSpPr/>
            <p:nvPr/>
          </p:nvSpPr>
          <p:spPr>
            <a:xfrm>
              <a:off x="5579359" y="4242108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nsider possible Intraday trading</a:t>
              </a:r>
            </a:p>
          </p:txBody>
        </p:sp>
        <p:sp>
          <p:nvSpPr>
            <p:cNvPr id="30" name="Avrundet rektangel 281"/>
            <p:cNvSpPr/>
            <p:nvPr/>
          </p:nvSpPr>
          <p:spPr>
            <a:xfrm>
              <a:off x="5579358" y="4976363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nd UMM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f needed</a:t>
              </a:r>
            </a:p>
          </p:txBody>
        </p:sp>
        <p:sp>
          <p:nvSpPr>
            <p:cNvPr id="31" name="Avrundet rektangel 282"/>
            <p:cNvSpPr/>
            <p:nvPr/>
          </p:nvSpPr>
          <p:spPr>
            <a:xfrm>
              <a:off x="5579358" y="5310466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availability</a:t>
              </a:r>
            </a:p>
          </p:txBody>
        </p:sp>
        <p:sp>
          <p:nvSpPr>
            <p:cNvPr id="32" name="Avrundet rektangel 283"/>
            <p:cNvSpPr/>
            <p:nvPr/>
          </p:nvSpPr>
          <p:spPr>
            <a:xfrm>
              <a:off x="5581312" y="280796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gister activation</a:t>
              </a:r>
            </a:p>
          </p:txBody>
        </p:sp>
        <p:sp>
          <p:nvSpPr>
            <p:cNvPr id="33" name="Avrundet rektangel 284"/>
            <p:cNvSpPr/>
            <p:nvPr/>
          </p:nvSpPr>
          <p:spPr>
            <a:xfrm>
              <a:off x="6683877" y="6391889"/>
              <a:ext cx="733798" cy="205463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Verifications</a:t>
              </a:r>
            </a:p>
          </p:txBody>
        </p:sp>
        <p:sp>
          <p:nvSpPr>
            <p:cNvPr id="34" name="Avrundet rektangel 285"/>
            <p:cNvSpPr/>
            <p:nvPr/>
          </p:nvSpPr>
          <p:spPr>
            <a:xfrm>
              <a:off x="7817752" y="2668847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Market compliance?</a:t>
              </a:r>
            </a:p>
          </p:txBody>
        </p:sp>
        <p:sp>
          <p:nvSpPr>
            <p:cNvPr id="35" name="Avrundet rektangel 286"/>
            <p:cNvSpPr/>
            <p:nvPr/>
          </p:nvSpPr>
          <p:spPr>
            <a:xfrm>
              <a:off x="7817752" y="3022271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ithin restrictions?</a:t>
              </a:r>
            </a:p>
          </p:txBody>
        </p:sp>
        <p:sp>
          <p:nvSpPr>
            <p:cNvPr id="36" name="Avrundet rektangel 287"/>
            <p:cNvSpPr/>
            <p:nvPr/>
          </p:nvSpPr>
          <p:spPr>
            <a:xfrm>
              <a:off x="7806248" y="196200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ertiary reserve bid?</a:t>
              </a:r>
            </a:p>
          </p:txBody>
        </p:sp>
        <p:sp>
          <p:nvSpPr>
            <p:cNvPr id="37" name="Avrundet rektangel 288"/>
            <p:cNvSpPr/>
            <p:nvPr/>
          </p:nvSpPr>
          <p:spPr>
            <a:xfrm>
              <a:off x="7821690" y="231542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ed for update Intraday offers?</a:t>
              </a:r>
            </a:p>
          </p:txBody>
        </p:sp>
        <p:sp>
          <p:nvSpPr>
            <p:cNvPr id="38" name="Avrundet rektangel 289"/>
            <p:cNvSpPr/>
            <p:nvPr/>
          </p:nvSpPr>
          <p:spPr>
            <a:xfrm>
              <a:off x="7816081" y="337569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market breach?</a:t>
              </a:r>
            </a:p>
          </p:txBody>
        </p:sp>
        <p:sp>
          <p:nvSpPr>
            <p:cNvPr id="39" name="Avrundet rektangel 290"/>
            <p:cNvSpPr/>
            <p:nvPr/>
          </p:nvSpPr>
          <p:spPr>
            <a:xfrm>
              <a:off x="7816081" y="3729119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restriction breach?</a:t>
              </a:r>
            </a:p>
          </p:txBody>
        </p:sp>
        <p:sp>
          <p:nvSpPr>
            <p:cNvPr id="40" name="Avrundet rektangel 291"/>
            <p:cNvSpPr/>
            <p:nvPr/>
          </p:nvSpPr>
          <p:spPr>
            <a:xfrm>
              <a:off x="7816081" y="4082542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New plan feasible?</a:t>
              </a:r>
            </a:p>
          </p:txBody>
        </p:sp>
        <p:sp>
          <p:nvSpPr>
            <p:cNvPr id="41" name="Avrundet rektangel 292"/>
            <p:cNvSpPr/>
            <p:nvPr/>
          </p:nvSpPr>
          <p:spPr>
            <a:xfrm>
              <a:off x="7816081" y="4435966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Assets affected?</a:t>
              </a:r>
            </a:p>
            <a:p>
              <a:pPr algn="ctr" defTabSz="685783">
                <a:defRPr/>
              </a:pPr>
              <a:r>
                <a:rPr lang="en-GB" sz="750" kern="0" dirty="0">
                  <a:solidFill>
                    <a:prstClr val="white"/>
                  </a:solidFill>
                  <a:latin typeface="Calibri"/>
                </a:rPr>
                <a:t>How?</a:t>
              </a:r>
            </a:p>
          </p:txBody>
        </p:sp>
        <p:sp>
          <p:nvSpPr>
            <p:cNvPr id="42" name="Avrundet rektangel 293"/>
            <p:cNvSpPr/>
            <p:nvPr/>
          </p:nvSpPr>
          <p:spPr>
            <a:xfrm>
              <a:off x="7816081" y="4789390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Wanted effect?</a:t>
              </a:r>
            </a:p>
          </p:txBody>
        </p:sp>
        <p:sp>
          <p:nvSpPr>
            <p:cNvPr id="43" name="Avrundet rektangel 294"/>
            <p:cNvSpPr/>
            <p:nvPr/>
          </p:nvSpPr>
          <p:spPr>
            <a:xfrm>
              <a:off x="7816081" y="5142813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Consequences of new plan?</a:t>
              </a:r>
            </a:p>
          </p:txBody>
        </p:sp>
        <p:sp>
          <p:nvSpPr>
            <p:cNvPr id="44" name="Avrundet rektangel 295"/>
            <p:cNvSpPr/>
            <p:nvPr/>
          </p:nvSpPr>
          <p:spPr>
            <a:xfrm>
              <a:off x="5923640" y="6169164"/>
              <a:ext cx="733798" cy="205463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econditions</a:t>
              </a:r>
            </a:p>
          </p:txBody>
        </p:sp>
        <p:sp>
          <p:nvSpPr>
            <p:cNvPr id="45" name="Avrundet rektangel 296"/>
            <p:cNvSpPr/>
            <p:nvPr/>
          </p:nvSpPr>
          <p:spPr>
            <a:xfrm>
              <a:off x="1806246" y="216036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ility</a:t>
              </a:r>
            </a:p>
          </p:txBody>
        </p:sp>
        <p:sp>
          <p:nvSpPr>
            <p:cNvPr id="46" name="Avrundet rektangel 297"/>
            <p:cNvSpPr/>
            <p:nvPr/>
          </p:nvSpPr>
          <p:spPr>
            <a:xfrm>
              <a:off x="1806246" y="244797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c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7" name="Avrundet rektangel 298"/>
            <p:cNvSpPr/>
            <p:nvPr/>
          </p:nvSpPr>
          <p:spPr>
            <a:xfrm>
              <a:off x="1806246" y="27355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flow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8" name="Avrundet rektangel 299"/>
            <p:cNvSpPr/>
            <p:nvPr/>
          </p:nvSpPr>
          <p:spPr>
            <a:xfrm>
              <a:off x="1806246" y="3023191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emand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orecast</a:t>
              </a:r>
            </a:p>
          </p:txBody>
        </p:sp>
        <p:sp>
          <p:nvSpPr>
            <p:cNvPr id="49" name="Avrundet rektangel 300"/>
            <p:cNvSpPr/>
            <p:nvPr/>
          </p:nvSpPr>
          <p:spPr>
            <a:xfrm>
              <a:off x="1806246" y="331079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ind power forecast</a:t>
              </a:r>
            </a:p>
          </p:txBody>
        </p:sp>
        <p:sp>
          <p:nvSpPr>
            <p:cNvPr id="50" name="Avrundet rektangel 301"/>
            <p:cNvSpPr/>
            <p:nvPr/>
          </p:nvSpPr>
          <p:spPr>
            <a:xfrm>
              <a:off x="1806246" y="4173625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ater values</a:t>
              </a:r>
            </a:p>
          </p:txBody>
        </p:sp>
        <p:sp>
          <p:nvSpPr>
            <p:cNvPr id="51" name="Avrundet rektangel 302"/>
            <p:cNvSpPr/>
            <p:nvPr/>
          </p:nvSpPr>
          <p:spPr>
            <a:xfrm>
              <a:off x="1806246" y="4461234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ginal costs</a:t>
              </a:r>
            </a:p>
          </p:txBody>
        </p:sp>
        <p:sp>
          <p:nvSpPr>
            <p:cNvPr id="52" name="Avrundet rektangel 303"/>
            <p:cNvSpPr/>
            <p:nvPr/>
          </p:nvSpPr>
          <p:spPr>
            <a:xfrm>
              <a:off x="1806246" y="129753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trictions</a:t>
              </a:r>
            </a:p>
          </p:txBody>
        </p:sp>
        <p:sp>
          <p:nvSpPr>
            <p:cNvPr id="53" name="Avrundet rektangel 304"/>
            <p:cNvSpPr/>
            <p:nvPr/>
          </p:nvSpPr>
          <p:spPr>
            <a:xfrm>
              <a:off x="1806246" y="3598409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o-owners</a:t>
              </a:r>
            </a:p>
          </p:txBody>
        </p:sp>
        <p:sp>
          <p:nvSpPr>
            <p:cNvPr id="54" name="Avrundet rektangel 305"/>
            <p:cNvSpPr/>
            <p:nvPr/>
          </p:nvSpPr>
          <p:spPr>
            <a:xfrm>
              <a:off x="1806246" y="589927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Day ahead obligation</a:t>
              </a:r>
            </a:p>
          </p:txBody>
        </p:sp>
        <p:sp>
          <p:nvSpPr>
            <p:cNvPr id="55" name="Avrundet rektangel 306"/>
            <p:cNvSpPr/>
            <p:nvPr/>
          </p:nvSpPr>
          <p:spPr>
            <a:xfrm>
              <a:off x="1806246" y="503645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im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6" name="Avrundet rektangel 307"/>
            <p:cNvSpPr/>
            <p:nvPr/>
          </p:nvSpPr>
          <p:spPr>
            <a:xfrm>
              <a:off x="1806246" y="5324060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Second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apacity obligation</a:t>
              </a:r>
            </a:p>
          </p:txBody>
        </p:sp>
        <p:sp>
          <p:nvSpPr>
            <p:cNvPr id="57" name="Avrundet rektangel 308"/>
            <p:cNvSpPr/>
            <p:nvPr/>
          </p:nvSpPr>
          <p:spPr>
            <a:xfrm>
              <a:off x="1806246" y="561166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tiary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e bids</a:t>
              </a:r>
            </a:p>
          </p:txBody>
        </p:sp>
        <p:sp>
          <p:nvSpPr>
            <p:cNvPr id="58" name="Avrundet rektangel 309"/>
            <p:cNvSpPr/>
            <p:nvPr/>
          </p:nvSpPr>
          <p:spPr>
            <a:xfrm>
              <a:off x="1806246" y="6186882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roduction schedule</a:t>
              </a:r>
            </a:p>
          </p:txBody>
        </p:sp>
        <p:sp>
          <p:nvSpPr>
            <p:cNvPr id="59" name="Avrundet rektangel 310"/>
            <p:cNvSpPr/>
            <p:nvPr/>
          </p:nvSpPr>
          <p:spPr>
            <a:xfrm>
              <a:off x="3739337" y="4494893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MM affecting you</a:t>
              </a:r>
            </a:p>
          </p:txBody>
        </p:sp>
        <p:cxnSp>
          <p:nvCxnSpPr>
            <p:cNvPr id="63" name="Rett pil 314"/>
            <p:cNvCxnSpPr>
              <a:stCxn id="27" idx="2"/>
              <a:endCxn id="33" idx="0"/>
            </p:cNvCxnSpPr>
            <p:nvPr/>
          </p:nvCxnSpPr>
          <p:spPr>
            <a:xfrm flipH="1">
              <a:off x="6050943" y="2742380"/>
              <a:ext cx="4294" cy="6558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64" name="Rett pil 315"/>
            <p:cNvCxnSpPr>
              <a:endCxn id="28" idx="2"/>
            </p:cNvCxnSpPr>
            <p:nvPr/>
          </p:nvCxnSpPr>
          <p:spPr>
            <a:xfrm flipV="1">
              <a:off x="6048992" y="3749435"/>
              <a:ext cx="2119" cy="525662"/>
            </a:xfrm>
            <a:prstGeom prst="straightConnector1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triangle" w="med" len="med"/>
            </a:ln>
            <a:effectLst/>
          </p:spPr>
        </p:cxnSp>
        <p:sp>
          <p:nvSpPr>
            <p:cNvPr id="65" name="Ellipse 316"/>
            <p:cNvSpPr>
              <a:spLocks noChangeAspect="1"/>
            </p:cNvSpPr>
            <p:nvPr/>
          </p:nvSpPr>
          <p:spPr>
            <a:xfrm>
              <a:off x="3227760" y="3992087"/>
              <a:ext cx="22632" cy="22684"/>
            </a:xfrm>
            <a:prstGeom prst="ellipse">
              <a:avLst/>
            </a:prstGeom>
            <a:noFill/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66" name="Buet linje 317"/>
            <p:cNvCxnSpPr>
              <a:stCxn id="51" idx="3"/>
              <a:endCxn id="159" idx="2"/>
            </p:cNvCxnSpPr>
            <p:nvPr/>
          </p:nvCxnSpPr>
          <p:spPr>
            <a:xfrm>
              <a:off x="2745509" y="2277773"/>
              <a:ext cx="482251" cy="1725656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Buet linje 318"/>
            <p:cNvCxnSpPr>
              <a:stCxn id="53" idx="3"/>
              <a:endCxn id="159" idx="2"/>
            </p:cNvCxnSpPr>
            <p:nvPr/>
          </p:nvCxnSpPr>
          <p:spPr>
            <a:xfrm>
              <a:off x="2745509" y="2852990"/>
              <a:ext cx="482251" cy="115043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Buet linje 319"/>
            <p:cNvCxnSpPr>
              <a:stCxn id="54" idx="3"/>
              <a:endCxn id="159" idx="2"/>
            </p:cNvCxnSpPr>
            <p:nvPr/>
          </p:nvCxnSpPr>
          <p:spPr>
            <a:xfrm>
              <a:off x="2745509" y="3140599"/>
              <a:ext cx="482251" cy="86283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Buet linje 320"/>
            <p:cNvCxnSpPr>
              <a:stCxn id="55" idx="3"/>
              <a:endCxn id="159" idx="2"/>
            </p:cNvCxnSpPr>
            <p:nvPr/>
          </p:nvCxnSpPr>
          <p:spPr>
            <a:xfrm>
              <a:off x="2745509" y="3428208"/>
              <a:ext cx="482251" cy="57522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Buet linje 321"/>
            <p:cNvCxnSpPr>
              <a:stCxn id="56" idx="3"/>
              <a:endCxn id="159" idx="2"/>
            </p:cNvCxnSpPr>
            <p:nvPr/>
          </p:nvCxnSpPr>
          <p:spPr>
            <a:xfrm flipV="1">
              <a:off x="2745509" y="4003428"/>
              <a:ext cx="482251" cy="28760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Buet linje 322"/>
            <p:cNvCxnSpPr>
              <a:stCxn id="58" idx="3"/>
              <a:endCxn id="159" idx="2"/>
            </p:cNvCxnSpPr>
            <p:nvPr/>
          </p:nvCxnSpPr>
          <p:spPr>
            <a:xfrm>
              <a:off x="2745509" y="1414948"/>
              <a:ext cx="482251" cy="258848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Buet linje 323"/>
            <p:cNvCxnSpPr>
              <a:stCxn id="57" idx="3"/>
              <a:endCxn id="159" idx="2"/>
            </p:cNvCxnSpPr>
            <p:nvPr/>
          </p:nvCxnSpPr>
          <p:spPr>
            <a:xfrm flipV="1">
              <a:off x="2745509" y="4003428"/>
              <a:ext cx="482251" cy="575215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Buet linje 324"/>
            <p:cNvCxnSpPr>
              <a:stCxn id="52" idx="3"/>
              <a:endCxn id="159" idx="2"/>
            </p:cNvCxnSpPr>
            <p:nvPr/>
          </p:nvCxnSpPr>
          <p:spPr>
            <a:xfrm>
              <a:off x="2745509" y="2565382"/>
              <a:ext cx="482251" cy="14380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Buet linje 325"/>
            <p:cNvCxnSpPr>
              <a:stCxn id="61" idx="3"/>
              <a:endCxn id="159" idx="2"/>
            </p:cNvCxnSpPr>
            <p:nvPr/>
          </p:nvCxnSpPr>
          <p:spPr>
            <a:xfrm flipV="1">
              <a:off x="2745509" y="4003428"/>
              <a:ext cx="482251" cy="1150431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Buet linje 326"/>
            <p:cNvCxnSpPr>
              <a:stCxn id="59" idx="3"/>
              <a:endCxn id="159" idx="2"/>
            </p:cNvCxnSpPr>
            <p:nvPr/>
          </p:nvCxnSpPr>
          <p:spPr>
            <a:xfrm>
              <a:off x="2745509" y="3715817"/>
              <a:ext cx="482251" cy="287612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Buet linje 327"/>
            <p:cNvCxnSpPr>
              <a:stCxn id="62" idx="3"/>
              <a:endCxn id="159" idx="2"/>
            </p:cNvCxnSpPr>
            <p:nvPr/>
          </p:nvCxnSpPr>
          <p:spPr>
            <a:xfrm flipV="1">
              <a:off x="2745509" y="4003429"/>
              <a:ext cx="482251" cy="1438040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Buet linje 328"/>
            <p:cNvCxnSpPr>
              <a:stCxn id="60" idx="3"/>
              <a:endCxn id="159" idx="2"/>
            </p:cNvCxnSpPr>
            <p:nvPr/>
          </p:nvCxnSpPr>
          <p:spPr>
            <a:xfrm flipV="1">
              <a:off x="2745509" y="4003429"/>
              <a:ext cx="482251" cy="2013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Buet linje 329"/>
            <p:cNvCxnSpPr>
              <a:stCxn id="63" idx="3"/>
              <a:endCxn id="159" idx="2"/>
            </p:cNvCxnSpPr>
            <p:nvPr/>
          </p:nvCxnSpPr>
          <p:spPr>
            <a:xfrm flipV="1">
              <a:off x="2745509" y="4003429"/>
              <a:ext cx="482251" cy="17256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79" name="Buet linje 330"/>
            <p:cNvCxnSpPr>
              <a:stCxn id="64" idx="3"/>
              <a:endCxn id="159" idx="2"/>
            </p:cNvCxnSpPr>
            <p:nvPr/>
          </p:nvCxnSpPr>
          <p:spPr>
            <a:xfrm flipV="1">
              <a:off x="2745509" y="4003429"/>
              <a:ext cx="482251" cy="230086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Buet linje 331"/>
            <p:cNvCxnSpPr>
              <a:stCxn id="13" idx="1"/>
              <a:endCxn id="159" idx="6"/>
            </p:cNvCxnSpPr>
            <p:nvPr/>
          </p:nvCxnSpPr>
          <p:spPr>
            <a:xfrm rot="10800000" flipV="1">
              <a:off x="3250393" y="3101697"/>
              <a:ext cx="488946" cy="90173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1" name="Buet linje 332"/>
            <p:cNvCxnSpPr>
              <a:stCxn id="14" idx="1"/>
              <a:endCxn id="159" idx="6"/>
            </p:cNvCxnSpPr>
            <p:nvPr/>
          </p:nvCxnSpPr>
          <p:spPr>
            <a:xfrm rot="10800000" flipV="1">
              <a:off x="3250393" y="3705939"/>
              <a:ext cx="488946" cy="29749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2" name="Buet linje 333"/>
            <p:cNvCxnSpPr>
              <a:stCxn id="23" idx="1"/>
              <a:endCxn id="159" idx="6"/>
            </p:cNvCxnSpPr>
            <p:nvPr/>
          </p:nvCxnSpPr>
          <p:spPr>
            <a:xfrm rot="10800000">
              <a:off x="3250393" y="4003429"/>
              <a:ext cx="488946" cy="3067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3" name="Buet linje 334"/>
            <p:cNvCxnSpPr>
              <a:stCxn id="15" idx="1"/>
              <a:endCxn id="159" idx="6"/>
            </p:cNvCxnSpPr>
            <p:nvPr/>
          </p:nvCxnSpPr>
          <p:spPr>
            <a:xfrm rot="10800000">
              <a:off x="3250393" y="4003429"/>
              <a:ext cx="488946" cy="24216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4" name="Buet linje 335"/>
            <p:cNvCxnSpPr>
              <a:stCxn id="22" idx="1"/>
              <a:endCxn id="159" idx="6"/>
            </p:cNvCxnSpPr>
            <p:nvPr/>
          </p:nvCxnSpPr>
          <p:spPr>
            <a:xfrm rot="10800000" flipV="1">
              <a:off x="3250393" y="1591093"/>
              <a:ext cx="488946" cy="24123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5" name="Buet linje 336"/>
            <p:cNvCxnSpPr>
              <a:stCxn id="20" idx="1"/>
              <a:endCxn id="159" idx="6"/>
            </p:cNvCxnSpPr>
            <p:nvPr/>
          </p:nvCxnSpPr>
          <p:spPr>
            <a:xfrm rot="10800000" flipV="1">
              <a:off x="3250393" y="1288973"/>
              <a:ext cx="488946" cy="2714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6" name="Buet linje 337"/>
            <p:cNvCxnSpPr>
              <a:stCxn id="16" idx="1"/>
              <a:endCxn id="159" idx="6"/>
            </p:cNvCxnSpPr>
            <p:nvPr/>
          </p:nvCxnSpPr>
          <p:spPr>
            <a:xfrm rot="10800000" flipV="1">
              <a:off x="3250393" y="2497456"/>
              <a:ext cx="488946" cy="15059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7" name="Buet linje 338"/>
            <p:cNvCxnSpPr>
              <a:stCxn id="24" idx="1"/>
              <a:endCxn id="159" idx="6"/>
            </p:cNvCxnSpPr>
            <p:nvPr/>
          </p:nvCxnSpPr>
          <p:spPr>
            <a:xfrm rot="10800000" flipV="1">
              <a:off x="3250393" y="3403818"/>
              <a:ext cx="488946" cy="59961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8" name="Buet linje 339"/>
            <p:cNvCxnSpPr>
              <a:stCxn id="65" idx="1"/>
              <a:endCxn id="159" idx="6"/>
            </p:cNvCxnSpPr>
            <p:nvPr/>
          </p:nvCxnSpPr>
          <p:spPr>
            <a:xfrm rot="10800000">
              <a:off x="3250393" y="4003429"/>
              <a:ext cx="488946" cy="608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89" name="Buet linje 340"/>
            <p:cNvCxnSpPr>
              <a:stCxn id="17" idx="1"/>
              <a:endCxn id="159" idx="6"/>
            </p:cNvCxnSpPr>
            <p:nvPr/>
          </p:nvCxnSpPr>
          <p:spPr>
            <a:xfrm rot="10800000">
              <a:off x="3250393" y="4003428"/>
              <a:ext cx="488946" cy="9109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0" name="Buet linje 341"/>
            <p:cNvCxnSpPr>
              <a:stCxn id="21" idx="1"/>
              <a:endCxn id="159" idx="6"/>
            </p:cNvCxnSpPr>
            <p:nvPr/>
          </p:nvCxnSpPr>
          <p:spPr>
            <a:xfrm rot="10800000">
              <a:off x="3250393" y="4003428"/>
              <a:ext cx="488946" cy="121311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1" name="Buet linje 342"/>
            <p:cNvCxnSpPr>
              <a:stCxn id="18" idx="1"/>
              <a:endCxn id="159" idx="6"/>
            </p:cNvCxnSpPr>
            <p:nvPr/>
          </p:nvCxnSpPr>
          <p:spPr>
            <a:xfrm rot="10800000">
              <a:off x="3250393" y="4003429"/>
              <a:ext cx="488946" cy="15152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2" name="Buet linje 343"/>
            <p:cNvCxnSpPr>
              <a:stCxn id="19" idx="1"/>
              <a:endCxn id="159" idx="6"/>
            </p:cNvCxnSpPr>
            <p:nvPr/>
          </p:nvCxnSpPr>
          <p:spPr>
            <a:xfrm rot="10800000">
              <a:off x="3250393" y="4003429"/>
              <a:ext cx="488946" cy="18173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93" name="Rett pil 344"/>
            <p:cNvCxnSpPr>
              <a:stCxn id="33" idx="2"/>
            </p:cNvCxnSpPr>
            <p:nvPr/>
          </p:nvCxnSpPr>
          <p:spPr>
            <a:xfrm>
              <a:off x="6050943" y="3042781"/>
              <a:ext cx="2161" cy="68456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94" name="Avrundet rektangel 345"/>
            <p:cNvSpPr/>
            <p:nvPr/>
          </p:nvSpPr>
          <p:spPr>
            <a:xfrm>
              <a:off x="5583473" y="311123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ctivate activation</a:t>
              </a:r>
            </a:p>
          </p:txBody>
        </p:sp>
        <p:cxnSp>
          <p:nvCxnSpPr>
            <p:cNvPr id="95" name="Buet linje 346"/>
            <p:cNvCxnSpPr>
              <a:stCxn id="42" idx="3"/>
            </p:cNvCxnSpPr>
            <p:nvPr/>
          </p:nvCxnSpPr>
          <p:spPr>
            <a:xfrm>
              <a:off x="8745511" y="2079407"/>
              <a:ext cx="501090" cy="17987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6" name="Buet linje 347"/>
            <p:cNvCxnSpPr>
              <a:stCxn id="38" idx="3"/>
            </p:cNvCxnSpPr>
            <p:nvPr/>
          </p:nvCxnSpPr>
          <p:spPr>
            <a:xfrm>
              <a:off x="8757014" y="2786256"/>
              <a:ext cx="489586" cy="109193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7" name="Buet linje 348"/>
            <p:cNvCxnSpPr>
              <a:stCxn id="41" idx="3"/>
            </p:cNvCxnSpPr>
            <p:nvPr/>
          </p:nvCxnSpPr>
          <p:spPr>
            <a:xfrm>
              <a:off x="8757014" y="3139679"/>
              <a:ext cx="489586" cy="73851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8" name="Buet linje 349"/>
            <p:cNvCxnSpPr>
              <a:stCxn id="43" idx="3"/>
            </p:cNvCxnSpPr>
            <p:nvPr/>
          </p:nvCxnSpPr>
          <p:spPr>
            <a:xfrm>
              <a:off x="8760952" y="2432833"/>
              <a:ext cx="485648" cy="1445358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9" name="Buet linje 350"/>
            <p:cNvCxnSpPr>
              <a:stCxn id="45" idx="3"/>
            </p:cNvCxnSpPr>
            <p:nvPr/>
          </p:nvCxnSpPr>
          <p:spPr>
            <a:xfrm>
              <a:off x="8755342" y="3846528"/>
              <a:ext cx="491258" cy="3166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0" name="Buet linje 351"/>
            <p:cNvCxnSpPr>
              <a:stCxn id="44" idx="3"/>
            </p:cNvCxnSpPr>
            <p:nvPr/>
          </p:nvCxnSpPr>
          <p:spPr>
            <a:xfrm>
              <a:off x="8755342" y="3493104"/>
              <a:ext cx="491258" cy="385087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1" name="Buet linje 352"/>
            <p:cNvCxnSpPr>
              <a:stCxn id="46" idx="3"/>
            </p:cNvCxnSpPr>
            <p:nvPr/>
          </p:nvCxnSpPr>
          <p:spPr>
            <a:xfrm flipV="1">
              <a:off x="8755342" y="3878191"/>
              <a:ext cx="491258" cy="3217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2" name="Buet linje 353"/>
            <p:cNvCxnSpPr>
              <a:stCxn id="47" idx="3"/>
            </p:cNvCxnSpPr>
            <p:nvPr/>
          </p:nvCxnSpPr>
          <p:spPr>
            <a:xfrm flipV="1">
              <a:off x="8755342" y="3878191"/>
              <a:ext cx="491258" cy="6751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3" name="Buet linje 354"/>
            <p:cNvCxnSpPr>
              <a:stCxn id="48" idx="3"/>
            </p:cNvCxnSpPr>
            <p:nvPr/>
          </p:nvCxnSpPr>
          <p:spPr>
            <a:xfrm flipV="1">
              <a:off x="8755342" y="3878190"/>
              <a:ext cx="491258" cy="10286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4" name="Buet linje 355"/>
            <p:cNvCxnSpPr>
              <a:stCxn id="49" idx="3"/>
            </p:cNvCxnSpPr>
            <p:nvPr/>
          </p:nvCxnSpPr>
          <p:spPr>
            <a:xfrm flipV="1">
              <a:off x="8755342" y="3878190"/>
              <a:ext cx="491258" cy="13820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06" name="Buet linje 357"/>
            <p:cNvCxnSpPr>
              <a:stCxn id="42" idx="1"/>
              <a:endCxn id="20" idx="3"/>
            </p:cNvCxnSpPr>
            <p:nvPr/>
          </p:nvCxnSpPr>
          <p:spPr>
            <a:xfrm rot="10800000">
              <a:off x="4678599" y="1288973"/>
              <a:ext cx="3127650" cy="7904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7" name="Buet linje 358"/>
            <p:cNvCxnSpPr>
              <a:stCxn id="42" idx="1"/>
              <a:endCxn id="22" idx="3"/>
            </p:cNvCxnSpPr>
            <p:nvPr/>
          </p:nvCxnSpPr>
          <p:spPr>
            <a:xfrm rot="10800000">
              <a:off x="4678599" y="1591094"/>
              <a:ext cx="3127650" cy="4883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8" name="Buet linje 359"/>
            <p:cNvCxnSpPr>
              <a:stCxn id="28" idx="1"/>
              <a:endCxn id="22" idx="3"/>
            </p:cNvCxnSpPr>
            <p:nvPr/>
          </p:nvCxnSpPr>
          <p:spPr>
            <a:xfrm rot="10800000">
              <a:off x="4678599" y="1591095"/>
              <a:ext cx="902880" cy="20409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9" name="Buet linje 360"/>
            <p:cNvCxnSpPr>
              <a:stCxn id="28" idx="1"/>
              <a:endCxn id="16" idx="3"/>
            </p:cNvCxnSpPr>
            <p:nvPr/>
          </p:nvCxnSpPr>
          <p:spPr>
            <a:xfrm rot="10800000">
              <a:off x="4678599" y="2497457"/>
              <a:ext cx="902880" cy="11345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0" name="Buet linje 361"/>
            <p:cNvCxnSpPr>
              <a:stCxn id="28" idx="1"/>
              <a:endCxn id="13" idx="3"/>
            </p:cNvCxnSpPr>
            <p:nvPr/>
          </p:nvCxnSpPr>
          <p:spPr>
            <a:xfrm rot="10800000">
              <a:off x="4678599" y="3101699"/>
              <a:ext cx="902880" cy="53032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1" name="Buet linje 362"/>
            <p:cNvCxnSpPr>
              <a:stCxn id="28" idx="1"/>
              <a:endCxn id="24" idx="3"/>
            </p:cNvCxnSpPr>
            <p:nvPr/>
          </p:nvCxnSpPr>
          <p:spPr>
            <a:xfrm rot="10800000">
              <a:off x="4678599" y="3403820"/>
              <a:ext cx="902880" cy="22820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2" name="Buet linje 363"/>
            <p:cNvCxnSpPr>
              <a:stCxn id="28" idx="1"/>
              <a:endCxn id="17" idx="3"/>
            </p:cNvCxnSpPr>
            <p:nvPr/>
          </p:nvCxnSpPr>
          <p:spPr>
            <a:xfrm rot="10800000" flipV="1">
              <a:off x="4678599" y="3632026"/>
              <a:ext cx="902880" cy="12823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3" name="Buet linje 364"/>
            <p:cNvCxnSpPr>
              <a:stCxn id="28" idx="1"/>
              <a:endCxn id="21" idx="3"/>
            </p:cNvCxnSpPr>
            <p:nvPr/>
          </p:nvCxnSpPr>
          <p:spPr>
            <a:xfrm rot="10800000" flipV="1">
              <a:off x="4678599" y="3632025"/>
              <a:ext cx="902880" cy="158451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4" name="Buet linje 365"/>
            <p:cNvCxnSpPr>
              <a:stCxn id="28" idx="1"/>
              <a:endCxn id="18" idx="3"/>
            </p:cNvCxnSpPr>
            <p:nvPr/>
          </p:nvCxnSpPr>
          <p:spPr>
            <a:xfrm rot="10800000" flipV="1">
              <a:off x="4678599" y="3632026"/>
              <a:ext cx="902880" cy="18866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5" name="Buet linje 366"/>
            <p:cNvCxnSpPr>
              <a:stCxn id="28" idx="1"/>
              <a:endCxn id="19" idx="3"/>
            </p:cNvCxnSpPr>
            <p:nvPr/>
          </p:nvCxnSpPr>
          <p:spPr>
            <a:xfrm rot="10800000" flipV="1">
              <a:off x="4678599" y="3632026"/>
              <a:ext cx="902880" cy="218875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6" name="Buet linje 367"/>
            <p:cNvCxnSpPr>
              <a:stCxn id="28" idx="1"/>
              <a:endCxn id="65" idx="3"/>
            </p:cNvCxnSpPr>
            <p:nvPr/>
          </p:nvCxnSpPr>
          <p:spPr>
            <a:xfrm rot="10800000" flipV="1">
              <a:off x="4678599" y="3632026"/>
              <a:ext cx="902880" cy="9802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7" name="Buet linje 368"/>
            <p:cNvCxnSpPr>
              <a:stCxn id="28" idx="1"/>
              <a:endCxn id="23" idx="3"/>
            </p:cNvCxnSpPr>
            <p:nvPr/>
          </p:nvCxnSpPr>
          <p:spPr>
            <a:xfrm rot="10800000" flipV="1">
              <a:off x="4678599" y="3632026"/>
              <a:ext cx="902880" cy="67815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8" name="Buet linje 369"/>
            <p:cNvCxnSpPr>
              <a:stCxn id="28" idx="1"/>
              <a:endCxn id="14" idx="3"/>
            </p:cNvCxnSpPr>
            <p:nvPr/>
          </p:nvCxnSpPr>
          <p:spPr>
            <a:xfrm rot="10800000" flipV="1">
              <a:off x="4678599" y="3632026"/>
              <a:ext cx="902880" cy="739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19" name="Buet linje 370"/>
            <p:cNvCxnSpPr>
              <a:stCxn id="32" idx="1"/>
              <a:endCxn id="15" idx="3"/>
            </p:cNvCxnSpPr>
            <p:nvPr/>
          </p:nvCxnSpPr>
          <p:spPr>
            <a:xfrm rot="10800000" flipV="1">
              <a:off x="4678599" y="5427873"/>
              <a:ext cx="900760" cy="9971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0" name="Buet linje 371"/>
            <p:cNvCxnSpPr>
              <a:stCxn id="31" idx="1"/>
              <a:endCxn id="15" idx="3"/>
            </p:cNvCxnSpPr>
            <p:nvPr/>
          </p:nvCxnSpPr>
          <p:spPr>
            <a:xfrm rot="10800000" flipV="1">
              <a:off x="4678599" y="5093770"/>
              <a:ext cx="900760" cy="13312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1" name="Buet linje 372"/>
            <p:cNvCxnSpPr>
              <a:stCxn id="30" idx="1"/>
              <a:endCxn id="15" idx="3"/>
            </p:cNvCxnSpPr>
            <p:nvPr/>
          </p:nvCxnSpPr>
          <p:spPr>
            <a:xfrm rot="10800000" flipV="1">
              <a:off x="4678599" y="4359515"/>
              <a:ext cx="900761" cy="20655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2" name="Buet linje 373"/>
            <p:cNvCxnSpPr>
              <a:stCxn id="28" idx="1"/>
              <a:endCxn id="15" idx="3"/>
            </p:cNvCxnSpPr>
            <p:nvPr/>
          </p:nvCxnSpPr>
          <p:spPr>
            <a:xfrm rot="10800000" flipV="1">
              <a:off x="4678599" y="3632026"/>
              <a:ext cx="902880" cy="2793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70C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3" name="Buet linje 374"/>
            <p:cNvCxnSpPr>
              <a:stCxn id="42" idx="1"/>
              <a:endCxn id="28" idx="3"/>
            </p:cNvCxnSpPr>
            <p:nvPr/>
          </p:nvCxnSpPr>
          <p:spPr>
            <a:xfrm rot="10800000" flipV="1">
              <a:off x="6520739" y="2079407"/>
              <a:ext cx="1285509" cy="15526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4" name="Buet linje 375"/>
            <p:cNvCxnSpPr>
              <a:stCxn id="45" idx="1"/>
              <a:endCxn id="28" idx="3"/>
            </p:cNvCxnSpPr>
            <p:nvPr/>
          </p:nvCxnSpPr>
          <p:spPr>
            <a:xfrm rot="10800000">
              <a:off x="6520741" y="3632026"/>
              <a:ext cx="1295341" cy="21450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5" name="Buet linje 376"/>
            <p:cNvCxnSpPr>
              <a:stCxn id="46" idx="1"/>
              <a:endCxn id="28" idx="3"/>
            </p:cNvCxnSpPr>
            <p:nvPr/>
          </p:nvCxnSpPr>
          <p:spPr>
            <a:xfrm rot="10800000">
              <a:off x="6520741" y="3632027"/>
              <a:ext cx="1295341" cy="567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6" name="Buet linje 377"/>
            <p:cNvCxnSpPr>
              <a:stCxn id="47" idx="1"/>
              <a:endCxn id="28" idx="3"/>
            </p:cNvCxnSpPr>
            <p:nvPr/>
          </p:nvCxnSpPr>
          <p:spPr>
            <a:xfrm rot="10800000">
              <a:off x="6520741" y="3632026"/>
              <a:ext cx="1295341" cy="9213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7" name="Buet linje 378"/>
            <p:cNvCxnSpPr>
              <a:stCxn id="44" idx="1"/>
              <a:endCxn id="28" idx="3"/>
            </p:cNvCxnSpPr>
            <p:nvPr/>
          </p:nvCxnSpPr>
          <p:spPr>
            <a:xfrm rot="10800000" flipV="1">
              <a:off x="6520741" y="3493102"/>
              <a:ext cx="1295341" cy="1389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8" name="Buet linje 379"/>
            <p:cNvCxnSpPr>
              <a:stCxn id="43" idx="1"/>
              <a:endCxn id="28" idx="3"/>
            </p:cNvCxnSpPr>
            <p:nvPr/>
          </p:nvCxnSpPr>
          <p:spPr>
            <a:xfrm rot="10800000" flipV="1">
              <a:off x="6520739" y="2432831"/>
              <a:ext cx="1300951" cy="1199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29" name="Buet linje 380"/>
            <p:cNvCxnSpPr>
              <a:stCxn id="48" idx="1"/>
              <a:endCxn id="28" idx="3"/>
            </p:cNvCxnSpPr>
            <p:nvPr/>
          </p:nvCxnSpPr>
          <p:spPr>
            <a:xfrm rot="10800000">
              <a:off x="6520741" y="3632028"/>
              <a:ext cx="1295341" cy="12747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0" name="Buet linje 381"/>
            <p:cNvCxnSpPr>
              <a:stCxn id="49" idx="1"/>
              <a:endCxn id="28" idx="3"/>
            </p:cNvCxnSpPr>
            <p:nvPr/>
          </p:nvCxnSpPr>
          <p:spPr>
            <a:xfrm rot="10800000">
              <a:off x="6520741" y="3632028"/>
              <a:ext cx="1295341" cy="162819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1" name="Buet linje 382"/>
            <p:cNvCxnSpPr>
              <a:stCxn id="41" idx="1"/>
              <a:endCxn id="28" idx="3"/>
            </p:cNvCxnSpPr>
            <p:nvPr/>
          </p:nvCxnSpPr>
          <p:spPr>
            <a:xfrm rot="10800000" flipV="1">
              <a:off x="6520740" y="3139680"/>
              <a:ext cx="1297013" cy="4923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2" name="Buet linje 383"/>
            <p:cNvCxnSpPr>
              <a:stCxn id="38" idx="1"/>
              <a:endCxn id="28" idx="3"/>
            </p:cNvCxnSpPr>
            <p:nvPr/>
          </p:nvCxnSpPr>
          <p:spPr>
            <a:xfrm rot="10800000" flipV="1">
              <a:off x="6520740" y="2786256"/>
              <a:ext cx="1297013" cy="84577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3" name="Buet linje 384"/>
            <p:cNvCxnSpPr>
              <a:stCxn id="28" idx="1"/>
              <a:endCxn id="192" idx="3"/>
            </p:cNvCxnSpPr>
            <p:nvPr/>
          </p:nvCxnSpPr>
          <p:spPr>
            <a:xfrm rot="10800000" flipV="1">
              <a:off x="9983487" y="3557977"/>
              <a:ext cx="546053" cy="31197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4" name="Buet linje 385"/>
            <p:cNvCxnSpPr>
              <a:stCxn id="27" idx="1"/>
              <a:endCxn id="16" idx="3"/>
            </p:cNvCxnSpPr>
            <p:nvPr/>
          </p:nvCxnSpPr>
          <p:spPr>
            <a:xfrm rot="10800000">
              <a:off x="4678601" y="2497456"/>
              <a:ext cx="907007" cy="1275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35" name="Buet linje 386"/>
            <p:cNvCxnSpPr/>
            <p:nvPr/>
          </p:nvCxnSpPr>
          <p:spPr>
            <a:xfrm rot="16200000" flipV="1">
              <a:off x="8245947" y="1243303"/>
              <a:ext cx="1305111" cy="11364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36" name="TekstSylinder 387"/>
            <p:cNvSpPr txBox="1"/>
            <p:nvPr/>
          </p:nvSpPr>
          <p:spPr>
            <a:xfrm>
              <a:off x="9350191" y="2464096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algn="ctr" defTabSz="685783">
                <a:defRPr/>
              </a:pPr>
              <a:r>
                <a:rPr lang="en-GB" sz="750" kern="0" dirty="0">
                  <a:solidFill>
                    <a:prstClr val="black"/>
                  </a:solidFill>
                  <a:latin typeface="Calibri"/>
                </a:rPr>
                <a:t>No</a:t>
              </a:r>
            </a:p>
          </p:txBody>
        </p:sp>
        <p:cxnSp>
          <p:nvCxnSpPr>
            <p:cNvPr id="137" name="Buet linje 388"/>
            <p:cNvCxnSpPr/>
            <p:nvPr/>
          </p:nvCxnSpPr>
          <p:spPr>
            <a:xfrm rot="5400000" flipH="1" flipV="1">
              <a:off x="8932498" y="3123808"/>
              <a:ext cx="1068485" cy="1035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38" name="Ellipse 389"/>
            <p:cNvSpPr/>
            <p:nvPr/>
          </p:nvSpPr>
          <p:spPr>
            <a:xfrm>
              <a:off x="9246599" y="3658050"/>
              <a:ext cx="440279" cy="44027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OK?</a:t>
              </a:r>
            </a:p>
          </p:txBody>
        </p:sp>
        <p:cxnSp>
          <p:nvCxnSpPr>
            <p:cNvPr id="139" name="Buet linje 390"/>
            <p:cNvCxnSpPr>
              <a:stCxn id="30" idx="1"/>
              <a:endCxn id="22" idx="3"/>
            </p:cNvCxnSpPr>
            <p:nvPr/>
          </p:nvCxnSpPr>
          <p:spPr>
            <a:xfrm rot="10800000">
              <a:off x="4678599" y="1591094"/>
              <a:ext cx="900761" cy="27684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0" name="Buet linje 391"/>
            <p:cNvCxnSpPr>
              <a:stCxn id="30" idx="1"/>
              <a:endCxn id="16" idx="3"/>
            </p:cNvCxnSpPr>
            <p:nvPr/>
          </p:nvCxnSpPr>
          <p:spPr>
            <a:xfrm rot="10800000">
              <a:off x="4678599" y="2497456"/>
              <a:ext cx="900761" cy="18620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1" name="Buet linje 392"/>
            <p:cNvCxnSpPr>
              <a:stCxn id="30" idx="1"/>
              <a:endCxn id="13" idx="3"/>
            </p:cNvCxnSpPr>
            <p:nvPr/>
          </p:nvCxnSpPr>
          <p:spPr>
            <a:xfrm rot="10800000">
              <a:off x="4678599" y="3101697"/>
              <a:ext cx="900761" cy="125781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2" name="Buet linje 393"/>
            <p:cNvCxnSpPr>
              <a:stCxn id="30" idx="1"/>
              <a:endCxn id="24" idx="3"/>
            </p:cNvCxnSpPr>
            <p:nvPr/>
          </p:nvCxnSpPr>
          <p:spPr>
            <a:xfrm rot="10800000">
              <a:off x="4678599" y="3403817"/>
              <a:ext cx="900761" cy="95569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3" name="Buet linje 394"/>
            <p:cNvCxnSpPr>
              <a:stCxn id="30" idx="1"/>
              <a:endCxn id="14" idx="3"/>
            </p:cNvCxnSpPr>
            <p:nvPr/>
          </p:nvCxnSpPr>
          <p:spPr>
            <a:xfrm rot="10800000">
              <a:off x="4678599" y="3705939"/>
              <a:ext cx="900761" cy="65357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4" name="Buet linje 395"/>
            <p:cNvCxnSpPr>
              <a:stCxn id="30" idx="1"/>
              <a:endCxn id="23" idx="3"/>
            </p:cNvCxnSpPr>
            <p:nvPr/>
          </p:nvCxnSpPr>
          <p:spPr>
            <a:xfrm rot="10800000">
              <a:off x="4678599" y="4310180"/>
              <a:ext cx="900761" cy="4933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5" name="Buet linje 396"/>
            <p:cNvCxnSpPr>
              <a:stCxn id="30" idx="1"/>
              <a:endCxn id="65" idx="3"/>
            </p:cNvCxnSpPr>
            <p:nvPr/>
          </p:nvCxnSpPr>
          <p:spPr>
            <a:xfrm rot="10800000" flipV="1">
              <a:off x="4678599" y="4359515"/>
              <a:ext cx="900761" cy="25278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6" name="Buet linje 397"/>
            <p:cNvCxnSpPr>
              <a:stCxn id="30" idx="1"/>
              <a:endCxn id="17" idx="3"/>
            </p:cNvCxnSpPr>
            <p:nvPr/>
          </p:nvCxnSpPr>
          <p:spPr>
            <a:xfrm rot="10800000" flipV="1">
              <a:off x="4678599" y="4359516"/>
              <a:ext cx="900761" cy="55490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7" name="Buet linje 398"/>
            <p:cNvCxnSpPr>
              <a:stCxn id="30" idx="1"/>
              <a:endCxn id="21" idx="3"/>
            </p:cNvCxnSpPr>
            <p:nvPr/>
          </p:nvCxnSpPr>
          <p:spPr>
            <a:xfrm rot="10800000" flipV="1">
              <a:off x="4678599" y="4359516"/>
              <a:ext cx="900761" cy="8570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8" name="Buet linje 399"/>
            <p:cNvCxnSpPr>
              <a:stCxn id="30" idx="1"/>
              <a:endCxn id="18" idx="3"/>
            </p:cNvCxnSpPr>
            <p:nvPr/>
          </p:nvCxnSpPr>
          <p:spPr>
            <a:xfrm rot="10800000" flipV="1">
              <a:off x="4678599" y="4359515"/>
              <a:ext cx="900761" cy="11591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49" name="Buet linje 400"/>
            <p:cNvCxnSpPr>
              <a:stCxn id="30" idx="1"/>
              <a:endCxn id="19" idx="3"/>
            </p:cNvCxnSpPr>
            <p:nvPr/>
          </p:nvCxnSpPr>
          <p:spPr>
            <a:xfrm rot="10800000" flipV="1">
              <a:off x="4678599" y="4359515"/>
              <a:ext cx="900761" cy="14612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0" name="Avrundet rektangel 401"/>
            <p:cNvSpPr/>
            <p:nvPr/>
          </p:nvSpPr>
          <p:spPr>
            <a:xfrm>
              <a:off x="3739337" y="3890651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wind power forecast</a:t>
              </a:r>
            </a:p>
          </p:txBody>
        </p:sp>
        <p:cxnSp>
          <p:nvCxnSpPr>
            <p:cNvPr id="151" name="Buet linje 402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463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2" name="Buet linje 403"/>
            <p:cNvCxnSpPr>
              <a:stCxn id="28" idx="1"/>
            </p:cNvCxnSpPr>
            <p:nvPr/>
          </p:nvCxnSpPr>
          <p:spPr>
            <a:xfrm rot="10800000" flipV="1">
              <a:off x="4678599" y="3632025"/>
              <a:ext cx="902880" cy="37603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3" name="Buet linje 404"/>
            <p:cNvCxnSpPr>
              <a:stCxn id="30" idx="1"/>
            </p:cNvCxnSpPr>
            <p:nvPr/>
          </p:nvCxnSpPr>
          <p:spPr>
            <a:xfrm rot="10800000">
              <a:off x="4678599" y="4008060"/>
              <a:ext cx="900761" cy="3514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4" name="Buet linje 405"/>
            <p:cNvCxnSpPr>
              <a:stCxn id="42" idx="1"/>
              <a:endCxn id="16" idx="3"/>
            </p:cNvCxnSpPr>
            <p:nvPr/>
          </p:nvCxnSpPr>
          <p:spPr>
            <a:xfrm rot="10800000" flipV="1">
              <a:off x="4678599" y="2079409"/>
              <a:ext cx="3127650" cy="41804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7" name="Buet linje 408"/>
            <p:cNvCxnSpPr>
              <a:stCxn id="42" idx="1"/>
            </p:cNvCxnSpPr>
            <p:nvPr/>
          </p:nvCxnSpPr>
          <p:spPr>
            <a:xfrm rot="10800000" flipV="1">
              <a:off x="6522734" y="2079409"/>
              <a:ext cx="1283515" cy="114923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58" name="Buet linje 409"/>
            <p:cNvCxnSpPr>
              <a:stCxn id="43" idx="1"/>
            </p:cNvCxnSpPr>
            <p:nvPr/>
          </p:nvCxnSpPr>
          <p:spPr>
            <a:xfrm rot="10800000" flipV="1">
              <a:off x="6522735" y="2432831"/>
              <a:ext cx="1298958" cy="79581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59" name="Ellipse 414"/>
            <p:cNvSpPr>
              <a:spLocks noChangeAspect="1"/>
            </p:cNvSpPr>
            <p:nvPr/>
          </p:nvSpPr>
          <p:spPr>
            <a:xfrm>
              <a:off x="8317073" y="1152378"/>
              <a:ext cx="13189" cy="1321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0" name="Ellipse 415"/>
            <p:cNvSpPr>
              <a:spLocks noChangeAspect="1"/>
            </p:cNvSpPr>
            <p:nvPr/>
          </p:nvSpPr>
          <p:spPr>
            <a:xfrm>
              <a:off x="1415480" y="1229277"/>
              <a:ext cx="19309" cy="19353"/>
            </a:xfrm>
            <a:prstGeom prst="ellipse">
              <a:avLst/>
            </a:prstGeom>
            <a:solidFill>
              <a:srgbClr val="96C8D6">
                <a:lumMod val="50000"/>
              </a:srgbClr>
            </a:solidFill>
            <a:ln w="254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161" name="Buet linje 416"/>
            <p:cNvCxnSpPr>
              <a:stCxn id="51" idx="1"/>
            </p:cNvCxnSpPr>
            <p:nvPr/>
          </p:nvCxnSpPr>
          <p:spPr>
            <a:xfrm rot="10800000">
              <a:off x="1425135" y="1248632"/>
              <a:ext cx="381112" cy="1029142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2" name="Buet linje 417"/>
            <p:cNvCxnSpPr>
              <a:stCxn id="52" idx="1"/>
            </p:cNvCxnSpPr>
            <p:nvPr/>
          </p:nvCxnSpPr>
          <p:spPr>
            <a:xfrm rot="10800000">
              <a:off x="1425135" y="1248631"/>
              <a:ext cx="381112" cy="131675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3" name="Buet linje 418"/>
            <p:cNvCxnSpPr>
              <a:stCxn id="53" idx="1"/>
            </p:cNvCxnSpPr>
            <p:nvPr/>
          </p:nvCxnSpPr>
          <p:spPr>
            <a:xfrm rot="10800000">
              <a:off x="1425135" y="1248632"/>
              <a:ext cx="381112" cy="1604360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4" name="Buet linje 419"/>
            <p:cNvCxnSpPr>
              <a:stCxn id="54" idx="1"/>
            </p:cNvCxnSpPr>
            <p:nvPr/>
          </p:nvCxnSpPr>
          <p:spPr>
            <a:xfrm rot="10800000">
              <a:off x="1425135" y="1248631"/>
              <a:ext cx="381112" cy="189196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5" name="Buet linje 420"/>
            <p:cNvCxnSpPr>
              <a:stCxn id="55" idx="1"/>
            </p:cNvCxnSpPr>
            <p:nvPr/>
          </p:nvCxnSpPr>
          <p:spPr>
            <a:xfrm rot="10800000">
              <a:off x="1425135" y="1248631"/>
              <a:ext cx="381112" cy="217957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6" name="Buet linje 421"/>
            <p:cNvCxnSpPr>
              <a:stCxn id="59" idx="1"/>
            </p:cNvCxnSpPr>
            <p:nvPr/>
          </p:nvCxnSpPr>
          <p:spPr>
            <a:xfrm rot="10800000">
              <a:off x="1425135" y="1248631"/>
              <a:ext cx="381112" cy="2467186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7" name="Buet linje 422"/>
            <p:cNvCxnSpPr>
              <a:stCxn id="56" idx="1"/>
            </p:cNvCxnSpPr>
            <p:nvPr/>
          </p:nvCxnSpPr>
          <p:spPr>
            <a:xfrm rot="10800000">
              <a:off x="1425135" y="1248630"/>
              <a:ext cx="381112" cy="304240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68" name="Buet linje 423"/>
            <p:cNvCxnSpPr>
              <a:stCxn id="57" idx="1"/>
            </p:cNvCxnSpPr>
            <p:nvPr/>
          </p:nvCxnSpPr>
          <p:spPr>
            <a:xfrm rot="10800000">
              <a:off x="1425135" y="1248632"/>
              <a:ext cx="381112" cy="333001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69" name="Ellipse 424"/>
            <p:cNvSpPr>
              <a:spLocks noChangeAspect="1"/>
            </p:cNvSpPr>
            <p:nvPr/>
          </p:nvSpPr>
          <p:spPr>
            <a:xfrm>
              <a:off x="8333442" y="1547425"/>
              <a:ext cx="15959" cy="15994"/>
            </a:xfrm>
            <a:prstGeom prst="ellipse">
              <a:avLst/>
            </a:prstGeom>
            <a:solidFill>
              <a:srgbClr val="E19E1B">
                <a:lumMod val="60000"/>
                <a:lumOff val="40000"/>
              </a:srgbClr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1" name="Buet linje 426"/>
            <p:cNvCxnSpPr>
              <a:stCxn id="38" idx="1"/>
              <a:endCxn id="30" idx="3"/>
            </p:cNvCxnSpPr>
            <p:nvPr/>
          </p:nvCxnSpPr>
          <p:spPr>
            <a:xfrm rot="10800000" flipV="1">
              <a:off x="6518621" y="2786256"/>
              <a:ext cx="1299131" cy="157326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2" name="Buet linje 427"/>
            <p:cNvCxnSpPr>
              <a:stCxn id="47" idx="1"/>
              <a:endCxn id="30" idx="3"/>
            </p:cNvCxnSpPr>
            <p:nvPr/>
          </p:nvCxnSpPr>
          <p:spPr>
            <a:xfrm rot="10800000">
              <a:off x="6518621" y="4359517"/>
              <a:ext cx="1297461" cy="19385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3" name="Buet linje 428"/>
            <p:cNvCxnSpPr>
              <a:stCxn id="43" idx="1"/>
              <a:endCxn id="30" idx="3"/>
            </p:cNvCxnSpPr>
            <p:nvPr/>
          </p:nvCxnSpPr>
          <p:spPr>
            <a:xfrm rot="10800000" flipV="1">
              <a:off x="6518621" y="2432831"/>
              <a:ext cx="1303070" cy="192668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4" name="Buet linje 429"/>
            <p:cNvCxnSpPr>
              <a:stCxn id="48" idx="1"/>
              <a:endCxn id="30" idx="3"/>
            </p:cNvCxnSpPr>
            <p:nvPr/>
          </p:nvCxnSpPr>
          <p:spPr>
            <a:xfrm rot="10800000">
              <a:off x="6518621" y="4359515"/>
              <a:ext cx="1297461" cy="54728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75" name="Buet linje 430"/>
            <p:cNvCxnSpPr>
              <a:stCxn id="42" idx="1"/>
              <a:endCxn id="30" idx="3"/>
            </p:cNvCxnSpPr>
            <p:nvPr/>
          </p:nvCxnSpPr>
          <p:spPr>
            <a:xfrm rot="10800000" flipV="1">
              <a:off x="6518622" y="2079407"/>
              <a:ext cx="1287628" cy="228010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76" name="Ellipse 431"/>
            <p:cNvSpPr>
              <a:spLocks noChangeAspect="1"/>
            </p:cNvSpPr>
            <p:nvPr/>
          </p:nvSpPr>
          <p:spPr>
            <a:xfrm flipH="1">
              <a:off x="1619577" y="1116377"/>
              <a:ext cx="12082" cy="12108"/>
            </a:xfrm>
            <a:prstGeom prst="ellipse">
              <a:avLst/>
            </a:prstGeom>
            <a:solidFill>
              <a:srgbClr val="7B7A68"/>
            </a:solidFill>
            <a:ln w="25400" cap="flat" cmpd="sng" algn="ctr">
              <a:noFill/>
              <a:prstDash val="solid"/>
              <a:headEnd type="triangl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685783">
                <a:defRPr/>
              </a:pPr>
              <a:endParaRPr lang="en-GB" sz="750" kern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77" name="Buet linje 432"/>
            <p:cNvCxnSpPr/>
            <p:nvPr/>
          </p:nvCxnSpPr>
          <p:spPr>
            <a:xfrm rot="10800000" flipV="1">
              <a:off x="1425137" y="1122430"/>
              <a:ext cx="194441" cy="106847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78" name="Avrundet rektangel 433"/>
            <p:cNvSpPr/>
            <p:nvPr/>
          </p:nvSpPr>
          <p:spPr>
            <a:xfrm>
              <a:off x="3739337" y="2682168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reservoir trajectory</a:t>
              </a:r>
            </a:p>
          </p:txBody>
        </p:sp>
        <p:cxnSp>
          <p:nvCxnSpPr>
            <p:cNvPr id="179" name="Buet linje 434"/>
            <p:cNvCxnSpPr>
              <a:endCxn id="159" idx="6"/>
            </p:cNvCxnSpPr>
            <p:nvPr/>
          </p:nvCxnSpPr>
          <p:spPr>
            <a:xfrm rot="10800000" flipV="1">
              <a:off x="3250393" y="2799576"/>
              <a:ext cx="488946" cy="120385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0" name="Buet linje 435"/>
            <p:cNvCxnSpPr>
              <a:stCxn id="28" idx="1"/>
            </p:cNvCxnSpPr>
            <p:nvPr/>
          </p:nvCxnSpPr>
          <p:spPr>
            <a:xfrm rot="10800000">
              <a:off x="4678599" y="2799578"/>
              <a:ext cx="902880" cy="83245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1" name="Buet linje 436"/>
            <p:cNvCxnSpPr>
              <a:stCxn id="30" idx="1"/>
            </p:cNvCxnSpPr>
            <p:nvPr/>
          </p:nvCxnSpPr>
          <p:spPr>
            <a:xfrm rot="10800000">
              <a:off x="4678599" y="2799577"/>
              <a:ext cx="900761" cy="15599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2" name="Avrundet rektangel 437"/>
            <p:cNvSpPr/>
            <p:nvPr/>
          </p:nvSpPr>
          <p:spPr>
            <a:xfrm>
              <a:off x="10519544" y="4163915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Intraday offers</a:t>
              </a:r>
            </a:p>
          </p:txBody>
        </p:sp>
        <p:cxnSp>
          <p:nvCxnSpPr>
            <p:cNvPr id="183" name="Buet linje 439"/>
            <p:cNvCxnSpPr>
              <a:endCxn id="192" idx="3"/>
            </p:cNvCxnSpPr>
            <p:nvPr/>
          </p:nvCxnSpPr>
          <p:spPr>
            <a:xfrm rot="10800000">
              <a:off x="9983486" y="3869950"/>
              <a:ext cx="543244" cy="5505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4" name="Avrundet rektangel 440"/>
            <p:cNvSpPr/>
            <p:nvPr/>
          </p:nvSpPr>
          <p:spPr>
            <a:xfrm>
              <a:off x="3739337" y="6005496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New market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portunity</a:t>
              </a:r>
            </a:p>
          </p:txBody>
        </p:sp>
        <p:sp>
          <p:nvSpPr>
            <p:cNvPr id="185" name="Avrundet rektangel 441"/>
            <p:cNvSpPr/>
            <p:nvPr/>
          </p:nvSpPr>
          <p:spPr>
            <a:xfrm>
              <a:off x="1806246" y="4748843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rket prices</a:t>
              </a:r>
            </a:p>
          </p:txBody>
        </p:sp>
        <p:cxnSp>
          <p:nvCxnSpPr>
            <p:cNvPr id="186" name="Buet linje 442"/>
            <p:cNvCxnSpPr>
              <a:endCxn id="159" idx="2"/>
            </p:cNvCxnSpPr>
            <p:nvPr/>
          </p:nvCxnSpPr>
          <p:spPr>
            <a:xfrm flipV="1">
              <a:off x="2745509" y="4003429"/>
              <a:ext cx="482251" cy="86282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Buet linje 443"/>
            <p:cNvCxnSpPr>
              <a:endCxn id="159" idx="6"/>
            </p:cNvCxnSpPr>
            <p:nvPr/>
          </p:nvCxnSpPr>
          <p:spPr>
            <a:xfrm rot="10800000">
              <a:off x="3250393" y="4003428"/>
              <a:ext cx="488946" cy="211947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88" name="Buet linje 444"/>
            <p:cNvCxnSpPr>
              <a:stCxn id="30" idx="1"/>
            </p:cNvCxnSpPr>
            <p:nvPr/>
          </p:nvCxnSpPr>
          <p:spPr>
            <a:xfrm rot="10800000" flipV="1">
              <a:off x="4678599" y="4359516"/>
              <a:ext cx="900761" cy="176338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189" name="Avrundet rektangel 445"/>
            <p:cNvSpPr/>
            <p:nvPr/>
          </p:nvSpPr>
          <p:spPr>
            <a:xfrm>
              <a:off x="5601462" y="3694681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Manually</a:t>
              </a:r>
            </a:p>
          </p:txBody>
        </p:sp>
        <p:sp>
          <p:nvSpPr>
            <p:cNvPr id="190" name="Avrundet rektangel 446"/>
            <p:cNvSpPr/>
            <p:nvPr/>
          </p:nvSpPr>
          <p:spPr>
            <a:xfrm>
              <a:off x="6092987" y="3687839"/>
              <a:ext cx="396076" cy="150622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ally</a:t>
              </a:r>
            </a:p>
          </p:txBody>
        </p:sp>
        <p:sp>
          <p:nvSpPr>
            <p:cNvPr id="192" name="TekstSylinder 449"/>
            <p:cNvSpPr txBox="1"/>
            <p:nvPr/>
          </p:nvSpPr>
          <p:spPr>
            <a:xfrm>
              <a:off x="9750387" y="3807214"/>
              <a:ext cx="233099" cy="12547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headEnd type="triangle" w="med" len="med"/>
              <a:tailEnd type="none" w="med" len="med"/>
            </a:ln>
          </p:spPr>
          <p:txBody>
            <a:bodyPr wrap="square" lIns="27000" tIns="0" rIns="0" bIns="0" rtlCol="0">
              <a:spAutoFit/>
            </a:bodyPr>
            <a:lstStyle/>
            <a:p>
              <a:pPr defTabSz="685783">
                <a:defRPr/>
              </a:pPr>
              <a:r>
                <a:rPr lang="en-GB" sz="750" kern="0">
                  <a:solidFill>
                    <a:prstClr val="black"/>
                  </a:solidFill>
                  <a:latin typeface="Calibri"/>
                </a:rPr>
                <a:t>Yes</a:t>
              </a:r>
            </a:p>
          </p:txBody>
        </p:sp>
        <p:sp>
          <p:nvSpPr>
            <p:cNvPr id="193" name="Avrundet rektangel 450"/>
            <p:cNvSpPr/>
            <p:nvPr/>
          </p:nvSpPr>
          <p:spPr>
            <a:xfrm>
              <a:off x="7816081" y="5841975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Sufficient energy/ effect available?</a:t>
              </a:r>
            </a:p>
          </p:txBody>
        </p:sp>
        <p:cxnSp>
          <p:nvCxnSpPr>
            <p:cNvPr id="194" name="Buet linje 451"/>
            <p:cNvCxnSpPr>
              <a:endCxn id="30" idx="3"/>
            </p:cNvCxnSpPr>
            <p:nvPr/>
          </p:nvCxnSpPr>
          <p:spPr>
            <a:xfrm rot="10800000">
              <a:off x="6518621" y="4359515"/>
              <a:ext cx="1297461" cy="1599868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95" name="Buet linje 452"/>
            <p:cNvCxnSpPr/>
            <p:nvPr/>
          </p:nvCxnSpPr>
          <p:spPr>
            <a:xfrm flipV="1">
              <a:off x="8755342" y="3878190"/>
              <a:ext cx="491258" cy="20811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196" name="Avrundet rektangel 453"/>
            <p:cNvSpPr/>
            <p:nvPr/>
          </p:nvSpPr>
          <p:spPr>
            <a:xfrm>
              <a:off x="1806246" y="1585148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Reservoir level</a:t>
              </a:r>
            </a:p>
          </p:txBody>
        </p:sp>
        <p:sp>
          <p:nvSpPr>
            <p:cNvPr id="197" name="Avrundet rektangel 454"/>
            <p:cNvSpPr/>
            <p:nvPr/>
          </p:nvSpPr>
          <p:spPr>
            <a:xfrm>
              <a:off x="1806246" y="1872756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Fuel cost</a:t>
              </a:r>
            </a:p>
          </p:txBody>
        </p:sp>
        <p:cxnSp>
          <p:nvCxnSpPr>
            <p:cNvPr id="198" name="Buet linje 455"/>
            <p:cNvCxnSpPr>
              <a:endCxn id="159" idx="2"/>
            </p:cNvCxnSpPr>
            <p:nvPr/>
          </p:nvCxnSpPr>
          <p:spPr>
            <a:xfrm>
              <a:off x="2745509" y="1990164"/>
              <a:ext cx="482251" cy="201326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99" name="Buet linje 456"/>
            <p:cNvCxnSpPr>
              <a:endCxn id="159" idx="2"/>
            </p:cNvCxnSpPr>
            <p:nvPr/>
          </p:nvCxnSpPr>
          <p:spPr>
            <a:xfrm>
              <a:off x="2745509" y="1702556"/>
              <a:ext cx="482251" cy="23008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0" name="Buet linje 457"/>
            <p:cNvCxnSpPr/>
            <p:nvPr/>
          </p:nvCxnSpPr>
          <p:spPr>
            <a:xfrm rot="10800000">
              <a:off x="1418309" y="1245798"/>
              <a:ext cx="387940" cy="456759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1" name="Buet linje 458"/>
            <p:cNvCxnSpPr/>
            <p:nvPr/>
          </p:nvCxnSpPr>
          <p:spPr>
            <a:xfrm rot="10800000">
              <a:off x="1425135" y="1248630"/>
              <a:ext cx="381112" cy="741533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2" name="Avrundet rektangel 459"/>
            <p:cNvSpPr/>
            <p:nvPr/>
          </p:nvSpPr>
          <p:spPr>
            <a:xfrm>
              <a:off x="7816081" y="5492394"/>
              <a:ext cx="939261" cy="234815"/>
            </a:xfrm>
            <a:prstGeom prst="roundRect">
              <a:avLst/>
            </a:prstGeom>
            <a:solidFill>
              <a:srgbClr val="E25F45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Reservoir </a:t>
              </a:r>
            </a:p>
            <a:p>
              <a:pPr algn="ctr" defTabSz="685783">
                <a:defRPr/>
              </a:pPr>
              <a:r>
                <a:rPr lang="en-GB" sz="750" kern="0">
                  <a:solidFill>
                    <a:prstClr val="white"/>
                  </a:solidFill>
                  <a:latin typeface="Calibri"/>
                </a:rPr>
                <a:t>trajectory OK?</a:t>
              </a:r>
            </a:p>
          </p:txBody>
        </p:sp>
        <p:cxnSp>
          <p:nvCxnSpPr>
            <p:cNvPr id="203" name="Buet linje 460"/>
            <p:cNvCxnSpPr>
              <a:endCxn id="28" idx="3"/>
            </p:cNvCxnSpPr>
            <p:nvPr/>
          </p:nvCxnSpPr>
          <p:spPr>
            <a:xfrm rot="10800000">
              <a:off x="6520741" y="3632028"/>
              <a:ext cx="1295341" cy="197777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4" name="Buet linje 461"/>
            <p:cNvCxnSpPr/>
            <p:nvPr/>
          </p:nvCxnSpPr>
          <p:spPr>
            <a:xfrm rot="10800000" flipV="1">
              <a:off x="8755342" y="3878190"/>
              <a:ext cx="491258" cy="17316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05" name="Avrundet rektangel 462"/>
            <p:cNvSpPr/>
            <p:nvPr/>
          </p:nvSpPr>
          <p:spPr>
            <a:xfrm>
              <a:off x="1806246" y="3886017"/>
              <a:ext cx="939261" cy="234815"/>
            </a:xfrm>
            <a:prstGeom prst="roundRect">
              <a:avLst/>
            </a:prstGeom>
            <a:solidFill>
              <a:srgbClr val="96C8D6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vailable flexibility</a:t>
              </a:r>
            </a:p>
          </p:txBody>
        </p:sp>
        <p:sp>
          <p:nvSpPr>
            <p:cNvPr id="206" name="Avrundet rektangel 463"/>
            <p:cNvSpPr/>
            <p:nvPr/>
          </p:nvSpPr>
          <p:spPr>
            <a:xfrm>
              <a:off x="3733727" y="2077927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available flexibility</a:t>
              </a:r>
            </a:p>
          </p:txBody>
        </p:sp>
        <p:cxnSp>
          <p:nvCxnSpPr>
            <p:cNvPr id="207" name="Buet linje 464"/>
            <p:cNvCxnSpPr/>
            <p:nvPr/>
          </p:nvCxnSpPr>
          <p:spPr>
            <a:xfrm rot="10800000">
              <a:off x="1418309" y="1245798"/>
              <a:ext cx="387940" cy="2757628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8" name="Buet linje 465"/>
            <p:cNvCxnSpPr>
              <a:endCxn id="159" idx="2"/>
            </p:cNvCxnSpPr>
            <p:nvPr/>
          </p:nvCxnSpPr>
          <p:spPr>
            <a:xfrm>
              <a:off x="2745509" y="4003426"/>
              <a:ext cx="482251" cy="3"/>
            </a:xfrm>
            <a:prstGeom prst="curvedConnector3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Buet linje 466"/>
            <p:cNvCxnSpPr>
              <a:endCxn id="159" idx="6"/>
            </p:cNvCxnSpPr>
            <p:nvPr/>
          </p:nvCxnSpPr>
          <p:spPr>
            <a:xfrm rot="10800000" flipV="1">
              <a:off x="3250393" y="2195335"/>
              <a:ext cx="483336" cy="18080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0" name="Buet linje 467"/>
            <p:cNvCxnSpPr>
              <a:stCxn id="30" idx="1"/>
            </p:cNvCxnSpPr>
            <p:nvPr/>
          </p:nvCxnSpPr>
          <p:spPr>
            <a:xfrm rot="10800000">
              <a:off x="4672988" y="2195334"/>
              <a:ext cx="906373" cy="2164181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1" name="Buet linje 468"/>
            <p:cNvCxnSpPr>
              <a:stCxn id="28" idx="1"/>
            </p:cNvCxnSpPr>
            <p:nvPr/>
          </p:nvCxnSpPr>
          <p:spPr>
            <a:xfrm rot="10800000">
              <a:off x="4672989" y="2195337"/>
              <a:ext cx="908491" cy="143669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2" name="Buet linje 469"/>
            <p:cNvCxnSpPr>
              <a:stCxn id="42" idx="1"/>
            </p:cNvCxnSpPr>
            <p:nvPr/>
          </p:nvCxnSpPr>
          <p:spPr>
            <a:xfrm rot="10800000" flipV="1">
              <a:off x="4672989" y="2079407"/>
              <a:ext cx="3133261" cy="11592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3" name="Buet linje 470"/>
            <p:cNvCxnSpPr>
              <a:stCxn id="43" idx="1"/>
            </p:cNvCxnSpPr>
            <p:nvPr/>
          </p:nvCxnSpPr>
          <p:spPr>
            <a:xfrm rot="10800000">
              <a:off x="4672990" y="2195337"/>
              <a:ext cx="3148704" cy="2374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75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14" name="Avrundet rektangel 471"/>
            <p:cNvSpPr/>
            <p:nvPr/>
          </p:nvSpPr>
          <p:spPr>
            <a:xfrm>
              <a:off x="3739336" y="1775805"/>
              <a:ext cx="939261" cy="234815"/>
            </a:xfrm>
            <a:prstGeom prst="roundRect">
              <a:avLst/>
            </a:prstGeom>
            <a:solidFill>
              <a:srgbClr val="FF9E1B"/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Changed fuel cost</a:t>
              </a:r>
            </a:p>
          </p:txBody>
        </p:sp>
        <p:cxnSp>
          <p:nvCxnSpPr>
            <p:cNvPr id="215" name="Buet linje 472"/>
            <p:cNvCxnSpPr>
              <a:endCxn id="159" idx="6"/>
            </p:cNvCxnSpPr>
            <p:nvPr/>
          </p:nvCxnSpPr>
          <p:spPr>
            <a:xfrm rot="10800000" flipV="1">
              <a:off x="3250391" y="1893214"/>
              <a:ext cx="488946" cy="211021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6" name="Buet linje 473"/>
            <p:cNvCxnSpPr>
              <a:stCxn id="28" idx="1"/>
            </p:cNvCxnSpPr>
            <p:nvPr/>
          </p:nvCxnSpPr>
          <p:spPr>
            <a:xfrm rot="10800000">
              <a:off x="4678597" y="1893216"/>
              <a:ext cx="902881" cy="173881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7" name="Buet linje 474"/>
            <p:cNvCxnSpPr>
              <a:stCxn id="30" idx="1"/>
            </p:cNvCxnSpPr>
            <p:nvPr/>
          </p:nvCxnSpPr>
          <p:spPr>
            <a:xfrm rot="10800000">
              <a:off x="4678598" y="1893214"/>
              <a:ext cx="900762" cy="24663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8" name="Buet linje 475"/>
            <p:cNvCxnSpPr>
              <a:stCxn id="42" idx="1"/>
            </p:cNvCxnSpPr>
            <p:nvPr/>
          </p:nvCxnSpPr>
          <p:spPr>
            <a:xfrm rot="10800000">
              <a:off x="4678597" y="1893214"/>
              <a:ext cx="3127651" cy="18619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19" name="Buet linje 476"/>
            <p:cNvCxnSpPr>
              <a:stCxn id="43" idx="1"/>
            </p:cNvCxnSpPr>
            <p:nvPr/>
          </p:nvCxnSpPr>
          <p:spPr>
            <a:xfrm rot="10800000">
              <a:off x="4678597" y="1893216"/>
              <a:ext cx="3143093" cy="53961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40000"/>
                  <a:lumOff val="6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0" name="Buet linje 477"/>
            <p:cNvCxnSpPr>
              <a:stCxn id="43" idx="1"/>
              <a:endCxn id="16" idx="3"/>
            </p:cNvCxnSpPr>
            <p:nvPr/>
          </p:nvCxnSpPr>
          <p:spPr>
            <a:xfrm rot="10800000" flipV="1">
              <a:off x="4678601" y="2432831"/>
              <a:ext cx="3143092" cy="6462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1" name="Buet linje 478"/>
            <p:cNvCxnSpPr>
              <a:stCxn id="43" idx="1"/>
              <a:endCxn id="22" idx="3"/>
            </p:cNvCxnSpPr>
            <p:nvPr/>
          </p:nvCxnSpPr>
          <p:spPr>
            <a:xfrm rot="10800000">
              <a:off x="4678601" y="1591095"/>
              <a:ext cx="3143092" cy="84173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>
                  <a:lumMod val="20000"/>
                  <a:lumOff val="8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2" name="Buet linje 479"/>
            <p:cNvCxnSpPr>
              <a:stCxn id="43" idx="1"/>
              <a:endCxn id="20" idx="3"/>
            </p:cNvCxnSpPr>
            <p:nvPr/>
          </p:nvCxnSpPr>
          <p:spPr>
            <a:xfrm rot="10800000">
              <a:off x="4678601" y="1288974"/>
              <a:ext cx="3143092" cy="114385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223" name="Avrundet rektangel 482"/>
            <p:cNvSpPr/>
            <p:nvPr/>
          </p:nvSpPr>
          <p:spPr>
            <a:xfrm>
              <a:off x="6187050" y="3906220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ptimise</a:t>
              </a:r>
            </a:p>
          </p:txBody>
        </p:sp>
        <p:sp>
          <p:nvSpPr>
            <p:cNvPr id="224" name="Avrundet rektangel 483"/>
            <p:cNvSpPr/>
            <p:nvPr/>
          </p:nvSpPr>
          <p:spPr>
            <a:xfrm>
              <a:off x="6175704" y="4626781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Place/take offer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on Intraday</a:t>
              </a:r>
            </a:p>
          </p:txBody>
        </p:sp>
        <p:cxnSp>
          <p:nvCxnSpPr>
            <p:cNvPr id="225" name="Buet linje 484"/>
            <p:cNvCxnSpPr>
              <a:stCxn id="42" idx="1"/>
            </p:cNvCxnSpPr>
            <p:nvPr/>
          </p:nvCxnSpPr>
          <p:spPr>
            <a:xfrm rot="10800000" flipV="1">
              <a:off x="7126312" y="2079407"/>
              <a:ext cx="679938" cy="194422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6" name="Buet linje 485"/>
            <p:cNvCxnSpPr>
              <a:stCxn id="43" idx="1"/>
            </p:cNvCxnSpPr>
            <p:nvPr/>
          </p:nvCxnSpPr>
          <p:spPr>
            <a:xfrm rot="10800000" flipV="1">
              <a:off x="7126313" y="2432830"/>
              <a:ext cx="695380" cy="1590797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7" name="Buet linje 486"/>
            <p:cNvCxnSpPr>
              <a:stCxn id="38" idx="1"/>
            </p:cNvCxnSpPr>
            <p:nvPr/>
          </p:nvCxnSpPr>
          <p:spPr>
            <a:xfrm rot="10800000" flipV="1">
              <a:off x="7126310" y="2786256"/>
              <a:ext cx="691442" cy="123737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8" name="Buet linje 487"/>
            <p:cNvCxnSpPr>
              <a:stCxn id="41" idx="1"/>
            </p:cNvCxnSpPr>
            <p:nvPr/>
          </p:nvCxnSpPr>
          <p:spPr>
            <a:xfrm rot="10800000" flipV="1">
              <a:off x="7126310" y="3139679"/>
              <a:ext cx="691442" cy="883949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29" name="Buet linje 488"/>
            <p:cNvCxnSpPr>
              <a:stCxn id="44" idx="1"/>
            </p:cNvCxnSpPr>
            <p:nvPr/>
          </p:nvCxnSpPr>
          <p:spPr>
            <a:xfrm rot="10800000" flipV="1">
              <a:off x="7126311" y="3493104"/>
              <a:ext cx="689770" cy="53052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0" name="Buet linje 489"/>
            <p:cNvCxnSpPr>
              <a:stCxn id="45" idx="1"/>
            </p:cNvCxnSpPr>
            <p:nvPr/>
          </p:nvCxnSpPr>
          <p:spPr>
            <a:xfrm rot="10800000" flipV="1">
              <a:off x="7126311" y="3846527"/>
              <a:ext cx="689770" cy="1771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1" name="Buet linje 490"/>
            <p:cNvCxnSpPr>
              <a:stCxn id="46" idx="1"/>
            </p:cNvCxnSpPr>
            <p:nvPr/>
          </p:nvCxnSpPr>
          <p:spPr>
            <a:xfrm rot="10800000">
              <a:off x="7126311" y="4023628"/>
              <a:ext cx="689770" cy="17632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2" name="Buet linje 491"/>
            <p:cNvCxnSpPr>
              <a:stCxn id="47" idx="1"/>
            </p:cNvCxnSpPr>
            <p:nvPr/>
          </p:nvCxnSpPr>
          <p:spPr>
            <a:xfrm rot="10800000">
              <a:off x="7126311" y="4023628"/>
              <a:ext cx="689770" cy="52974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3" name="Buet linje 492"/>
            <p:cNvCxnSpPr>
              <a:stCxn id="48" idx="1"/>
            </p:cNvCxnSpPr>
            <p:nvPr/>
          </p:nvCxnSpPr>
          <p:spPr>
            <a:xfrm rot="10800000">
              <a:off x="7126311" y="4023629"/>
              <a:ext cx="689770" cy="883170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4" name="Buet linje 493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5" name="Buet linje 494"/>
            <p:cNvCxnSpPr>
              <a:stCxn id="49" idx="1"/>
            </p:cNvCxnSpPr>
            <p:nvPr/>
          </p:nvCxnSpPr>
          <p:spPr>
            <a:xfrm rot="10800000">
              <a:off x="7126311" y="4023629"/>
              <a:ext cx="689770" cy="1236593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6" name="Buet linje 495"/>
            <p:cNvCxnSpPr/>
            <p:nvPr/>
          </p:nvCxnSpPr>
          <p:spPr>
            <a:xfrm rot="10800000">
              <a:off x="7126311" y="4023629"/>
              <a:ext cx="689770" cy="1586175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7" name="Buet linje 496"/>
            <p:cNvCxnSpPr/>
            <p:nvPr/>
          </p:nvCxnSpPr>
          <p:spPr>
            <a:xfrm rot="10800000">
              <a:off x="7126311" y="4023629"/>
              <a:ext cx="689770" cy="1935756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538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8" name="Buet linje 497"/>
            <p:cNvCxnSpPr>
              <a:endCxn id="30" idx="3"/>
            </p:cNvCxnSpPr>
            <p:nvPr/>
          </p:nvCxnSpPr>
          <p:spPr>
            <a:xfrm rot="5400000">
              <a:off x="6478411" y="4181245"/>
              <a:ext cx="218480" cy="138060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39" name="Buet linje 498"/>
            <p:cNvCxnSpPr>
              <a:cxnSpLocks/>
              <a:endCxn id="28" idx="3"/>
            </p:cNvCxnSpPr>
            <p:nvPr/>
          </p:nvCxnSpPr>
          <p:spPr>
            <a:xfrm rot="16200000" flipV="1">
              <a:off x="6451614" y="3701152"/>
              <a:ext cx="274195" cy="135941"/>
            </a:xfrm>
            <a:prstGeom prst="curvedConnector2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0" name="Rett pil 500"/>
            <p:cNvCxnSpPr>
              <a:endCxn id="28" idx="0"/>
            </p:cNvCxnSpPr>
            <p:nvPr/>
          </p:nvCxnSpPr>
          <p:spPr>
            <a:xfrm flipH="1">
              <a:off x="6051110" y="3346053"/>
              <a:ext cx="1995" cy="168567"/>
            </a:xfrm>
            <a:prstGeom prst="straightConnector1">
              <a:avLst/>
            </a:prstGeom>
            <a:noFill/>
            <a:ln w="12700" cap="flat" cmpd="sng" algn="ctr">
              <a:solidFill>
                <a:srgbClr val="FF9E1B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241" name="Buet linje 501"/>
            <p:cNvCxnSpPr>
              <a:endCxn id="30" idx="2"/>
            </p:cNvCxnSpPr>
            <p:nvPr/>
          </p:nvCxnSpPr>
          <p:spPr>
            <a:xfrm rot="10800000">
              <a:off x="6048991" y="4476923"/>
              <a:ext cx="126714" cy="267265"/>
            </a:xfrm>
            <a:prstGeom prst="curvedConnector2">
              <a:avLst/>
            </a:prstGeom>
            <a:noFill/>
            <a:ln w="12700" cap="flat" cmpd="sng" algn="ctr">
              <a:solidFill>
                <a:srgbClr val="E25F45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42" name="Rett linje 504"/>
            <p:cNvCxnSpPr/>
            <p:nvPr/>
          </p:nvCxnSpPr>
          <p:spPr>
            <a:xfrm flipH="1" flipV="1">
              <a:off x="1631658" y="1122431"/>
              <a:ext cx="6685416" cy="36555"/>
            </a:xfrm>
            <a:prstGeom prst="line">
              <a:avLst/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247" name="Avrundet rektangel 279"/>
            <p:cNvSpPr/>
            <p:nvPr/>
          </p:nvSpPr>
          <p:spPr>
            <a:xfrm>
              <a:off x="10529539" y="3811797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FRR bid</a:t>
              </a:r>
            </a:p>
          </p:txBody>
        </p:sp>
        <p:cxnSp>
          <p:nvCxnSpPr>
            <p:cNvPr id="248" name="Buet linje 384"/>
            <p:cNvCxnSpPr>
              <a:stCxn id="182" idx="1"/>
              <a:endCxn id="192" idx="3"/>
            </p:cNvCxnSpPr>
            <p:nvPr/>
          </p:nvCxnSpPr>
          <p:spPr>
            <a:xfrm rot="10800000">
              <a:off x="9983486" y="3869949"/>
              <a:ext cx="536058" cy="411374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322" name="Avrundet rektangel 437"/>
            <p:cNvSpPr/>
            <p:nvPr/>
          </p:nvSpPr>
          <p:spPr>
            <a:xfrm>
              <a:off x="10529539" y="3114539"/>
              <a:ext cx="939261" cy="234815"/>
            </a:xfrm>
            <a:prstGeom prst="roundRect">
              <a:avLst/>
            </a:prstGeom>
            <a:solidFill>
              <a:srgbClr val="96C8D6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Updat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TERRE offers</a:t>
              </a:r>
            </a:p>
          </p:txBody>
        </p:sp>
        <p:cxnSp>
          <p:nvCxnSpPr>
            <p:cNvPr id="323" name="Buet linje 384"/>
            <p:cNvCxnSpPr>
              <a:stCxn id="322" idx="1"/>
              <a:endCxn id="192" idx="3"/>
            </p:cNvCxnSpPr>
            <p:nvPr/>
          </p:nvCxnSpPr>
          <p:spPr>
            <a:xfrm rot="10800000" flipV="1">
              <a:off x="9983487" y="3231947"/>
              <a:ext cx="546053" cy="638002"/>
            </a:xfrm>
            <a:prstGeom prst="curved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96C8D6">
                  <a:lumMod val="50000"/>
                </a:srgbClr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sp>
        <p:nvSpPr>
          <p:cNvPr id="3" name="Rounded Rectangle 2"/>
          <p:cNvSpPr/>
          <p:nvPr/>
        </p:nvSpPr>
        <p:spPr>
          <a:xfrm>
            <a:off x="9590402" y="2694632"/>
            <a:ext cx="1719270" cy="2330189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2</a:t>
            </a:fld>
            <a:endParaRPr lang="en-GB" dirty="0"/>
          </a:p>
        </p:txBody>
      </p:sp>
      <p:pic>
        <p:nvPicPr>
          <p:cNvPr id="244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45" name="Title 1"/>
          <p:cNvSpPr txBox="1">
            <a:spLocks/>
          </p:cNvSpPr>
          <p:nvPr/>
        </p:nvSpPr>
        <p:spPr>
          <a:xfrm>
            <a:off x="8726412" y="5301208"/>
            <a:ext cx="2842196" cy="5948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b="1" dirty="0" smtClean="0"/>
              <a:t>INTRADA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992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1"/>
            <a:ext cx="7632848" cy="1080000"/>
          </a:xfrm>
        </p:spPr>
        <p:txBody>
          <a:bodyPr/>
          <a:lstStyle/>
          <a:p>
            <a:r>
              <a:rPr lang="en-US" b="1" dirty="0" smtClean="0"/>
              <a:t>ADJUST TO NEW SITUATION </a:t>
            </a:r>
            <a:br>
              <a:rPr lang="en-US" b="1" dirty="0" smtClean="0"/>
            </a:br>
            <a:r>
              <a:rPr lang="en-US" b="1" dirty="0" smtClean="0"/>
              <a:t>FAST:-</a:t>
            </a:r>
            <a:endParaRPr lang="en-US" b="1" dirty="0"/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>
          <a:xfrm>
            <a:off x="551384" y="1927861"/>
            <a:ext cx="4320480" cy="4249102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/>
              <a:t>New </a:t>
            </a:r>
            <a:r>
              <a:rPr lang="en-US" sz="1600" b="1" dirty="0"/>
              <a:t>Markets</a:t>
            </a:r>
            <a:r>
              <a:rPr lang="en-US" sz="1600" dirty="0"/>
              <a:t> or new Regimes require new solutions</a:t>
            </a:r>
            <a:endParaRPr lang="en-US" sz="1600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6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sym typeface="Wingdings" panose="05000000000000000000" pitchFamily="2" charset="2"/>
              </a:rPr>
              <a:t>New data needs to be collected </a:t>
            </a:r>
            <a:endParaRPr lang="en-US" sz="16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600" b="1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sym typeface="Wingdings" panose="05000000000000000000" pitchFamily="2" charset="2"/>
              </a:rPr>
              <a:t>Rapid analysis </a:t>
            </a:r>
            <a:r>
              <a:rPr lang="en-US" sz="1600" dirty="0">
                <a:sym typeface="Wingdings" panose="05000000000000000000" pitchFamily="2" charset="2"/>
              </a:rPr>
              <a:t>is </a:t>
            </a:r>
            <a:r>
              <a:rPr lang="en-US" sz="1600" b="1" dirty="0">
                <a:sym typeface="Wingdings" panose="05000000000000000000" pitchFamily="2" charset="2"/>
              </a:rPr>
              <a:t>required</a:t>
            </a:r>
            <a:r>
              <a:rPr lang="en-US" sz="1600" dirty="0">
                <a:sym typeface="Wingdings" panose="05000000000000000000" pitchFamily="2" charset="2"/>
              </a:rPr>
              <a:t> to capitalize new dynamic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6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sym typeface="Wingdings" panose="05000000000000000000" pitchFamily="2" charset="2"/>
              </a:rPr>
              <a:t>Sustainable </a:t>
            </a:r>
            <a:r>
              <a:rPr lang="en-US" sz="1600" dirty="0">
                <a:sym typeface="Wingdings" panose="05000000000000000000" pitchFamily="2" charset="2"/>
              </a:rPr>
              <a:t>prototyping for </a:t>
            </a:r>
            <a:r>
              <a:rPr lang="en-US" sz="1600" b="1" dirty="0">
                <a:sym typeface="Wingdings" panose="05000000000000000000" pitchFamily="2" charset="2"/>
              </a:rPr>
              <a:t>small </a:t>
            </a:r>
            <a:r>
              <a:rPr lang="en-US" sz="1600" dirty="0">
                <a:sym typeface="Wingdings" panose="05000000000000000000" pitchFamily="2" charset="2"/>
              </a:rPr>
              <a:t>team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zure Bootcamp Switzerland, Arindam Mitra &amp; Adrian Senn</a:t>
            </a:r>
            <a:endParaRPr lang="de-CH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2478" y="1972785"/>
            <a:ext cx="6364122" cy="3472439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3</a:t>
            </a:fld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87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MODELS |</a:t>
            </a:r>
            <a:br>
              <a:rPr lang="en-US" b="1" dirty="0" smtClean="0"/>
            </a:br>
            <a:r>
              <a:rPr lang="en-US" b="1" dirty="0" smtClean="0"/>
              <a:t>FACTS </a:t>
            </a:r>
            <a:r>
              <a:rPr lang="en-US" b="1" dirty="0" smtClean="0"/>
              <a:t>&amp; </a:t>
            </a:r>
            <a:r>
              <a:rPr lang="en-US" b="1" dirty="0" smtClean="0"/>
              <a:t>FIGURES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199456" y="1993483"/>
            <a:ext cx="208823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ma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ind &amp; PV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balan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 capac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erve au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ot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s dema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4" name="Picture 163"/>
          <p:cNvPicPr>
            <a:picLocks noChangeAspect="1"/>
          </p:cNvPicPr>
          <p:nvPr/>
        </p:nvPicPr>
        <p:blipFill rotWithShape="1">
          <a:blip r:embed="rId2"/>
          <a:srcRect r="31946"/>
          <a:stretch/>
        </p:blipFill>
        <p:spPr>
          <a:xfrm>
            <a:off x="7426323" y="531341"/>
            <a:ext cx="4651104" cy="5976664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1213556" y="3858968"/>
            <a:ext cx="128204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 Mode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ghtGB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ule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N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N-Beats 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23392" y="1629961"/>
            <a:ext cx="54031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~15 model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ecommendations and/or Tradeable action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4007768" y="3212976"/>
            <a:ext cx="3010265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veral sources per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ecasts, metering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ized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tensive feature engineering (Time-series focu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4004600" y="1991742"/>
            <a:ext cx="2088232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-1 &amp; ID spo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lanc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-Bor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D Gas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766301" y="4783805"/>
            <a:ext cx="43893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rther asp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date Master every night (~ 3 Mio row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rain daily &amp; predict hour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st-processing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optimization) 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-Serving: files, PowerB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r>
              <a:rPr kumimoji="0" lang="de-CH" sz="14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d</a:t>
            </a: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rder benefi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240" y="397648"/>
            <a:ext cx="1286209" cy="8103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4</a:t>
            </a:fld>
            <a:endParaRPr lang="en-GB" dirty="0"/>
          </a:p>
        </p:txBody>
      </p:sp>
      <p:pic>
        <p:nvPicPr>
          <p:cNvPr id="14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342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2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ZURE ARCHITECTURE:-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5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1365082"/>
            <a:ext cx="10434095" cy="4872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69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DEVOPS IN ADVANCE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ANALYTICS</a:t>
            </a:r>
            <a:r>
              <a:rPr lang="en-US" b="1" dirty="0" smtClean="0">
                <a:solidFill>
                  <a:srgbClr val="3D3D3D"/>
                </a:solidFill>
              </a:rPr>
              <a:t>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Infrastructure – Terraform and Azure Devops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Containers – Azure Kubernetes Service (AKS), Azure Container Registry (ACR) and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 – Azure Data Factory (ADF) and Azure Synaps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Database – Dac</a:t>
            </a:r>
            <a:r>
              <a:rPr lang="de-CH" sz="1600" dirty="0" smtClean="0"/>
              <a:t>pac and/or SQLCMD with Azure Devop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 smtClean="0"/>
              <a:t>Machine Learning – Kedro </a:t>
            </a: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6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624" y="1916113"/>
            <a:ext cx="599521" cy="6415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7808" y="1916113"/>
            <a:ext cx="696623" cy="6866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71664" y="2787511"/>
            <a:ext cx="688281" cy="62784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0056" y="2778127"/>
            <a:ext cx="831218" cy="6803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9316" y="3634531"/>
            <a:ext cx="650592" cy="5865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7268" y="3623757"/>
            <a:ext cx="584843" cy="59733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03789" y="4221088"/>
            <a:ext cx="1766547" cy="79208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77641" y="5257344"/>
            <a:ext cx="1272655" cy="706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64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PIPELINE TEMPLATES</a:t>
            </a:r>
            <a:r>
              <a:rPr lang="en-US" b="1" dirty="0" smtClean="0">
                <a:solidFill>
                  <a:srgbClr val="3D3D3D"/>
                </a:solidFill>
              </a:rPr>
              <a:t>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7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62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MULTIPLE ENVIRONMEN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dirty="0"/>
              <a:t>Replace </a:t>
            </a:r>
            <a:r>
              <a:rPr lang="de-CH" sz="1600" dirty="0" smtClean="0"/>
              <a:t>Token:-</a:t>
            </a:r>
          </a:p>
          <a:p>
            <a:endParaRPr lang="de-CH" sz="1600" dirty="0" smtClean="0"/>
          </a:p>
          <a:p>
            <a:pPr marL="646113" lvl="2" indent="-285750">
              <a:buFont typeface="Wingdings" panose="05000000000000000000" pitchFamily="2" charset="2"/>
              <a:buChar char="ü"/>
            </a:pPr>
            <a:r>
              <a:rPr lang="de-CH" sz="1600" dirty="0" smtClean="0">
                <a:hlinkClick r:id="rId2"/>
              </a:rPr>
              <a:t>https</a:t>
            </a:r>
            <a:r>
              <a:rPr lang="de-CH" sz="1600" dirty="0">
                <a:hlinkClick r:id="rId2"/>
              </a:rPr>
              <a:t>://</a:t>
            </a:r>
            <a:r>
              <a:rPr lang="de-CH" sz="1600" dirty="0" smtClean="0">
                <a:hlinkClick r:id="rId2"/>
              </a:rPr>
              <a:t>marketplace.visualstudio.com/items?itemName=qetza.replacetokens</a:t>
            </a:r>
            <a:r>
              <a:rPr lang="de-CH" sz="1600" dirty="0" smtClean="0"/>
              <a:t> </a:t>
            </a:r>
          </a:p>
          <a:p>
            <a:pPr marL="646113" lvl="2" indent="-285750">
              <a:buFont typeface="Wingdings" panose="05000000000000000000" pitchFamily="2" charset="2"/>
              <a:buChar char="ü"/>
            </a:pPr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8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4983" y="2710036"/>
            <a:ext cx="6753225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0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384" y="531340"/>
            <a:ext cx="8496944" cy="1457499"/>
          </a:xfrm>
        </p:spPr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DEVOPS SSH WITH TF MODULES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2193551"/>
            <a:ext cx="11089232" cy="2963641"/>
          </a:xfrm>
        </p:spPr>
        <p:txBody>
          <a:bodyPr/>
          <a:lstStyle/>
          <a:p>
            <a:pPr marL="646113" lvl="2" indent="-285750">
              <a:buFont typeface="Wingdings" panose="05000000000000000000" pitchFamily="2" charset="2"/>
              <a:buChar char="ü"/>
            </a:pPr>
            <a:endParaRPr lang="de-CH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19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06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ESSION ABSTRACT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401463"/>
            <a:ext cx="11089232" cy="2963641"/>
          </a:xfrm>
        </p:spPr>
        <p:txBody>
          <a:bodyPr/>
          <a:lstStyle/>
          <a:p>
            <a:endParaRPr lang="de-CH" sz="1600" dirty="0"/>
          </a:p>
          <a:p>
            <a:r>
              <a:rPr lang="en-US" sz="1600" dirty="0"/>
              <a:t>In this session, we would like to share with you, our insights of running Data Science and Machine Learning use cases on Azure Analytics Platform within the business area of Trading &amp; Sales at Axpo. As those use cases are running 24/7, we are striving to write robust and production-ready code, allowing us to react fast and meaningful, based on the most recent market </a:t>
            </a:r>
            <a:r>
              <a:rPr lang="en-US" sz="1600" dirty="0" smtClean="0"/>
              <a:t>changes.</a:t>
            </a:r>
          </a:p>
          <a:p>
            <a:endParaRPr lang="en-US" sz="1600" dirty="0"/>
          </a:p>
          <a:p>
            <a:r>
              <a:rPr lang="en-US" sz="1600" dirty="0" smtClean="0"/>
              <a:t>Hence</a:t>
            </a:r>
            <a:r>
              <a:rPr lang="en-US" sz="1600" dirty="0"/>
              <a:t>, we are relying heavily on Azure DevOps CI/CD for managing our codebase and deployment pipelines. Together with Cloud Platform Team, we have built a comprehensive set of automated DevOps processes, helping us to reduce the time to market of new ideas and scaling DevOps best practices with the entire </a:t>
            </a:r>
            <a:r>
              <a:rPr lang="en-US" sz="1600" dirty="0" smtClean="0"/>
              <a:t>organization.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422" r="10512" b="68622"/>
          <a:stretch/>
        </p:blipFill>
        <p:spPr>
          <a:xfrm>
            <a:off x="4223792" y="4293096"/>
            <a:ext cx="6408712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06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HOW WE ONBOARD </a:t>
            </a:r>
            <a:br>
              <a:rPr lang="en-US" b="1" dirty="0" smtClean="0">
                <a:solidFill>
                  <a:srgbClr val="3D3D3D"/>
                </a:solidFill>
              </a:rPr>
            </a:br>
            <a:r>
              <a:rPr lang="en-US" b="1" dirty="0" smtClean="0">
                <a:solidFill>
                  <a:srgbClr val="3D3D3D"/>
                </a:solidFill>
              </a:rPr>
              <a:t>USE CASE:-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384" y="1700808"/>
            <a:ext cx="11089232" cy="296364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de-CH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0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3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smtClean="0"/>
              <a:t>DEMO WORKFLOW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21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468338"/>
            <a:ext cx="10782300" cy="4552950"/>
          </a:xfrm>
          <a:prstGeom prst="rect">
            <a:avLst/>
          </a:prstGeom>
        </p:spPr>
      </p:pic>
      <p:pic>
        <p:nvPicPr>
          <p:cNvPr id="9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24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GRATITUDE:- </a:t>
            </a:r>
            <a:endParaRPr lang="en-GB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392" y="1556792"/>
            <a:ext cx="5400600" cy="3949411"/>
          </a:xfrm>
        </p:spPr>
        <p:txBody>
          <a:bodyPr/>
          <a:lstStyle/>
          <a:p>
            <a:pPr marL="0" indent="0">
              <a:buNone/>
            </a:pPr>
            <a:r>
              <a:rPr lang="de-CH" sz="1600" b="0" dirty="0" smtClean="0"/>
              <a:t>Our sincere </a:t>
            </a:r>
            <a:r>
              <a:rPr lang="de-CH" sz="1600" dirty="0" smtClean="0"/>
              <a:t>Thank You </a:t>
            </a:r>
            <a:r>
              <a:rPr lang="de-CH" sz="1600" b="0" dirty="0" smtClean="0"/>
              <a:t>to :-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Organizers (Manuel Meyer, Stefan Johner and Stefan Roth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e-CH" sz="1600" b="0" dirty="0" smtClean="0"/>
              <a:t>Azure Bootcamp 2023 Sponsor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de-CH" b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0681" y="1484784"/>
            <a:ext cx="7533911" cy="413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86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94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3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46352"/>
          <a:stretch/>
        </p:blipFill>
        <p:spPr>
          <a:xfrm>
            <a:off x="623392" y="1556792"/>
            <a:ext cx="3333667" cy="2871019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481487"/>
          </a:xfrm>
        </p:spPr>
        <p:txBody>
          <a:bodyPr/>
          <a:lstStyle/>
          <a:p>
            <a:r>
              <a:rPr lang="de-CH" sz="1600" b="1" dirty="0"/>
              <a:t>I am Arindam Mitra | Microsoft MVP in Developer Technologies | Azure Cloud Solutions &amp; DevOps Architect | Technical Blogger | Speaker | </a:t>
            </a:r>
            <a:r>
              <a:rPr lang="de-CH" sz="1600" b="1" dirty="0" smtClean="0"/>
              <a:t>Traveler </a:t>
            </a:r>
            <a:r>
              <a:rPr lang="de-CH" sz="1600" b="1" dirty="0"/>
              <a:t>| Citizen of the </a:t>
            </a:r>
            <a:r>
              <a:rPr lang="de-CH" sz="1600" b="1" dirty="0" smtClean="0"/>
              <a:t>World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IT Infrastructure Specialist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4"/>
              </a:rPr>
              <a:t>https</a:t>
            </a:r>
            <a:r>
              <a:rPr lang="en-US" sz="1600" b="1" dirty="0">
                <a:hlinkClick r:id="rId4"/>
              </a:rPr>
              <a:t>://</a:t>
            </a:r>
            <a:r>
              <a:rPr lang="en-US" sz="1600" b="1" dirty="0" smtClean="0">
                <a:hlinkClick r:id="rId4"/>
              </a:rPr>
              <a:t>github.com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5"/>
              </a:rPr>
              <a:t>https</a:t>
            </a:r>
            <a:r>
              <a:rPr lang="en-US" sz="1600" b="1" dirty="0">
                <a:hlinkClick r:id="rId5"/>
              </a:rPr>
              <a:t>://</a:t>
            </a:r>
            <a:r>
              <a:rPr lang="en-US" sz="1600" b="1" dirty="0" smtClean="0">
                <a:hlinkClick r:id="rId5"/>
              </a:rPr>
              <a:t>dev.to/arindam0310018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6"/>
              </a:rPr>
              <a:t>https</a:t>
            </a:r>
            <a:r>
              <a:rPr lang="en-US" sz="1600" b="1" dirty="0">
                <a:hlinkClick r:id="rId6"/>
              </a:rPr>
              <a:t>://</a:t>
            </a:r>
            <a:r>
              <a:rPr lang="en-US" sz="1600" b="1" dirty="0" smtClean="0">
                <a:hlinkClick r:id="rId6"/>
              </a:rPr>
              <a:t>sessionize.com/arindam0310018</a:t>
            </a:r>
            <a:r>
              <a:rPr lang="en-US" sz="1600" dirty="0" smtClean="0"/>
              <a:t> 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7"/>
              </a:rPr>
              <a:t>https</a:t>
            </a:r>
            <a:r>
              <a:rPr lang="en-US" sz="1600" b="1" dirty="0">
                <a:hlinkClick r:id="rId7"/>
              </a:rPr>
              <a:t>://www.linkedin.com/in/arindam-mitra-28981095</a:t>
            </a:r>
            <a:r>
              <a:rPr lang="en-US" sz="1600" b="1" dirty="0" smtClean="0">
                <a:hlinkClick r:id="rId7"/>
              </a:rPr>
              <a:t>/</a:t>
            </a:r>
            <a:r>
              <a:rPr lang="en-US" sz="1600" dirty="0" smtClean="0"/>
              <a:t> 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 smtClean="0">
                <a:hlinkClick r:id="rId8"/>
              </a:rPr>
              <a:t>https</a:t>
            </a:r>
            <a:r>
              <a:rPr lang="en-US" sz="1600" b="1" dirty="0">
                <a:hlinkClick r:id="rId8"/>
              </a:rPr>
              <a:t>://</a:t>
            </a:r>
            <a:r>
              <a:rPr lang="en-US" sz="1600" b="1" dirty="0" smtClean="0">
                <a:hlinkClick r:id="rId8"/>
              </a:rPr>
              <a:t>twitter.com/arindam0310018</a:t>
            </a:r>
            <a:r>
              <a:rPr lang="en-US" sz="1600" dirty="0" smtClean="0"/>
              <a:t>  </a:t>
            </a:r>
            <a:endParaRPr lang="de-CH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059" y="1628800"/>
            <a:ext cx="1826950" cy="74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1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3D3D3D"/>
                </a:solidFill>
              </a:rPr>
              <a:t>SPEAKER INTRODUCTION:-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zure Bootcamp Switzerland, Arindam Mitra &amp; Adrian Sen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4</a:t>
            </a:fld>
            <a:endParaRPr lang="en-GB" dirty="0"/>
          </a:p>
        </p:txBody>
      </p:sp>
      <p:pic>
        <p:nvPicPr>
          <p:cNvPr id="7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957059" y="2492896"/>
            <a:ext cx="7611549" cy="3481487"/>
          </a:xfrm>
        </p:spPr>
        <p:txBody>
          <a:bodyPr/>
          <a:lstStyle/>
          <a:p>
            <a:r>
              <a:rPr lang="de-CH" sz="1600" b="1" dirty="0"/>
              <a:t>I am </a:t>
            </a:r>
            <a:r>
              <a:rPr lang="de-CH" sz="1600" b="1" dirty="0" smtClean="0"/>
              <a:t>Adrian Senn | Studied Quant. Finance and Economics | Innovative | Ambitious | Team Player | Stay full of energy by eating swiss </a:t>
            </a:r>
            <a:r>
              <a:rPr lang="de-CH" sz="1600" b="1" dirty="0"/>
              <a:t>c</a:t>
            </a:r>
            <a:r>
              <a:rPr lang="de-CH" sz="1600" b="1" dirty="0" smtClean="0"/>
              <a:t>hocolates</a:t>
            </a:r>
          </a:p>
          <a:p>
            <a:endParaRPr lang="de-CH" sz="1600" dirty="0"/>
          </a:p>
          <a:p>
            <a:r>
              <a:rPr lang="de-CH" sz="1600" dirty="0" smtClean="0"/>
              <a:t>I work at Axpo as </a:t>
            </a:r>
            <a:r>
              <a:rPr lang="de-CH" sz="1600" b="1" dirty="0" smtClean="0"/>
              <a:t>Senior Machine Learning Engineer.</a:t>
            </a:r>
          </a:p>
          <a:p>
            <a:endParaRPr lang="de-CH" sz="1600" dirty="0" smtClean="0"/>
          </a:p>
          <a:p>
            <a:r>
              <a:rPr lang="en-US" sz="1600" dirty="0" smtClean="0"/>
              <a:t>You </a:t>
            </a:r>
            <a:r>
              <a:rPr lang="en-US" sz="1600" dirty="0"/>
              <a:t>can look me at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hlinkClick r:id="rId3"/>
              </a:rPr>
              <a:t>https://</a:t>
            </a:r>
            <a:r>
              <a:rPr lang="en-US" sz="1600" b="1" dirty="0" smtClean="0">
                <a:hlinkClick r:id="rId3"/>
              </a:rPr>
              <a:t>www.alpinsolar.ch/content/axpo19/ch/en/about-us/lightboxes/adrian-senn.html</a:t>
            </a:r>
            <a:r>
              <a:rPr lang="en-US" sz="1600" dirty="0" smtClean="0"/>
              <a:t>  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-1" r="54808"/>
          <a:stretch/>
        </p:blipFill>
        <p:spPr>
          <a:xfrm>
            <a:off x="551384" y="1556445"/>
            <a:ext cx="3240360" cy="331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1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45E409A-909E-46EE-AC2D-D1A25343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GENDA:-</a:t>
            </a:r>
            <a:endParaRPr lang="en-GB" b="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240AEB0-7B0E-44B3-ADA7-36F7F80013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412146"/>
            <a:ext cx="11089232" cy="4936784"/>
          </a:xfrm>
        </p:spPr>
        <p:txBody>
          <a:bodyPr/>
          <a:lstStyle/>
          <a:p>
            <a:r>
              <a:rPr lang="en-GB" sz="1600" b="0" dirty="0" smtClean="0"/>
              <a:t> Our </a:t>
            </a:r>
            <a:r>
              <a:rPr lang="en-GB" sz="1600" b="0" dirty="0" smtClean="0"/>
              <a:t>Business Areas</a:t>
            </a:r>
          </a:p>
          <a:p>
            <a:r>
              <a:rPr lang="en-GB" sz="1600" b="0" dirty="0" smtClean="0"/>
              <a:t> Trading </a:t>
            </a:r>
            <a:r>
              <a:rPr lang="en-GB" sz="1600" b="0" dirty="0" smtClean="0"/>
              <a:t>and Sales</a:t>
            </a:r>
          </a:p>
          <a:p>
            <a:r>
              <a:rPr lang="en-GB" sz="1600" b="0" dirty="0" smtClean="0"/>
              <a:t> Portfolio</a:t>
            </a:r>
            <a:endParaRPr lang="en-GB" sz="1600" b="0" dirty="0" smtClean="0"/>
          </a:p>
          <a:p>
            <a:r>
              <a:rPr lang="en-GB" sz="1600" b="0" dirty="0" smtClean="0"/>
              <a:t> Why </a:t>
            </a:r>
            <a:r>
              <a:rPr lang="en-GB" sz="1600" b="0" dirty="0" smtClean="0"/>
              <a:t>Advanced Analytics </a:t>
            </a:r>
            <a:r>
              <a:rPr lang="en-GB" sz="1600" b="0" dirty="0" smtClean="0"/>
              <a:t>?</a:t>
            </a:r>
          </a:p>
          <a:p>
            <a:r>
              <a:rPr lang="en-GB" sz="1600" b="0" dirty="0" smtClean="0"/>
              <a:t> Analytics at Axpo</a:t>
            </a:r>
          </a:p>
          <a:p>
            <a:r>
              <a:rPr lang="en-GB" sz="1600" b="0" dirty="0" smtClean="0"/>
              <a:t> Ideas in a complex world</a:t>
            </a:r>
          </a:p>
          <a:p>
            <a:r>
              <a:rPr lang="en-GB" sz="1600" b="0" dirty="0" smtClean="0"/>
              <a:t> Physical power trading: Intraday</a:t>
            </a:r>
          </a:p>
          <a:p>
            <a:r>
              <a:rPr lang="en-GB" sz="1600" b="0" dirty="0" smtClean="0"/>
              <a:t> Adjust to new situation fast</a:t>
            </a:r>
          </a:p>
          <a:p>
            <a:r>
              <a:rPr lang="en-GB" sz="1600" b="0" dirty="0" smtClean="0"/>
              <a:t> Current Models: Facts and Figures</a:t>
            </a:r>
          </a:p>
          <a:p>
            <a:r>
              <a:rPr lang="en-GB" sz="1600" b="0" dirty="0" smtClean="0"/>
              <a:t> Azure Architecture</a:t>
            </a:r>
          </a:p>
          <a:p>
            <a:endParaRPr lang="en-GB" b="0" dirty="0" smtClean="0"/>
          </a:p>
          <a:p>
            <a:endParaRPr lang="en-GB" sz="1600" b="0" dirty="0"/>
          </a:p>
          <a:p>
            <a:r>
              <a:rPr lang="en-GB" sz="1600" b="0" dirty="0" smtClean="0"/>
              <a:t> Devops in Advanced Analytics</a:t>
            </a:r>
          </a:p>
          <a:p>
            <a:r>
              <a:rPr lang="en-GB" sz="1600" b="0" dirty="0"/>
              <a:t> </a:t>
            </a:r>
            <a:r>
              <a:rPr lang="en-GB" sz="1600" b="0" dirty="0" smtClean="0"/>
              <a:t>Pipeline Templates </a:t>
            </a:r>
          </a:p>
          <a:p>
            <a:r>
              <a:rPr lang="en-GB" sz="1600" b="0" dirty="0" smtClean="0"/>
              <a:t> Multiple Environment – Replace Token </a:t>
            </a:r>
          </a:p>
          <a:p>
            <a:r>
              <a:rPr lang="en-GB" sz="1600" b="0" dirty="0" smtClean="0"/>
              <a:t> Devops SSH with Terraform Modules </a:t>
            </a:r>
          </a:p>
          <a:p>
            <a:r>
              <a:rPr lang="en-GB" sz="1600" b="0" dirty="0" smtClean="0"/>
              <a:t> How we Onboard Usecase ?</a:t>
            </a:r>
          </a:p>
          <a:p>
            <a:r>
              <a:rPr lang="en-GB" sz="1600" b="0" dirty="0" smtClean="0"/>
              <a:t> Demo Workflow</a:t>
            </a:r>
          </a:p>
          <a:p>
            <a:r>
              <a:rPr lang="en-GB" sz="1600" b="0" dirty="0" smtClean="0"/>
              <a:t> Gratitude</a:t>
            </a:r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 smtClean="0"/>
          </a:p>
          <a:p>
            <a:endParaRPr lang="en-GB" b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E00AF8-64B7-485D-B43D-30FE40F54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Azure Bootcamp Switzerland, Arindam Mitra &amp; Adrian Sen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1FD9D4-D310-46A3-A4AE-2E8268BB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pic>
        <p:nvPicPr>
          <p:cNvPr id="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50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598006" y="1803184"/>
            <a:ext cx="3697794" cy="1973487"/>
            <a:chOff x="7916470" y="1681655"/>
            <a:chExt cx="3818314" cy="1285228"/>
          </a:xfrm>
        </p:grpSpPr>
        <p:sp>
          <p:nvSpPr>
            <p:cNvPr id="26" name="Textfeld 25"/>
            <p:cNvSpPr txBox="1"/>
            <p:nvPr/>
          </p:nvSpPr>
          <p:spPr>
            <a:xfrm>
              <a:off x="7916470" y="1839750"/>
              <a:ext cx="3528000" cy="1127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eration &amp; Distribu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ydro and nuclear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ind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otovoltaic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04566" y="1681655"/>
              <a:ext cx="730218" cy="495542"/>
            </a:xfrm>
            <a:prstGeom prst="rect">
              <a:avLst/>
            </a:prstGeom>
          </p:spPr>
        </p:pic>
      </p:grp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US" sz="600" b="0" i="0" u="none" strike="noStrike" kern="1200" cap="none" spc="0" normalizeH="0" baseline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4512304" y="3012051"/>
            <a:ext cx="3527912" cy="1209037"/>
            <a:chOff x="5315722" y="1540750"/>
            <a:chExt cx="3527912" cy="1209037"/>
          </a:xfrm>
        </p:grpSpPr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6310" y="1540750"/>
              <a:ext cx="576000" cy="576000"/>
            </a:xfrm>
            <a:prstGeom prst="rect">
              <a:avLst/>
            </a:prstGeom>
          </p:spPr>
        </p:pic>
        <p:sp>
          <p:nvSpPr>
            <p:cNvPr id="22" name="Inhaltsplatzhalter 3"/>
            <p:cNvSpPr txBox="1">
              <a:spLocks/>
            </p:cNvSpPr>
            <p:nvPr/>
          </p:nvSpPr>
          <p:spPr>
            <a:xfrm>
              <a:off x="5315722" y="1755207"/>
              <a:ext cx="3527912" cy="99458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rading &amp; Sal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sset backed trad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oprietary trading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ternational Origination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8040215" y="3867876"/>
            <a:ext cx="3024337" cy="1505340"/>
            <a:chOff x="9528385" y="2561896"/>
            <a:chExt cx="3024337" cy="150534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9290" y="2561896"/>
              <a:ext cx="720000" cy="720000"/>
            </a:xfrm>
            <a:prstGeom prst="rect">
              <a:avLst/>
            </a:prstGeom>
          </p:spPr>
        </p:pic>
        <p:sp>
          <p:nvSpPr>
            <p:cNvPr id="23" name="Inhaltsplatzhalter 3"/>
            <p:cNvSpPr txBox="1">
              <a:spLocks/>
            </p:cNvSpPr>
            <p:nvPr/>
          </p:nvSpPr>
          <p:spPr>
            <a:xfrm>
              <a:off x="9528385" y="2843100"/>
              <a:ext cx="3024337" cy="122413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4625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5738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4988" indent="-174625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9138" indent="-18415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buSzPct val="8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KW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ower genera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ilding technologie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stribution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dirty="0" smtClean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V Switzerland 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50" name="Grafik 3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05/11/202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1" name="Titel 3"/>
          <p:cNvSpPr txBox="1">
            <a:spLocks/>
          </p:cNvSpPr>
          <p:nvPr/>
        </p:nvSpPr>
        <p:spPr>
          <a:xfrm>
            <a:off x="436988" y="693115"/>
            <a:ext cx="8395316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UR BUSINESS AREAS:-</a:t>
            </a:r>
          </a:p>
        </p:txBody>
      </p:sp>
    </p:spTree>
    <p:extLst>
      <p:ext uri="{BB962C8B-B14F-4D97-AF65-F5344CB8AC3E}">
        <p14:creationId xmlns:p14="http://schemas.microsoft.com/office/powerpoint/2010/main" val="270173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75A26-CC63-48D9-8C64-878138B7C67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05445" y="6511554"/>
            <a:ext cx="9573518" cy="108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473" y="2251174"/>
            <a:ext cx="2280192" cy="747897"/>
          </a:xfrm>
          <a:ln>
            <a:solidFill>
              <a:srgbClr val="4545CF"/>
            </a:solidFill>
          </a:ln>
        </p:spPr>
        <p:txBody>
          <a:bodyPr/>
          <a:lstStyle/>
          <a:p>
            <a:r>
              <a:rPr lang="en-GB" sz="1800" dirty="0">
                <a:solidFill>
                  <a:srgbClr val="3D3D3D"/>
                </a:solidFill>
              </a:rPr>
              <a:t>Leveraging volatility </a:t>
            </a:r>
            <a:r>
              <a:rPr lang="en-GB" sz="1800" dirty="0" smtClean="0">
                <a:solidFill>
                  <a:srgbClr val="3D3D3D"/>
                </a:solidFill>
              </a:rPr>
              <a:t>and </a:t>
            </a:r>
            <a:r>
              <a:rPr lang="en-GB" sz="1800" dirty="0">
                <a:solidFill>
                  <a:srgbClr val="3D3D3D"/>
                </a:solidFill>
              </a:rPr>
              <a:t>optionality</a:t>
            </a:r>
            <a:endParaRPr lang="en-GB" sz="1800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F23EAAA-09A1-2D4A-8C1F-D76433F91451}"/>
              </a:ext>
            </a:extLst>
          </p:cNvPr>
          <p:cNvSpPr txBox="1">
            <a:spLocks/>
          </p:cNvSpPr>
          <p:nvPr/>
        </p:nvSpPr>
        <p:spPr>
          <a:xfrm>
            <a:off x="551382" y="6511554"/>
            <a:ext cx="324000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 Axpo,</a:t>
            </a:r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>
            <a:off x="436988" y="693115"/>
            <a:ext cx="11208568" cy="571301"/>
          </a:xfrm>
          <a:prstGeom prst="rect">
            <a:avLst/>
          </a:prstGeom>
          <a:noFill/>
        </p:spPr>
        <p:txBody>
          <a:bodyPr vert="horz" wrap="square" lIns="91440" tIns="36000" rIns="9144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RADING &amp;</a:t>
            </a:r>
            <a:r>
              <a:rPr kumimoji="0" lang="en-GB" sz="3600" b="1" i="0" u="none" strike="noStrike" kern="1200" cap="none" spc="0" normalizeH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SALES:-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B354CFCC-E0E6-405C-B5A6-8B95A35DB87E}"/>
              </a:ext>
            </a:extLst>
          </p:cNvPr>
          <p:cNvSpPr/>
          <p:nvPr/>
        </p:nvSpPr>
        <p:spPr>
          <a:xfrm>
            <a:off x="496083" y="3580243"/>
            <a:ext cx="3436867" cy="1238801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set-backed trad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ise the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urn on the asse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3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ng both position and optionality of physical assets.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hteck 14"/>
          <p:cNvSpPr/>
          <p:nvPr/>
        </p:nvSpPr>
        <p:spPr>
          <a:xfrm>
            <a:off x="4199176" y="3580243"/>
            <a:ext cx="3336984" cy="2439129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prietary trading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sed on a market view where the trader can take both long and short positions in energy commodities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damental analysis to identify and investigate market inefficiencies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4505281" y="2252411"/>
            <a:ext cx="3030880" cy="747897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Fundamental understand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f the market </a:t>
            </a:r>
          </a:p>
        </p:txBody>
      </p:sp>
      <p:sp>
        <p:nvSpPr>
          <p:cNvPr id="16" name="Rechteck 15"/>
          <p:cNvSpPr/>
          <p:nvPr/>
        </p:nvSpPr>
        <p:spPr>
          <a:xfrm>
            <a:off x="8261661" y="3602871"/>
            <a:ext cx="3397482" cy="2490425"/>
          </a:xfrm>
          <a:prstGeom prst="rect">
            <a:avLst/>
          </a:prstGeom>
          <a:noFill/>
          <a:ln>
            <a:noFill/>
          </a:ln>
        </p:spPr>
        <p:txBody>
          <a:bodyPr wrap="square" lIns="72000" rIns="72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igination &amp; customer solutions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ndard and tailored contracts with customers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ed transactions, sales, contracts (e.g., full supply, portfolio management services).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ailing.</a:t>
            </a:r>
            <a:b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BF01AE80-C834-40C2-AFD2-F16B57B0BC82}"/>
              </a:ext>
            </a:extLst>
          </p:cNvPr>
          <p:cNvSpPr txBox="1">
            <a:spLocks/>
          </p:cNvSpPr>
          <p:nvPr/>
        </p:nvSpPr>
        <p:spPr>
          <a:xfrm>
            <a:off x="8562681" y="2250095"/>
            <a:ext cx="3078457" cy="997196"/>
          </a:xfrm>
          <a:prstGeom prst="accentCallout1">
            <a:avLst>
              <a:gd name="adj1" fmla="val -1406"/>
              <a:gd name="adj2" fmla="val -6892"/>
              <a:gd name="adj3" fmla="val 37709"/>
              <a:gd name="adj4" fmla="val -6889"/>
            </a:avLst>
          </a:prstGeom>
          <a:ln w="44450">
            <a:solidFill>
              <a:srgbClr val="4545CF"/>
            </a:solidFill>
          </a:ln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Relationship, trust and understanding relationship customer and managing risk expos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18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61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7579" r="5952"/>
          <a:stretch/>
        </p:blipFill>
        <p:spPr>
          <a:xfrm>
            <a:off x="6089450" y="71286"/>
            <a:ext cx="2105144" cy="1390883"/>
          </a:xfrm>
          <a:prstGeom prst="rect">
            <a:avLst/>
          </a:prstGeom>
        </p:spPr>
      </p:pic>
      <p:sp>
        <p:nvSpPr>
          <p:cNvPr id="29" name="TextBox 10"/>
          <p:cNvSpPr txBox="1"/>
          <p:nvPr/>
        </p:nvSpPr>
        <p:spPr>
          <a:xfrm>
            <a:off x="649352" y="2060848"/>
            <a:ext cx="4978144" cy="31175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>
              <a:spcBef>
                <a:spcPts val="5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Axpo has </a:t>
            </a:r>
            <a:r>
              <a:rPr lang="en-US" sz="1600" kern="0" dirty="0" smtClean="0">
                <a:solidFill>
                  <a:srgbClr val="3D3D3D"/>
                </a:solidFill>
                <a:cs typeface="Arial" panose="020B0604020202020204" pitchFamily="34" charset="0"/>
              </a:rPr>
              <a:t>accumulated 80 </a:t>
            </a:r>
            <a:r>
              <a:rPr lang="en-US" sz="1600" kern="0" dirty="0">
                <a:solidFill>
                  <a:srgbClr val="3D3D3D"/>
                </a:solidFill>
                <a:cs typeface="Arial" panose="020B0604020202020204" pitchFamily="34" charset="0"/>
              </a:rPr>
              <a:t>TWh of PPAs in its portfolio.</a:t>
            </a: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3D3D3D"/>
              </a:solidFill>
              <a:effectLst/>
              <a:uLnTx/>
              <a:uFillTx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nages wind energy, photovoltaics, biomass and hydro pow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xpo markets a large portfolio of producers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f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renewable energy,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over 80 TWh under contrac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Main contributor is Axpo Nordics 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with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a wind portfolio of over 23 TWh. </a:t>
            </a:r>
          </a:p>
        </p:txBody>
      </p:sp>
      <p:sp>
        <p:nvSpPr>
          <p:cNvPr id="94" name="Titel 3"/>
          <p:cNvSpPr>
            <a:spLocks noGrp="1"/>
          </p:cNvSpPr>
          <p:nvPr>
            <p:ph type="title"/>
          </p:nvPr>
        </p:nvSpPr>
        <p:spPr>
          <a:xfrm>
            <a:off x="479376" y="664996"/>
            <a:ext cx="5544616" cy="571301"/>
          </a:xfrm>
          <a:noFill/>
        </p:spPr>
        <p:txBody>
          <a:bodyPr vert="horz" wrap="square" lIns="91440" tIns="36000" rIns="91440" bIns="36000" rtlCol="0" anchor="ctr">
            <a:spAutoFit/>
          </a:bodyPr>
          <a:lstStyle/>
          <a:p>
            <a:r>
              <a:rPr lang="de-CH" b="1" dirty="0" smtClean="0"/>
              <a:t>PORTFOLIO:-</a:t>
            </a:r>
            <a:endParaRPr lang="de-CH" b="1" dirty="0"/>
          </a:p>
        </p:txBody>
      </p:sp>
      <p:sp>
        <p:nvSpPr>
          <p:cNvPr id="5" name="Rechteck 4"/>
          <p:cNvSpPr/>
          <p:nvPr/>
        </p:nvSpPr>
        <p:spPr>
          <a:xfrm>
            <a:off x="6026580" y="1725686"/>
            <a:ext cx="2541756" cy="695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10233327" y="5984"/>
            <a:ext cx="1954744" cy="4232658"/>
          </a:xfrm>
          <a:custGeom>
            <a:avLst/>
            <a:gdLst>
              <a:gd name="T0" fmla="*/ 713 w 1871"/>
              <a:gd name="T1" fmla="*/ 1143 h 4048"/>
              <a:gd name="T2" fmla="*/ 1794 w 1871"/>
              <a:gd name="T3" fmla="*/ 4032 h 4048"/>
              <a:gd name="T4" fmla="*/ 1807 w 1871"/>
              <a:gd name="T5" fmla="*/ 3894 h 4048"/>
              <a:gd name="T6" fmla="*/ 1716 w 1871"/>
              <a:gd name="T7" fmla="*/ 3555 h 4048"/>
              <a:gd name="T8" fmla="*/ 1537 w 1871"/>
              <a:gd name="T9" fmla="*/ 3527 h 4048"/>
              <a:gd name="T10" fmla="*/ 1302 w 1871"/>
              <a:gd name="T11" fmla="*/ 3557 h 4048"/>
              <a:gd name="T12" fmla="*/ 1135 w 1871"/>
              <a:gd name="T13" fmla="*/ 3461 h 4048"/>
              <a:gd name="T14" fmla="*/ 1069 w 1871"/>
              <a:gd name="T15" fmla="*/ 3313 h 4048"/>
              <a:gd name="T16" fmla="*/ 880 w 1871"/>
              <a:gd name="T17" fmla="*/ 3349 h 4048"/>
              <a:gd name="T18" fmla="*/ 745 w 1871"/>
              <a:gd name="T19" fmla="*/ 3220 h 4048"/>
              <a:gd name="T20" fmla="*/ 837 w 1871"/>
              <a:gd name="T21" fmla="*/ 3096 h 4048"/>
              <a:gd name="T22" fmla="*/ 644 w 1871"/>
              <a:gd name="T23" fmla="*/ 2877 h 4048"/>
              <a:gd name="T24" fmla="*/ 530 w 1871"/>
              <a:gd name="T25" fmla="*/ 2754 h 4048"/>
              <a:gd name="T26" fmla="*/ 373 w 1871"/>
              <a:gd name="T27" fmla="*/ 2729 h 4048"/>
              <a:gd name="T28" fmla="*/ 269 w 1871"/>
              <a:gd name="T29" fmla="*/ 2576 h 4048"/>
              <a:gd name="T30" fmla="*/ 213 w 1871"/>
              <a:gd name="T31" fmla="*/ 2382 h 4048"/>
              <a:gd name="T32" fmla="*/ 218 w 1871"/>
              <a:gd name="T33" fmla="*/ 2099 h 4048"/>
              <a:gd name="T34" fmla="*/ 423 w 1871"/>
              <a:gd name="T35" fmla="*/ 2024 h 4048"/>
              <a:gd name="T36" fmla="*/ 247 w 1871"/>
              <a:gd name="T37" fmla="*/ 1941 h 4048"/>
              <a:gd name="T38" fmla="*/ 268 w 1871"/>
              <a:gd name="T39" fmla="*/ 1817 h 4048"/>
              <a:gd name="T40" fmla="*/ 330 w 1871"/>
              <a:gd name="T41" fmla="*/ 1399 h 4048"/>
              <a:gd name="T42" fmla="*/ 240 w 1871"/>
              <a:gd name="T43" fmla="*/ 1204 h 4048"/>
              <a:gd name="T44" fmla="*/ 189 w 1871"/>
              <a:gd name="T45" fmla="*/ 1013 h 4048"/>
              <a:gd name="T46" fmla="*/ 93 w 1871"/>
              <a:gd name="T47" fmla="*/ 588 h 4048"/>
              <a:gd name="T48" fmla="*/ 91 w 1871"/>
              <a:gd name="T49" fmla="*/ 293 h 4048"/>
              <a:gd name="T50" fmla="*/ 208 w 1871"/>
              <a:gd name="T51" fmla="*/ 233 h 4048"/>
              <a:gd name="T52" fmla="*/ 308 w 1871"/>
              <a:gd name="T53" fmla="*/ 308 h 4048"/>
              <a:gd name="T54" fmla="*/ 443 w 1871"/>
              <a:gd name="T55" fmla="*/ 268 h 4048"/>
              <a:gd name="T56" fmla="*/ 795 w 1871"/>
              <a:gd name="T57" fmla="*/ 407 h 4048"/>
              <a:gd name="T58" fmla="*/ 953 w 1871"/>
              <a:gd name="T59" fmla="*/ 551 h 4048"/>
              <a:gd name="T60" fmla="*/ 511 w 1871"/>
              <a:gd name="T61" fmla="*/ 769 h 4048"/>
              <a:gd name="T62" fmla="*/ 291 w 1871"/>
              <a:gd name="T63" fmla="*/ 713 h 4048"/>
              <a:gd name="T64" fmla="*/ 403 w 1871"/>
              <a:gd name="T65" fmla="*/ 805 h 4048"/>
              <a:gd name="T66" fmla="*/ 519 w 1871"/>
              <a:gd name="T67" fmla="*/ 856 h 4048"/>
              <a:gd name="T68" fmla="*/ 580 w 1871"/>
              <a:gd name="T69" fmla="*/ 1029 h 4048"/>
              <a:gd name="T70" fmla="*/ 704 w 1871"/>
              <a:gd name="T71" fmla="*/ 1155 h 4048"/>
              <a:gd name="T72" fmla="*/ 874 w 1871"/>
              <a:gd name="T73" fmla="*/ 1132 h 4048"/>
              <a:gd name="T74" fmla="*/ 735 w 1871"/>
              <a:gd name="T75" fmla="*/ 980 h 4048"/>
              <a:gd name="T76" fmla="*/ 898 w 1871"/>
              <a:gd name="T77" fmla="*/ 1006 h 4048"/>
              <a:gd name="T78" fmla="*/ 971 w 1871"/>
              <a:gd name="T79" fmla="*/ 779 h 4048"/>
              <a:gd name="T80" fmla="*/ 1167 w 1871"/>
              <a:gd name="T81" fmla="*/ 676 h 4048"/>
              <a:gd name="T82" fmla="*/ 1182 w 1871"/>
              <a:gd name="T83" fmla="*/ 517 h 4048"/>
              <a:gd name="T84" fmla="*/ 1001 w 1871"/>
              <a:gd name="T85" fmla="*/ 233 h 4048"/>
              <a:gd name="T86" fmla="*/ 1219 w 1871"/>
              <a:gd name="T87" fmla="*/ 413 h 4048"/>
              <a:gd name="T88" fmla="*/ 1357 w 1871"/>
              <a:gd name="T89" fmla="*/ 294 h 4048"/>
              <a:gd name="T90" fmla="*/ 230 w 1871"/>
              <a:gd name="T91" fmla="*/ 2496 h 4048"/>
              <a:gd name="T92" fmla="*/ 424 w 1871"/>
              <a:gd name="T93" fmla="*/ 1712 h 4048"/>
              <a:gd name="T94" fmla="*/ 353 w 1871"/>
              <a:gd name="T95" fmla="*/ 1800 h 4048"/>
              <a:gd name="T96" fmla="*/ 485 w 1871"/>
              <a:gd name="T97" fmla="*/ 2014 h 4048"/>
              <a:gd name="T98" fmla="*/ 599 w 1871"/>
              <a:gd name="T99" fmla="*/ 1880 h 4048"/>
              <a:gd name="T100" fmla="*/ 894 w 1871"/>
              <a:gd name="T101" fmla="*/ 1696 h 4048"/>
              <a:gd name="T102" fmla="*/ 760 w 1871"/>
              <a:gd name="T103" fmla="*/ 1462 h 4048"/>
              <a:gd name="T104" fmla="*/ 718 w 1871"/>
              <a:gd name="T105" fmla="*/ 1471 h 4048"/>
              <a:gd name="T106" fmla="*/ 704 w 1871"/>
              <a:gd name="T107" fmla="*/ 1529 h 4048"/>
              <a:gd name="T108" fmla="*/ 670 w 1871"/>
              <a:gd name="T109" fmla="*/ 1554 h 4048"/>
              <a:gd name="T110" fmla="*/ 799 w 1871"/>
              <a:gd name="T111" fmla="*/ 1673 h 4048"/>
              <a:gd name="T112" fmla="*/ 1192 w 1871"/>
              <a:gd name="T113" fmla="*/ 1855 h 4048"/>
              <a:gd name="T114" fmla="*/ 1073 w 1871"/>
              <a:gd name="T115" fmla="*/ 1813 h 4048"/>
              <a:gd name="T116" fmla="*/ 1155 w 1871"/>
              <a:gd name="T117" fmla="*/ 1996 h 4048"/>
              <a:gd name="T118" fmla="*/ 1144 w 1871"/>
              <a:gd name="T119" fmla="*/ 2102 h 4048"/>
              <a:gd name="T120" fmla="*/ 1216 w 1871"/>
              <a:gd name="T121" fmla="*/ 2173 h 4048"/>
              <a:gd name="T122" fmla="*/ 652 w 1871"/>
              <a:gd name="T123" fmla="*/ 998 h 4048"/>
              <a:gd name="T124" fmla="*/ 1056 w 1871"/>
              <a:gd name="T125" fmla="*/ 574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auto">
          <a:xfrm>
            <a:off x="10261320" y="4516"/>
            <a:ext cx="1954744" cy="4232658"/>
          </a:xfrm>
          <a:custGeom>
            <a:avLst/>
            <a:gdLst>
              <a:gd name="T0" fmla="*/ 345 w 1871"/>
              <a:gd name="T1" fmla="*/ 274 h 4048"/>
              <a:gd name="T2" fmla="*/ 1818 w 1871"/>
              <a:gd name="T3" fmla="*/ 4022 h 4048"/>
              <a:gd name="T4" fmla="*/ 1797 w 1871"/>
              <a:gd name="T5" fmla="*/ 3928 h 4048"/>
              <a:gd name="T6" fmla="*/ 1747 w 1871"/>
              <a:gd name="T7" fmla="*/ 3562 h 4048"/>
              <a:gd name="T8" fmla="*/ 1576 w 1871"/>
              <a:gd name="T9" fmla="*/ 3560 h 4048"/>
              <a:gd name="T10" fmla="*/ 1343 w 1871"/>
              <a:gd name="T11" fmla="*/ 3551 h 4048"/>
              <a:gd name="T12" fmla="*/ 1192 w 1871"/>
              <a:gd name="T13" fmla="*/ 3452 h 4048"/>
              <a:gd name="T14" fmla="*/ 1115 w 1871"/>
              <a:gd name="T15" fmla="*/ 3357 h 4048"/>
              <a:gd name="T16" fmla="*/ 892 w 1871"/>
              <a:gd name="T17" fmla="*/ 3319 h 4048"/>
              <a:gd name="T18" fmla="*/ 784 w 1871"/>
              <a:gd name="T19" fmla="*/ 3273 h 4048"/>
              <a:gd name="T20" fmla="*/ 877 w 1871"/>
              <a:gd name="T21" fmla="*/ 3120 h 4048"/>
              <a:gd name="T22" fmla="*/ 651 w 1871"/>
              <a:gd name="T23" fmla="*/ 2931 h 4048"/>
              <a:gd name="T24" fmla="*/ 559 w 1871"/>
              <a:gd name="T25" fmla="*/ 2751 h 4048"/>
              <a:gd name="T26" fmla="*/ 405 w 1871"/>
              <a:gd name="T27" fmla="*/ 2747 h 4048"/>
              <a:gd name="T28" fmla="*/ 280 w 1871"/>
              <a:gd name="T29" fmla="*/ 2608 h 4048"/>
              <a:gd name="T30" fmla="*/ 236 w 1871"/>
              <a:gd name="T31" fmla="*/ 2418 h 4048"/>
              <a:gd name="T32" fmla="*/ 227 w 1871"/>
              <a:gd name="T33" fmla="*/ 2136 h 4048"/>
              <a:gd name="T34" fmla="*/ 413 w 1871"/>
              <a:gd name="T35" fmla="*/ 2035 h 4048"/>
              <a:gd name="T36" fmla="*/ 244 w 1871"/>
              <a:gd name="T37" fmla="*/ 1951 h 4048"/>
              <a:gd name="T38" fmla="*/ 218 w 1871"/>
              <a:gd name="T39" fmla="*/ 1883 h 4048"/>
              <a:gd name="T40" fmla="*/ 378 w 1871"/>
              <a:gd name="T41" fmla="*/ 1424 h 4048"/>
              <a:gd name="T42" fmla="*/ 248 w 1871"/>
              <a:gd name="T43" fmla="*/ 1228 h 4048"/>
              <a:gd name="T44" fmla="*/ 191 w 1871"/>
              <a:gd name="T45" fmla="*/ 1036 h 4048"/>
              <a:gd name="T46" fmla="*/ 141 w 1871"/>
              <a:gd name="T47" fmla="*/ 647 h 4048"/>
              <a:gd name="T48" fmla="*/ 47 w 1871"/>
              <a:gd name="T49" fmla="*/ 371 h 4048"/>
              <a:gd name="T50" fmla="*/ 179 w 1871"/>
              <a:gd name="T51" fmla="*/ 222 h 4048"/>
              <a:gd name="T52" fmla="*/ 308 w 1871"/>
              <a:gd name="T53" fmla="*/ 295 h 4048"/>
              <a:gd name="T54" fmla="*/ 431 w 1871"/>
              <a:gd name="T55" fmla="*/ 286 h 4048"/>
              <a:gd name="T56" fmla="*/ 695 w 1871"/>
              <a:gd name="T57" fmla="*/ 375 h 4048"/>
              <a:gd name="T58" fmla="*/ 923 w 1871"/>
              <a:gd name="T59" fmla="*/ 499 h 4048"/>
              <a:gd name="T60" fmla="*/ 602 w 1871"/>
              <a:gd name="T61" fmla="*/ 784 h 4048"/>
              <a:gd name="T62" fmla="*/ 361 w 1871"/>
              <a:gd name="T63" fmla="*/ 714 h 4048"/>
              <a:gd name="T64" fmla="*/ 385 w 1871"/>
              <a:gd name="T65" fmla="*/ 798 h 4048"/>
              <a:gd name="T66" fmla="*/ 474 w 1871"/>
              <a:gd name="T67" fmla="*/ 841 h 4048"/>
              <a:gd name="T68" fmla="*/ 555 w 1871"/>
              <a:gd name="T69" fmla="*/ 1003 h 4048"/>
              <a:gd name="T70" fmla="*/ 683 w 1871"/>
              <a:gd name="T71" fmla="*/ 1151 h 4048"/>
              <a:gd name="T72" fmla="*/ 853 w 1871"/>
              <a:gd name="T73" fmla="*/ 1181 h 4048"/>
              <a:gd name="T74" fmla="*/ 731 w 1871"/>
              <a:gd name="T75" fmla="*/ 1030 h 4048"/>
              <a:gd name="T76" fmla="*/ 864 w 1871"/>
              <a:gd name="T77" fmla="*/ 1028 h 4048"/>
              <a:gd name="T78" fmla="*/ 945 w 1871"/>
              <a:gd name="T79" fmla="*/ 881 h 4048"/>
              <a:gd name="T80" fmla="*/ 1162 w 1871"/>
              <a:gd name="T81" fmla="*/ 644 h 4048"/>
              <a:gd name="T82" fmla="*/ 1198 w 1871"/>
              <a:gd name="T83" fmla="*/ 537 h 4048"/>
              <a:gd name="T84" fmla="*/ 1076 w 1871"/>
              <a:gd name="T85" fmla="*/ 286 h 4048"/>
              <a:gd name="T86" fmla="*/ 1192 w 1871"/>
              <a:gd name="T87" fmla="*/ 348 h 4048"/>
              <a:gd name="T88" fmla="*/ 1377 w 1871"/>
              <a:gd name="T89" fmla="*/ 339 h 4048"/>
              <a:gd name="T90" fmla="*/ 1444 w 1871"/>
              <a:gd name="T91" fmla="*/ 1 h 4048"/>
              <a:gd name="T92" fmla="*/ 482 w 1871"/>
              <a:gd name="T93" fmla="*/ 1739 h 4048"/>
              <a:gd name="T94" fmla="*/ 366 w 1871"/>
              <a:gd name="T95" fmla="*/ 1758 h 4048"/>
              <a:gd name="T96" fmla="*/ 455 w 1871"/>
              <a:gd name="T97" fmla="*/ 1944 h 4048"/>
              <a:gd name="T98" fmla="*/ 599 w 1871"/>
              <a:gd name="T99" fmla="*/ 1915 h 4048"/>
              <a:gd name="T100" fmla="*/ 760 w 1871"/>
              <a:gd name="T101" fmla="*/ 1725 h 4048"/>
              <a:gd name="T102" fmla="*/ 819 w 1871"/>
              <a:gd name="T103" fmla="*/ 1579 h 4048"/>
              <a:gd name="T104" fmla="*/ 662 w 1871"/>
              <a:gd name="T105" fmla="*/ 1431 h 4048"/>
              <a:gd name="T106" fmla="*/ 712 w 1871"/>
              <a:gd name="T107" fmla="*/ 1528 h 4048"/>
              <a:gd name="T108" fmla="*/ 648 w 1871"/>
              <a:gd name="T109" fmla="*/ 1516 h 4048"/>
              <a:gd name="T110" fmla="*/ 745 w 1871"/>
              <a:gd name="T111" fmla="*/ 1655 h 4048"/>
              <a:gd name="T112" fmla="*/ 862 w 1871"/>
              <a:gd name="T113" fmla="*/ 1746 h 4048"/>
              <a:gd name="T114" fmla="*/ 1184 w 1871"/>
              <a:gd name="T115" fmla="*/ 1846 h 4048"/>
              <a:gd name="T116" fmla="*/ 1257 w 1871"/>
              <a:gd name="T117" fmla="*/ 2101 h 4048"/>
              <a:gd name="T118" fmla="*/ 1105 w 1871"/>
              <a:gd name="T119" fmla="*/ 2044 h 4048"/>
              <a:gd name="T120" fmla="*/ 1074 w 1871"/>
              <a:gd name="T121" fmla="*/ 2090 h 4048"/>
              <a:gd name="T122" fmla="*/ 1251 w 1871"/>
              <a:gd name="T123" fmla="*/ 2134 h 4048"/>
              <a:gd name="T124" fmla="*/ 410 w 1871"/>
              <a:gd name="T125" fmla="*/ 801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0" h="4048">
                <a:moveTo>
                  <a:pt x="255" y="215"/>
                </a:moveTo>
                <a:lnTo>
                  <a:pt x="255" y="215"/>
                </a:lnTo>
                <a:cubicBezTo>
                  <a:pt x="253" y="214"/>
                  <a:pt x="249" y="215"/>
                  <a:pt x="244" y="216"/>
                </a:cubicBezTo>
                <a:cubicBezTo>
                  <a:pt x="240" y="217"/>
                  <a:pt x="237" y="217"/>
                  <a:pt x="237" y="217"/>
                </a:cubicBezTo>
                <a:cubicBezTo>
                  <a:pt x="230" y="217"/>
                  <a:pt x="226" y="212"/>
                  <a:pt x="225" y="205"/>
                </a:cubicBezTo>
                <a:cubicBezTo>
                  <a:pt x="222" y="204"/>
                  <a:pt x="215" y="201"/>
                  <a:pt x="205" y="197"/>
                </a:cubicBezTo>
                <a:cubicBezTo>
                  <a:pt x="195" y="192"/>
                  <a:pt x="189" y="190"/>
                  <a:pt x="189" y="189"/>
                </a:cubicBezTo>
                <a:lnTo>
                  <a:pt x="188" y="195"/>
                </a:lnTo>
                <a:cubicBezTo>
                  <a:pt x="191" y="201"/>
                  <a:pt x="198" y="211"/>
                  <a:pt x="208" y="224"/>
                </a:cubicBezTo>
                <a:cubicBezTo>
                  <a:pt x="220" y="238"/>
                  <a:pt x="227" y="245"/>
                  <a:pt x="230" y="245"/>
                </a:cubicBezTo>
                <a:cubicBezTo>
                  <a:pt x="244" y="247"/>
                  <a:pt x="254" y="247"/>
                  <a:pt x="260" y="246"/>
                </a:cubicBezTo>
                <a:cubicBezTo>
                  <a:pt x="270" y="245"/>
                  <a:pt x="276" y="239"/>
                  <a:pt x="277" y="231"/>
                </a:cubicBezTo>
                <a:cubicBezTo>
                  <a:pt x="277" y="227"/>
                  <a:pt x="274" y="223"/>
                  <a:pt x="268" y="220"/>
                </a:cubicBezTo>
                <a:cubicBezTo>
                  <a:pt x="264" y="217"/>
                  <a:pt x="259" y="215"/>
                  <a:pt x="255" y="215"/>
                </a:cubicBezTo>
                <a:lnTo>
                  <a:pt x="255" y="215"/>
                </a:lnTo>
                <a:close/>
                <a:moveTo>
                  <a:pt x="345" y="274"/>
                </a:moveTo>
                <a:lnTo>
                  <a:pt x="345" y="274"/>
                </a:lnTo>
                <a:cubicBezTo>
                  <a:pt x="346" y="274"/>
                  <a:pt x="346" y="274"/>
                  <a:pt x="346" y="276"/>
                </a:cubicBezTo>
                <a:lnTo>
                  <a:pt x="365" y="267"/>
                </a:lnTo>
                <a:cubicBezTo>
                  <a:pt x="364" y="265"/>
                  <a:pt x="362" y="264"/>
                  <a:pt x="359" y="264"/>
                </a:cubicBezTo>
                <a:cubicBezTo>
                  <a:pt x="355" y="263"/>
                  <a:pt x="352" y="264"/>
                  <a:pt x="348" y="267"/>
                </a:cubicBezTo>
                <a:cubicBezTo>
                  <a:pt x="346" y="269"/>
                  <a:pt x="344" y="271"/>
                  <a:pt x="345" y="274"/>
                </a:cubicBezTo>
                <a:lnTo>
                  <a:pt x="345" y="274"/>
                </a:lnTo>
                <a:close/>
                <a:moveTo>
                  <a:pt x="713" y="1143"/>
                </a:moveTo>
                <a:lnTo>
                  <a:pt x="713" y="1143"/>
                </a:lnTo>
                <a:cubicBezTo>
                  <a:pt x="715" y="1140"/>
                  <a:pt x="716" y="1138"/>
                  <a:pt x="717" y="1137"/>
                </a:cubicBezTo>
                <a:cubicBezTo>
                  <a:pt x="715" y="1137"/>
                  <a:pt x="712" y="1136"/>
                  <a:pt x="709" y="1135"/>
                </a:cubicBezTo>
                <a:cubicBezTo>
                  <a:pt x="707" y="1134"/>
                  <a:pt x="705" y="1133"/>
                  <a:pt x="704" y="1133"/>
                </a:cubicBezTo>
                <a:cubicBezTo>
                  <a:pt x="706" y="1139"/>
                  <a:pt x="707" y="1144"/>
                  <a:pt x="709" y="1147"/>
                </a:cubicBezTo>
                <a:cubicBezTo>
                  <a:pt x="710" y="1146"/>
                  <a:pt x="712" y="1145"/>
                  <a:pt x="713" y="1143"/>
                </a:cubicBezTo>
                <a:lnTo>
                  <a:pt x="713" y="1143"/>
                </a:lnTo>
                <a:close/>
                <a:moveTo>
                  <a:pt x="683" y="986"/>
                </a:moveTo>
                <a:lnTo>
                  <a:pt x="683" y="986"/>
                </a:lnTo>
                <a:cubicBezTo>
                  <a:pt x="679" y="988"/>
                  <a:pt x="676" y="991"/>
                  <a:pt x="675" y="994"/>
                </a:cubicBezTo>
                <a:cubicBezTo>
                  <a:pt x="676" y="993"/>
                  <a:pt x="679" y="992"/>
                  <a:pt x="684" y="993"/>
                </a:cubicBezTo>
                <a:cubicBezTo>
                  <a:pt x="688" y="992"/>
                  <a:pt x="692" y="991"/>
                  <a:pt x="694" y="989"/>
                </a:cubicBezTo>
                <a:cubicBezTo>
                  <a:pt x="694" y="988"/>
                  <a:pt x="693" y="986"/>
                  <a:pt x="692" y="984"/>
                </a:cubicBezTo>
                <a:cubicBezTo>
                  <a:pt x="691" y="983"/>
                  <a:pt x="692" y="983"/>
                  <a:pt x="693" y="982"/>
                </a:cubicBezTo>
                <a:cubicBezTo>
                  <a:pt x="689" y="984"/>
                  <a:pt x="686" y="985"/>
                  <a:pt x="683" y="986"/>
                </a:cubicBezTo>
                <a:lnTo>
                  <a:pt x="683" y="986"/>
                </a:lnTo>
                <a:close/>
                <a:moveTo>
                  <a:pt x="1871" y="0"/>
                </a:moveTo>
                <a:lnTo>
                  <a:pt x="1871" y="0"/>
                </a:lnTo>
                <a:lnTo>
                  <a:pt x="1871" y="3978"/>
                </a:lnTo>
                <a:lnTo>
                  <a:pt x="1838" y="4008"/>
                </a:lnTo>
                <a:cubicBezTo>
                  <a:pt x="1837" y="4012"/>
                  <a:pt x="1836" y="4014"/>
                  <a:pt x="1831" y="4017"/>
                </a:cubicBezTo>
                <a:cubicBezTo>
                  <a:pt x="1825" y="4019"/>
                  <a:pt x="1820" y="4021"/>
                  <a:pt x="1818" y="4022"/>
                </a:cubicBezTo>
                <a:cubicBezTo>
                  <a:pt x="1813" y="4023"/>
                  <a:pt x="1808" y="4025"/>
                  <a:pt x="1806" y="4028"/>
                </a:cubicBezTo>
                <a:cubicBezTo>
                  <a:pt x="1803" y="4031"/>
                  <a:pt x="1800" y="4033"/>
                  <a:pt x="1794" y="4035"/>
                </a:cubicBezTo>
                <a:lnTo>
                  <a:pt x="1793" y="4035"/>
                </a:lnTo>
                <a:lnTo>
                  <a:pt x="1794" y="4032"/>
                </a:lnTo>
                <a:cubicBezTo>
                  <a:pt x="1794" y="4029"/>
                  <a:pt x="1795" y="4027"/>
                  <a:pt x="1795" y="4026"/>
                </a:cubicBezTo>
                <a:cubicBezTo>
                  <a:pt x="1795" y="4026"/>
                  <a:pt x="1795" y="4026"/>
                  <a:pt x="1795" y="4026"/>
                </a:cubicBezTo>
                <a:cubicBezTo>
                  <a:pt x="1793" y="4026"/>
                  <a:pt x="1789" y="4029"/>
                  <a:pt x="1785" y="4034"/>
                </a:cubicBezTo>
                <a:cubicBezTo>
                  <a:pt x="1781" y="4039"/>
                  <a:pt x="1777" y="4042"/>
                  <a:pt x="1774" y="4042"/>
                </a:cubicBezTo>
                <a:cubicBezTo>
                  <a:pt x="1770" y="4043"/>
                  <a:pt x="1766" y="4045"/>
                  <a:pt x="1762" y="4048"/>
                </a:cubicBezTo>
                <a:cubicBezTo>
                  <a:pt x="1758" y="4041"/>
                  <a:pt x="1756" y="4036"/>
                  <a:pt x="1756" y="4034"/>
                </a:cubicBezTo>
                <a:cubicBezTo>
                  <a:pt x="1756" y="4031"/>
                  <a:pt x="1758" y="4028"/>
                  <a:pt x="1760" y="4024"/>
                </a:cubicBezTo>
                <a:cubicBezTo>
                  <a:pt x="1762" y="4022"/>
                  <a:pt x="1764" y="4019"/>
                  <a:pt x="1768" y="4014"/>
                </a:cubicBezTo>
                <a:cubicBezTo>
                  <a:pt x="1759" y="4013"/>
                  <a:pt x="1753" y="4013"/>
                  <a:pt x="1750" y="4013"/>
                </a:cubicBezTo>
                <a:lnTo>
                  <a:pt x="1751" y="4003"/>
                </a:lnTo>
                <a:cubicBezTo>
                  <a:pt x="1753" y="4001"/>
                  <a:pt x="1754" y="4000"/>
                  <a:pt x="1754" y="3998"/>
                </a:cubicBezTo>
                <a:cubicBezTo>
                  <a:pt x="1753" y="3994"/>
                  <a:pt x="1751" y="3988"/>
                  <a:pt x="1750" y="3984"/>
                </a:cubicBezTo>
                <a:cubicBezTo>
                  <a:pt x="1748" y="3974"/>
                  <a:pt x="1747" y="3968"/>
                  <a:pt x="1747" y="3966"/>
                </a:cubicBezTo>
                <a:cubicBezTo>
                  <a:pt x="1748" y="3958"/>
                  <a:pt x="1751" y="3954"/>
                  <a:pt x="1756" y="3953"/>
                </a:cubicBezTo>
                <a:cubicBezTo>
                  <a:pt x="1758" y="3952"/>
                  <a:pt x="1761" y="3952"/>
                  <a:pt x="1766" y="3952"/>
                </a:cubicBezTo>
                <a:cubicBezTo>
                  <a:pt x="1771" y="3951"/>
                  <a:pt x="1775" y="3950"/>
                  <a:pt x="1779" y="3948"/>
                </a:cubicBezTo>
                <a:cubicBezTo>
                  <a:pt x="1779" y="3946"/>
                  <a:pt x="1778" y="3945"/>
                  <a:pt x="1779" y="3942"/>
                </a:cubicBezTo>
                <a:cubicBezTo>
                  <a:pt x="1779" y="3940"/>
                  <a:pt x="1782" y="3937"/>
                  <a:pt x="1788" y="3935"/>
                </a:cubicBezTo>
                <a:cubicBezTo>
                  <a:pt x="1793" y="3932"/>
                  <a:pt x="1796" y="3930"/>
                  <a:pt x="1797" y="3928"/>
                </a:cubicBezTo>
                <a:cubicBezTo>
                  <a:pt x="1795" y="3917"/>
                  <a:pt x="1795" y="3911"/>
                  <a:pt x="1795" y="3908"/>
                </a:cubicBezTo>
                <a:cubicBezTo>
                  <a:pt x="1795" y="3907"/>
                  <a:pt x="1795" y="3906"/>
                  <a:pt x="1794" y="3905"/>
                </a:cubicBezTo>
                <a:cubicBezTo>
                  <a:pt x="1794" y="3904"/>
                  <a:pt x="1793" y="3903"/>
                  <a:pt x="1793" y="3902"/>
                </a:cubicBezTo>
                <a:cubicBezTo>
                  <a:pt x="1794" y="3900"/>
                  <a:pt x="1798" y="3897"/>
                  <a:pt x="1807" y="3894"/>
                </a:cubicBezTo>
                <a:cubicBezTo>
                  <a:pt x="1816" y="3891"/>
                  <a:pt x="1822" y="3890"/>
                  <a:pt x="1825" y="3890"/>
                </a:cubicBezTo>
                <a:cubicBezTo>
                  <a:pt x="1826" y="3891"/>
                  <a:pt x="1838" y="3895"/>
                  <a:pt x="1838" y="3895"/>
                </a:cubicBezTo>
                <a:lnTo>
                  <a:pt x="1846" y="3743"/>
                </a:lnTo>
                <a:cubicBezTo>
                  <a:pt x="1847" y="3739"/>
                  <a:pt x="1846" y="3735"/>
                  <a:pt x="1846" y="3729"/>
                </a:cubicBezTo>
                <a:cubicBezTo>
                  <a:pt x="1844" y="3724"/>
                  <a:pt x="1844" y="3719"/>
                  <a:pt x="1845" y="3716"/>
                </a:cubicBezTo>
                <a:lnTo>
                  <a:pt x="1838" y="3552"/>
                </a:lnTo>
                <a:cubicBezTo>
                  <a:pt x="1838" y="3552"/>
                  <a:pt x="1832" y="3552"/>
                  <a:pt x="1829" y="3561"/>
                </a:cubicBezTo>
                <a:cubicBezTo>
                  <a:pt x="1829" y="3563"/>
                  <a:pt x="1828" y="3564"/>
                  <a:pt x="1827" y="3565"/>
                </a:cubicBezTo>
                <a:cubicBezTo>
                  <a:pt x="1826" y="3568"/>
                  <a:pt x="1824" y="3570"/>
                  <a:pt x="1823" y="3572"/>
                </a:cubicBezTo>
                <a:cubicBezTo>
                  <a:pt x="1820" y="3576"/>
                  <a:pt x="1817" y="3577"/>
                  <a:pt x="1815" y="3577"/>
                </a:cubicBezTo>
                <a:cubicBezTo>
                  <a:pt x="1814" y="3577"/>
                  <a:pt x="1813" y="3576"/>
                  <a:pt x="1810" y="3574"/>
                </a:cubicBezTo>
                <a:cubicBezTo>
                  <a:pt x="1808" y="3572"/>
                  <a:pt x="1807" y="3572"/>
                  <a:pt x="1806" y="3572"/>
                </a:cubicBezTo>
                <a:cubicBezTo>
                  <a:pt x="1799" y="3573"/>
                  <a:pt x="1794" y="3573"/>
                  <a:pt x="1792" y="3573"/>
                </a:cubicBezTo>
                <a:cubicBezTo>
                  <a:pt x="1790" y="3573"/>
                  <a:pt x="1787" y="3570"/>
                  <a:pt x="1783" y="3565"/>
                </a:cubicBezTo>
                <a:cubicBezTo>
                  <a:pt x="1780" y="3561"/>
                  <a:pt x="1776" y="3558"/>
                  <a:pt x="1771" y="3557"/>
                </a:cubicBezTo>
                <a:cubicBezTo>
                  <a:pt x="1769" y="3558"/>
                  <a:pt x="1767" y="3559"/>
                  <a:pt x="1766" y="3559"/>
                </a:cubicBezTo>
                <a:cubicBezTo>
                  <a:pt x="1763" y="3557"/>
                  <a:pt x="1761" y="3556"/>
                  <a:pt x="1760" y="3556"/>
                </a:cubicBezTo>
                <a:cubicBezTo>
                  <a:pt x="1759" y="3556"/>
                  <a:pt x="1757" y="3557"/>
                  <a:pt x="1754" y="3559"/>
                </a:cubicBezTo>
                <a:cubicBezTo>
                  <a:pt x="1751" y="3561"/>
                  <a:pt x="1749" y="3562"/>
                  <a:pt x="1747" y="3562"/>
                </a:cubicBezTo>
                <a:cubicBezTo>
                  <a:pt x="1743" y="3561"/>
                  <a:pt x="1739" y="3558"/>
                  <a:pt x="1734" y="3553"/>
                </a:cubicBezTo>
                <a:cubicBezTo>
                  <a:pt x="1730" y="3547"/>
                  <a:pt x="1726" y="3544"/>
                  <a:pt x="1721" y="3544"/>
                </a:cubicBezTo>
                <a:cubicBezTo>
                  <a:pt x="1720" y="3544"/>
                  <a:pt x="1719" y="3545"/>
                  <a:pt x="1718" y="3547"/>
                </a:cubicBezTo>
                <a:cubicBezTo>
                  <a:pt x="1718" y="3549"/>
                  <a:pt x="1717" y="3551"/>
                  <a:pt x="1716" y="3555"/>
                </a:cubicBezTo>
                <a:cubicBezTo>
                  <a:pt x="1713" y="3562"/>
                  <a:pt x="1708" y="3565"/>
                  <a:pt x="1701" y="3565"/>
                </a:cubicBezTo>
                <a:cubicBezTo>
                  <a:pt x="1696" y="3558"/>
                  <a:pt x="1692" y="3555"/>
                  <a:pt x="1688" y="3554"/>
                </a:cubicBezTo>
                <a:cubicBezTo>
                  <a:pt x="1687" y="3554"/>
                  <a:pt x="1685" y="3555"/>
                  <a:pt x="1684" y="3556"/>
                </a:cubicBezTo>
                <a:cubicBezTo>
                  <a:pt x="1682" y="3557"/>
                  <a:pt x="1681" y="3557"/>
                  <a:pt x="1680" y="3557"/>
                </a:cubicBezTo>
                <a:cubicBezTo>
                  <a:pt x="1676" y="3557"/>
                  <a:pt x="1673" y="3555"/>
                  <a:pt x="1671" y="3553"/>
                </a:cubicBezTo>
                <a:cubicBezTo>
                  <a:pt x="1668" y="3550"/>
                  <a:pt x="1666" y="3548"/>
                  <a:pt x="1664" y="3547"/>
                </a:cubicBezTo>
                <a:cubicBezTo>
                  <a:pt x="1663" y="3548"/>
                  <a:pt x="1660" y="3549"/>
                  <a:pt x="1655" y="3552"/>
                </a:cubicBezTo>
                <a:cubicBezTo>
                  <a:pt x="1651" y="3554"/>
                  <a:pt x="1647" y="3555"/>
                  <a:pt x="1646" y="3555"/>
                </a:cubicBezTo>
                <a:cubicBezTo>
                  <a:pt x="1643" y="3552"/>
                  <a:pt x="1641" y="3551"/>
                  <a:pt x="1640" y="3551"/>
                </a:cubicBezTo>
                <a:cubicBezTo>
                  <a:pt x="1638" y="3550"/>
                  <a:pt x="1637" y="3551"/>
                  <a:pt x="1635" y="3551"/>
                </a:cubicBezTo>
                <a:cubicBezTo>
                  <a:pt x="1634" y="3552"/>
                  <a:pt x="1632" y="3552"/>
                  <a:pt x="1631" y="3552"/>
                </a:cubicBezTo>
                <a:cubicBezTo>
                  <a:pt x="1630" y="3552"/>
                  <a:pt x="1628" y="3550"/>
                  <a:pt x="1626" y="3547"/>
                </a:cubicBezTo>
                <a:cubicBezTo>
                  <a:pt x="1623" y="3544"/>
                  <a:pt x="1622" y="3542"/>
                  <a:pt x="1622" y="3542"/>
                </a:cubicBezTo>
                <a:cubicBezTo>
                  <a:pt x="1621" y="3542"/>
                  <a:pt x="1618" y="3543"/>
                  <a:pt x="1614" y="3544"/>
                </a:cubicBezTo>
                <a:cubicBezTo>
                  <a:pt x="1609" y="3546"/>
                  <a:pt x="1607" y="3547"/>
                  <a:pt x="1607" y="3548"/>
                </a:cubicBezTo>
                <a:cubicBezTo>
                  <a:pt x="1611" y="3559"/>
                  <a:pt x="1613" y="3566"/>
                  <a:pt x="1613" y="3566"/>
                </a:cubicBezTo>
                <a:cubicBezTo>
                  <a:pt x="1612" y="3568"/>
                  <a:pt x="1607" y="3571"/>
                  <a:pt x="1596" y="3576"/>
                </a:cubicBezTo>
                <a:cubicBezTo>
                  <a:pt x="1595" y="3574"/>
                  <a:pt x="1593" y="3571"/>
                  <a:pt x="1591" y="3568"/>
                </a:cubicBezTo>
                <a:cubicBezTo>
                  <a:pt x="1586" y="3563"/>
                  <a:pt x="1581" y="3561"/>
                  <a:pt x="1576" y="3560"/>
                </a:cubicBezTo>
                <a:cubicBezTo>
                  <a:pt x="1572" y="3561"/>
                  <a:pt x="1569" y="3561"/>
                  <a:pt x="1564" y="3560"/>
                </a:cubicBezTo>
                <a:cubicBezTo>
                  <a:pt x="1559" y="3560"/>
                  <a:pt x="1553" y="3557"/>
                  <a:pt x="1545" y="3551"/>
                </a:cubicBezTo>
                <a:cubicBezTo>
                  <a:pt x="1537" y="3545"/>
                  <a:pt x="1533" y="3540"/>
                  <a:pt x="1533" y="3537"/>
                </a:cubicBezTo>
                <a:cubicBezTo>
                  <a:pt x="1536" y="3533"/>
                  <a:pt x="1537" y="3529"/>
                  <a:pt x="1537" y="3527"/>
                </a:cubicBezTo>
                <a:cubicBezTo>
                  <a:pt x="1538" y="3523"/>
                  <a:pt x="1536" y="3521"/>
                  <a:pt x="1532" y="3521"/>
                </a:cubicBezTo>
                <a:cubicBezTo>
                  <a:pt x="1525" y="3521"/>
                  <a:pt x="1521" y="3521"/>
                  <a:pt x="1519" y="3521"/>
                </a:cubicBezTo>
                <a:cubicBezTo>
                  <a:pt x="1516" y="3521"/>
                  <a:pt x="1513" y="3518"/>
                  <a:pt x="1512" y="3514"/>
                </a:cubicBezTo>
                <a:cubicBezTo>
                  <a:pt x="1510" y="3510"/>
                  <a:pt x="1507" y="3508"/>
                  <a:pt x="1504" y="3508"/>
                </a:cubicBezTo>
                <a:cubicBezTo>
                  <a:pt x="1500" y="3507"/>
                  <a:pt x="1496" y="3509"/>
                  <a:pt x="1492" y="3512"/>
                </a:cubicBezTo>
                <a:cubicBezTo>
                  <a:pt x="1491" y="3514"/>
                  <a:pt x="1488" y="3517"/>
                  <a:pt x="1484" y="3522"/>
                </a:cubicBezTo>
                <a:cubicBezTo>
                  <a:pt x="1481" y="3527"/>
                  <a:pt x="1478" y="3530"/>
                  <a:pt x="1475" y="3532"/>
                </a:cubicBezTo>
                <a:cubicBezTo>
                  <a:pt x="1473" y="3535"/>
                  <a:pt x="1471" y="3536"/>
                  <a:pt x="1470" y="3537"/>
                </a:cubicBezTo>
                <a:cubicBezTo>
                  <a:pt x="1467" y="3535"/>
                  <a:pt x="1465" y="3535"/>
                  <a:pt x="1464" y="3535"/>
                </a:cubicBezTo>
                <a:cubicBezTo>
                  <a:pt x="1460" y="3536"/>
                  <a:pt x="1453" y="3541"/>
                  <a:pt x="1441" y="3551"/>
                </a:cubicBezTo>
                <a:cubicBezTo>
                  <a:pt x="1440" y="3552"/>
                  <a:pt x="1437" y="3556"/>
                  <a:pt x="1434" y="3562"/>
                </a:cubicBezTo>
                <a:cubicBezTo>
                  <a:pt x="1432" y="3566"/>
                  <a:pt x="1429" y="3569"/>
                  <a:pt x="1426" y="3568"/>
                </a:cubicBezTo>
                <a:cubicBezTo>
                  <a:pt x="1424" y="3569"/>
                  <a:pt x="1423" y="3569"/>
                  <a:pt x="1422" y="3569"/>
                </a:cubicBezTo>
                <a:cubicBezTo>
                  <a:pt x="1420" y="3569"/>
                  <a:pt x="1418" y="3566"/>
                  <a:pt x="1417" y="3561"/>
                </a:cubicBezTo>
                <a:lnTo>
                  <a:pt x="1400" y="3560"/>
                </a:lnTo>
                <a:cubicBezTo>
                  <a:pt x="1399" y="3566"/>
                  <a:pt x="1396" y="3568"/>
                  <a:pt x="1391" y="3568"/>
                </a:cubicBezTo>
                <a:cubicBezTo>
                  <a:pt x="1388" y="3565"/>
                  <a:pt x="1385" y="3562"/>
                  <a:pt x="1381" y="3560"/>
                </a:cubicBezTo>
                <a:cubicBezTo>
                  <a:pt x="1373" y="3554"/>
                  <a:pt x="1365" y="3551"/>
                  <a:pt x="1356" y="3550"/>
                </a:cubicBezTo>
                <a:cubicBezTo>
                  <a:pt x="1350" y="3549"/>
                  <a:pt x="1346" y="3550"/>
                  <a:pt x="1343" y="3551"/>
                </a:cubicBezTo>
                <a:cubicBezTo>
                  <a:pt x="1339" y="3554"/>
                  <a:pt x="1335" y="3556"/>
                  <a:pt x="1330" y="3558"/>
                </a:cubicBezTo>
                <a:cubicBezTo>
                  <a:pt x="1329" y="3559"/>
                  <a:pt x="1327" y="3563"/>
                  <a:pt x="1323" y="3569"/>
                </a:cubicBezTo>
                <a:cubicBezTo>
                  <a:pt x="1319" y="3575"/>
                  <a:pt x="1317" y="3578"/>
                  <a:pt x="1316" y="3578"/>
                </a:cubicBezTo>
                <a:cubicBezTo>
                  <a:pt x="1314" y="3578"/>
                  <a:pt x="1309" y="3571"/>
                  <a:pt x="1302" y="3557"/>
                </a:cubicBezTo>
                <a:cubicBezTo>
                  <a:pt x="1298" y="3558"/>
                  <a:pt x="1294" y="3559"/>
                  <a:pt x="1291" y="3560"/>
                </a:cubicBezTo>
                <a:cubicBezTo>
                  <a:pt x="1286" y="3556"/>
                  <a:pt x="1283" y="3553"/>
                  <a:pt x="1280" y="3549"/>
                </a:cubicBezTo>
                <a:cubicBezTo>
                  <a:pt x="1276" y="3544"/>
                  <a:pt x="1274" y="3540"/>
                  <a:pt x="1274" y="3536"/>
                </a:cubicBezTo>
                <a:cubicBezTo>
                  <a:pt x="1275" y="3536"/>
                  <a:pt x="1276" y="3534"/>
                  <a:pt x="1279" y="3532"/>
                </a:cubicBezTo>
                <a:cubicBezTo>
                  <a:pt x="1281" y="3529"/>
                  <a:pt x="1283" y="3527"/>
                  <a:pt x="1283" y="3526"/>
                </a:cubicBezTo>
                <a:cubicBezTo>
                  <a:pt x="1283" y="3525"/>
                  <a:pt x="1281" y="3521"/>
                  <a:pt x="1276" y="3512"/>
                </a:cubicBezTo>
                <a:cubicBezTo>
                  <a:pt x="1275" y="3511"/>
                  <a:pt x="1273" y="3510"/>
                  <a:pt x="1270" y="3509"/>
                </a:cubicBezTo>
                <a:cubicBezTo>
                  <a:pt x="1267" y="3508"/>
                  <a:pt x="1266" y="3506"/>
                  <a:pt x="1265" y="3503"/>
                </a:cubicBezTo>
                <a:cubicBezTo>
                  <a:pt x="1265" y="3500"/>
                  <a:pt x="1261" y="3496"/>
                  <a:pt x="1255" y="3489"/>
                </a:cubicBezTo>
                <a:cubicBezTo>
                  <a:pt x="1249" y="3483"/>
                  <a:pt x="1246" y="3480"/>
                  <a:pt x="1246" y="3480"/>
                </a:cubicBezTo>
                <a:lnTo>
                  <a:pt x="1251" y="3469"/>
                </a:lnTo>
                <a:cubicBezTo>
                  <a:pt x="1252" y="3468"/>
                  <a:pt x="1251" y="3467"/>
                  <a:pt x="1251" y="3465"/>
                </a:cubicBezTo>
                <a:cubicBezTo>
                  <a:pt x="1250" y="3464"/>
                  <a:pt x="1249" y="3463"/>
                  <a:pt x="1248" y="3463"/>
                </a:cubicBezTo>
                <a:cubicBezTo>
                  <a:pt x="1247" y="3463"/>
                  <a:pt x="1244" y="3464"/>
                  <a:pt x="1239" y="3466"/>
                </a:cubicBezTo>
                <a:cubicBezTo>
                  <a:pt x="1235" y="3469"/>
                  <a:pt x="1232" y="3470"/>
                  <a:pt x="1230" y="3470"/>
                </a:cubicBezTo>
                <a:cubicBezTo>
                  <a:pt x="1228" y="3470"/>
                  <a:pt x="1226" y="3468"/>
                  <a:pt x="1223" y="3464"/>
                </a:cubicBezTo>
                <a:cubicBezTo>
                  <a:pt x="1219" y="3460"/>
                  <a:pt x="1218" y="3458"/>
                  <a:pt x="1218" y="3458"/>
                </a:cubicBezTo>
                <a:cubicBezTo>
                  <a:pt x="1214" y="3449"/>
                  <a:pt x="1211" y="3444"/>
                  <a:pt x="1208" y="3443"/>
                </a:cubicBezTo>
                <a:cubicBezTo>
                  <a:pt x="1204" y="3443"/>
                  <a:pt x="1198" y="3446"/>
                  <a:pt x="1192" y="3452"/>
                </a:cubicBezTo>
                <a:cubicBezTo>
                  <a:pt x="1185" y="3458"/>
                  <a:pt x="1181" y="3460"/>
                  <a:pt x="1177" y="3460"/>
                </a:cubicBezTo>
                <a:cubicBezTo>
                  <a:pt x="1172" y="3459"/>
                  <a:pt x="1169" y="3458"/>
                  <a:pt x="1166" y="3457"/>
                </a:cubicBezTo>
                <a:cubicBezTo>
                  <a:pt x="1154" y="3459"/>
                  <a:pt x="1147" y="3460"/>
                  <a:pt x="1145" y="3460"/>
                </a:cubicBezTo>
                <a:cubicBezTo>
                  <a:pt x="1141" y="3459"/>
                  <a:pt x="1138" y="3459"/>
                  <a:pt x="1135" y="3461"/>
                </a:cubicBezTo>
                <a:cubicBezTo>
                  <a:pt x="1132" y="3464"/>
                  <a:pt x="1129" y="3465"/>
                  <a:pt x="1127" y="3465"/>
                </a:cubicBezTo>
                <a:cubicBezTo>
                  <a:pt x="1125" y="3464"/>
                  <a:pt x="1124" y="3464"/>
                  <a:pt x="1123" y="3464"/>
                </a:cubicBezTo>
                <a:lnTo>
                  <a:pt x="1123" y="3461"/>
                </a:lnTo>
                <a:cubicBezTo>
                  <a:pt x="1125" y="3460"/>
                  <a:pt x="1126" y="3456"/>
                  <a:pt x="1127" y="3450"/>
                </a:cubicBezTo>
                <a:cubicBezTo>
                  <a:pt x="1127" y="3446"/>
                  <a:pt x="1126" y="3444"/>
                  <a:pt x="1123" y="3444"/>
                </a:cubicBezTo>
                <a:cubicBezTo>
                  <a:pt x="1120" y="3444"/>
                  <a:pt x="1118" y="3442"/>
                  <a:pt x="1118" y="3438"/>
                </a:cubicBezTo>
                <a:cubicBezTo>
                  <a:pt x="1118" y="3433"/>
                  <a:pt x="1117" y="3428"/>
                  <a:pt x="1114" y="3423"/>
                </a:cubicBezTo>
                <a:cubicBezTo>
                  <a:pt x="1112" y="3419"/>
                  <a:pt x="1110" y="3417"/>
                  <a:pt x="1109" y="3415"/>
                </a:cubicBezTo>
                <a:cubicBezTo>
                  <a:pt x="1107" y="3411"/>
                  <a:pt x="1106" y="3409"/>
                  <a:pt x="1104" y="3409"/>
                </a:cubicBezTo>
                <a:cubicBezTo>
                  <a:pt x="1101" y="3407"/>
                  <a:pt x="1099" y="3406"/>
                  <a:pt x="1097" y="3405"/>
                </a:cubicBezTo>
                <a:cubicBezTo>
                  <a:pt x="1093" y="3403"/>
                  <a:pt x="1091" y="3401"/>
                  <a:pt x="1092" y="3400"/>
                </a:cubicBezTo>
                <a:cubicBezTo>
                  <a:pt x="1092" y="3398"/>
                  <a:pt x="1094" y="3395"/>
                  <a:pt x="1099" y="3392"/>
                </a:cubicBezTo>
                <a:cubicBezTo>
                  <a:pt x="1101" y="3391"/>
                  <a:pt x="1103" y="3390"/>
                  <a:pt x="1105" y="3389"/>
                </a:cubicBezTo>
                <a:cubicBezTo>
                  <a:pt x="1105" y="3389"/>
                  <a:pt x="1106" y="3389"/>
                  <a:pt x="1106" y="3389"/>
                </a:cubicBezTo>
                <a:cubicBezTo>
                  <a:pt x="1106" y="3388"/>
                  <a:pt x="1106" y="3388"/>
                  <a:pt x="1106" y="3388"/>
                </a:cubicBezTo>
                <a:cubicBezTo>
                  <a:pt x="1107" y="3385"/>
                  <a:pt x="1109" y="3383"/>
                  <a:pt x="1114" y="3381"/>
                </a:cubicBezTo>
                <a:cubicBezTo>
                  <a:pt x="1120" y="3378"/>
                  <a:pt x="1124" y="3375"/>
                  <a:pt x="1124" y="3372"/>
                </a:cubicBezTo>
                <a:cubicBezTo>
                  <a:pt x="1124" y="3369"/>
                  <a:pt x="1123" y="3366"/>
                  <a:pt x="1121" y="3364"/>
                </a:cubicBezTo>
                <a:cubicBezTo>
                  <a:pt x="1119" y="3361"/>
                  <a:pt x="1118" y="3359"/>
                  <a:pt x="1115" y="3357"/>
                </a:cubicBezTo>
                <a:cubicBezTo>
                  <a:pt x="1114" y="3355"/>
                  <a:pt x="1108" y="3352"/>
                  <a:pt x="1098" y="3349"/>
                </a:cubicBezTo>
                <a:cubicBezTo>
                  <a:pt x="1089" y="3348"/>
                  <a:pt x="1083" y="3346"/>
                  <a:pt x="1081" y="3343"/>
                </a:cubicBezTo>
                <a:cubicBezTo>
                  <a:pt x="1079" y="3338"/>
                  <a:pt x="1076" y="3334"/>
                  <a:pt x="1074" y="3331"/>
                </a:cubicBezTo>
                <a:cubicBezTo>
                  <a:pt x="1069" y="3324"/>
                  <a:pt x="1067" y="3318"/>
                  <a:pt x="1069" y="3313"/>
                </a:cubicBezTo>
                <a:cubicBezTo>
                  <a:pt x="1071" y="3307"/>
                  <a:pt x="1068" y="3303"/>
                  <a:pt x="1060" y="3301"/>
                </a:cubicBezTo>
                <a:cubicBezTo>
                  <a:pt x="1055" y="3300"/>
                  <a:pt x="1050" y="3297"/>
                  <a:pt x="1044" y="3291"/>
                </a:cubicBezTo>
                <a:cubicBezTo>
                  <a:pt x="1038" y="3286"/>
                  <a:pt x="1033" y="3283"/>
                  <a:pt x="1027" y="3282"/>
                </a:cubicBezTo>
                <a:cubicBezTo>
                  <a:pt x="1022" y="3282"/>
                  <a:pt x="1018" y="3284"/>
                  <a:pt x="1014" y="3289"/>
                </a:cubicBezTo>
                <a:cubicBezTo>
                  <a:pt x="1011" y="3294"/>
                  <a:pt x="1008" y="3296"/>
                  <a:pt x="1006" y="3296"/>
                </a:cubicBezTo>
                <a:cubicBezTo>
                  <a:pt x="1006" y="3296"/>
                  <a:pt x="1004" y="3295"/>
                  <a:pt x="1002" y="3293"/>
                </a:cubicBezTo>
                <a:cubicBezTo>
                  <a:pt x="1000" y="3291"/>
                  <a:pt x="998" y="3290"/>
                  <a:pt x="997" y="3290"/>
                </a:cubicBezTo>
                <a:cubicBezTo>
                  <a:pt x="989" y="3293"/>
                  <a:pt x="984" y="3294"/>
                  <a:pt x="982" y="3294"/>
                </a:cubicBezTo>
                <a:lnTo>
                  <a:pt x="965" y="3292"/>
                </a:lnTo>
                <a:cubicBezTo>
                  <a:pt x="965" y="3292"/>
                  <a:pt x="965" y="3293"/>
                  <a:pt x="964" y="3293"/>
                </a:cubicBezTo>
                <a:cubicBezTo>
                  <a:pt x="965" y="3295"/>
                  <a:pt x="966" y="3297"/>
                  <a:pt x="967" y="3298"/>
                </a:cubicBezTo>
                <a:cubicBezTo>
                  <a:pt x="967" y="3298"/>
                  <a:pt x="964" y="3300"/>
                  <a:pt x="957" y="3305"/>
                </a:cubicBezTo>
                <a:cubicBezTo>
                  <a:pt x="950" y="3309"/>
                  <a:pt x="946" y="3312"/>
                  <a:pt x="945" y="3314"/>
                </a:cubicBezTo>
                <a:cubicBezTo>
                  <a:pt x="943" y="3317"/>
                  <a:pt x="941" y="3320"/>
                  <a:pt x="940" y="3321"/>
                </a:cubicBezTo>
                <a:cubicBezTo>
                  <a:pt x="939" y="3322"/>
                  <a:pt x="937" y="3323"/>
                  <a:pt x="934" y="3322"/>
                </a:cubicBezTo>
                <a:cubicBezTo>
                  <a:pt x="928" y="3323"/>
                  <a:pt x="924" y="3323"/>
                  <a:pt x="920" y="3323"/>
                </a:cubicBezTo>
                <a:cubicBezTo>
                  <a:pt x="917" y="3323"/>
                  <a:pt x="914" y="3322"/>
                  <a:pt x="911" y="3320"/>
                </a:cubicBezTo>
                <a:cubicBezTo>
                  <a:pt x="907" y="3319"/>
                  <a:pt x="905" y="3318"/>
                  <a:pt x="903" y="3317"/>
                </a:cubicBezTo>
                <a:cubicBezTo>
                  <a:pt x="900" y="3317"/>
                  <a:pt x="896" y="3318"/>
                  <a:pt x="892" y="3319"/>
                </a:cubicBezTo>
                <a:cubicBezTo>
                  <a:pt x="886" y="3321"/>
                  <a:pt x="882" y="3322"/>
                  <a:pt x="880" y="3322"/>
                </a:cubicBezTo>
                <a:cubicBezTo>
                  <a:pt x="881" y="3327"/>
                  <a:pt x="883" y="3332"/>
                  <a:pt x="886" y="3337"/>
                </a:cubicBezTo>
                <a:cubicBezTo>
                  <a:pt x="886" y="3338"/>
                  <a:pt x="885" y="3340"/>
                  <a:pt x="883" y="3342"/>
                </a:cubicBezTo>
                <a:cubicBezTo>
                  <a:pt x="882" y="3345"/>
                  <a:pt x="881" y="3347"/>
                  <a:pt x="880" y="3349"/>
                </a:cubicBezTo>
                <a:cubicBezTo>
                  <a:pt x="880" y="3351"/>
                  <a:pt x="880" y="3353"/>
                  <a:pt x="880" y="3357"/>
                </a:cubicBezTo>
                <a:cubicBezTo>
                  <a:pt x="880" y="3360"/>
                  <a:pt x="879" y="3362"/>
                  <a:pt x="878" y="3364"/>
                </a:cubicBezTo>
                <a:cubicBezTo>
                  <a:pt x="873" y="3369"/>
                  <a:pt x="869" y="3373"/>
                  <a:pt x="867" y="3374"/>
                </a:cubicBezTo>
                <a:cubicBezTo>
                  <a:pt x="864" y="3376"/>
                  <a:pt x="860" y="3377"/>
                  <a:pt x="857" y="3377"/>
                </a:cubicBezTo>
                <a:cubicBezTo>
                  <a:pt x="855" y="3377"/>
                  <a:pt x="852" y="3377"/>
                  <a:pt x="850" y="3378"/>
                </a:cubicBezTo>
                <a:cubicBezTo>
                  <a:pt x="847" y="3379"/>
                  <a:pt x="844" y="3380"/>
                  <a:pt x="842" y="3379"/>
                </a:cubicBezTo>
                <a:cubicBezTo>
                  <a:pt x="838" y="3376"/>
                  <a:pt x="834" y="3374"/>
                  <a:pt x="830" y="3371"/>
                </a:cubicBezTo>
                <a:cubicBezTo>
                  <a:pt x="823" y="3367"/>
                  <a:pt x="819" y="3364"/>
                  <a:pt x="816" y="3363"/>
                </a:cubicBezTo>
                <a:cubicBezTo>
                  <a:pt x="815" y="3362"/>
                  <a:pt x="815" y="3361"/>
                  <a:pt x="814" y="3360"/>
                </a:cubicBezTo>
                <a:cubicBezTo>
                  <a:pt x="814" y="3359"/>
                  <a:pt x="813" y="3358"/>
                  <a:pt x="813" y="3356"/>
                </a:cubicBezTo>
                <a:cubicBezTo>
                  <a:pt x="809" y="3349"/>
                  <a:pt x="804" y="3345"/>
                  <a:pt x="799" y="3344"/>
                </a:cubicBezTo>
                <a:cubicBezTo>
                  <a:pt x="798" y="3341"/>
                  <a:pt x="798" y="3336"/>
                  <a:pt x="799" y="3330"/>
                </a:cubicBezTo>
                <a:cubicBezTo>
                  <a:pt x="798" y="3327"/>
                  <a:pt x="797" y="3325"/>
                  <a:pt x="797" y="3324"/>
                </a:cubicBezTo>
                <a:cubicBezTo>
                  <a:pt x="797" y="3319"/>
                  <a:pt x="796" y="3316"/>
                  <a:pt x="796" y="3315"/>
                </a:cubicBezTo>
                <a:cubicBezTo>
                  <a:pt x="794" y="3311"/>
                  <a:pt x="793" y="3309"/>
                  <a:pt x="794" y="3307"/>
                </a:cubicBezTo>
                <a:cubicBezTo>
                  <a:pt x="793" y="3301"/>
                  <a:pt x="793" y="3297"/>
                  <a:pt x="793" y="3296"/>
                </a:cubicBezTo>
                <a:cubicBezTo>
                  <a:pt x="793" y="3296"/>
                  <a:pt x="793" y="3296"/>
                  <a:pt x="793" y="3296"/>
                </a:cubicBezTo>
                <a:cubicBezTo>
                  <a:pt x="783" y="3286"/>
                  <a:pt x="778" y="3281"/>
                  <a:pt x="778" y="3281"/>
                </a:cubicBezTo>
                <a:cubicBezTo>
                  <a:pt x="782" y="3276"/>
                  <a:pt x="784" y="3274"/>
                  <a:pt x="784" y="3273"/>
                </a:cubicBezTo>
                <a:cubicBezTo>
                  <a:pt x="784" y="3267"/>
                  <a:pt x="783" y="3262"/>
                  <a:pt x="778" y="3257"/>
                </a:cubicBezTo>
                <a:cubicBezTo>
                  <a:pt x="776" y="3254"/>
                  <a:pt x="771" y="3251"/>
                  <a:pt x="764" y="3246"/>
                </a:cubicBezTo>
                <a:cubicBezTo>
                  <a:pt x="757" y="3242"/>
                  <a:pt x="753" y="3238"/>
                  <a:pt x="750" y="3235"/>
                </a:cubicBezTo>
                <a:cubicBezTo>
                  <a:pt x="746" y="3231"/>
                  <a:pt x="744" y="3225"/>
                  <a:pt x="745" y="3220"/>
                </a:cubicBezTo>
                <a:cubicBezTo>
                  <a:pt x="746" y="3205"/>
                  <a:pt x="748" y="3195"/>
                  <a:pt x="751" y="3191"/>
                </a:cubicBezTo>
                <a:cubicBezTo>
                  <a:pt x="756" y="3184"/>
                  <a:pt x="764" y="3181"/>
                  <a:pt x="778" y="3183"/>
                </a:cubicBezTo>
                <a:cubicBezTo>
                  <a:pt x="782" y="3183"/>
                  <a:pt x="786" y="3185"/>
                  <a:pt x="790" y="3189"/>
                </a:cubicBezTo>
                <a:cubicBezTo>
                  <a:pt x="794" y="3193"/>
                  <a:pt x="798" y="3196"/>
                  <a:pt x="802" y="3196"/>
                </a:cubicBezTo>
                <a:cubicBezTo>
                  <a:pt x="802" y="3196"/>
                  <a:pt x="806" y="3195"/>
                  <a:pt x="814" y="3195"/>
                </a:cubicBezTo>
                <a:cubicBezTo>
                  <a:pt x="821" y="3194"/>
                  <a:pt x="828" y="3194"/>
                  <a:pt x="833" y="3194"/>
                </a:cubicBezTo>
                <a:cubicBezTo>
                  <a:pt x="836" y="3189"/>
                  <a:pt x="842" y="3183"/>
                  <a:pt x="851" y="3175"/>
                </a:cubicBezTo>
                <a:lnTo>
                  <a:pt x="852" y="3175"/>
                </a:lnTo>
                <a:lnTo>
                  <a:pt x="852" y="3175"/>
                </a:lnTo>
                <a:cubicBezTo>
                  <a:pt x="854" y="3169"/>
                  <a:pt x="857" y="3164"/>
                  <a:pt x="857" y="3162"/>
                </a:cubicBezTo>
                <a:cubicBezTo>
                  <a:pt x="860" y="3157"/>
                  <a:pt x="861" y="3152"/>
                  <a:pt x="862" y="3146"/>
                </a:cubicBezTo>
                <a:cubicBezTo>
                  <a:pt x="862" y="3145"/>
                  <a:pt x="863" y="3144"/>
                  <a:pt x="864" y="3144"/>
                </a:cubicBezTo>
                <a:cubicBezTo>
                  <a:pt x="865" y="3143"/>
                  <a:pt x="866" y="3143"/>
                  <a:pt x="867" y="3143"/>
                </a:cubicBezTo>
                <a:cubicBezTo>
                  <a:pt x="868" y="3143"/>
                  <a:pt x="869" y="3142"/>
                  <a:pt x="869" y="3141"/>
                </a:cubicBezTo>
                <a:cubicBezTo>
                  <a:pt x="869" y="3139"/>
                  <a:pt x="870" y="3138"/>
                  <a:pt x="870" y="3137"/>
                </a:cubicBezTo>
                <a:cubicBezTo>
                  <a:pt x="871" y="3136"/>
                  <a:pt x="873" y="3136"/>
                  <a:pt x="878" y="3136"/>
                </a:cubicBezTo>
                <a:cubicBezTo>
                  <a:pt x="881" y="3135"/>
                  <a:pt x="883" y="3134"/>
                  <a:pt x="884" y="3132"/>
                </a:cubicBezTo>
                <a:cubicBezTo>
                  <a:pt x="884" y="3131"/>
                  <a:pt x="883" y="3129"/>
                  <a:pt x="881" y="3127"/>
                </a:cubicBezTo>
                <a:cubicBezTo>
                  <a:pt x="879" y="3124"/>
                  <a:pt x="877" y="3122"/>
                  <a:pt x="877" y="3120"/>
                </a:cubicBezTo>
                <a:cubicBezTo>
                  <a:pt x="877" y="3119"/>
                  <a:pt x="875" y="3117"/>
                  <a:pt x="872" y="3116"/>
                </a:cubicBezTo>
                <a:cubicBezTo>
                  <a:pt x="868" y="3114"/>
                  <a:pt x="865" y="3113"/>
                  <a:pt x="864" y="3112"/>
                </a:cubicBezTo>
                <a:cubicBezTo>
                  <a:pt x="857" y="3110"/>
                  <a:pt x="852" y="3108"/>
                  <a:pt x="848" y="3107"/>
                </a:cubicBezTo>
                <a:cubicBezTo>
                  <a:pt x="840" y="3103"/>
                  <a:pt x="836" y="3100"/>
                  <a:pt x="837" y="3096"/>
                </a:cubicBezTo>
                <a:cubicBezTo>
                  <a:pt x="837" y="3094"/>
                  <a:pt x="838" y="3092"/>
                  <a:pt x="840" y="3091"/>
                </a:cubicBezTo>
                <a:cubicBezTo>
                  <a:pt x="842" y="3090"/>
                  <a:pt x="843" y="3089"/>
                  <a:pt x="843" y="3087"/>
                </a:cubicBezTo>
                <a:cubicBezTo>
                  <a:pt x="843" y="3087"/>
                  <a:pt x="843" y="3087"/>
                  <a:pt x="843" y="3086"/>
                </a:cubicBezTo>
                <a:cubicBezTo>
                  <a:pt x="838" y="3080"/>
                  <a:pt x="836" y="3076"/>
                  <a:pt x="834" y="3076"/>
                </a:cubicBezTo>
                <a:cubicBezTo>
                  <a:pt x="830" y="3075"/>
                  <a:pt x="824" y="3074"/>
                  <a:pt x="816" y="3072"/>
                </a:cubicBezTo>
                <a:cubicBezTo>
                  <a:pt x="807" y="3070"/>
                  <a:pt x="802" y="3069"/>
                  <a:pt x="799" y="3071"/>
                </a:cubicBezTo>
                <a:cubicBezTo>
                  <a:pt x="797" y="3071"/>
                  <a:pt x="793" y="3073"/>
                  <a:pt x="787" y="3076"/>
                </a:cubicBezTo>
                <a:cubicBezTo>
                  <a:pt x="781" y="3079"/>
                  <a:pt x="776" y="3079"/>
                  <a:pt x="771" y="3079"/>
                </a:cubicBezTo>
                <a:lnTo>
                  <a:pt x="765" y="3078"/>
                </a:lnTo>
                <a:cubicBezTo>
                  <a:pt x="768" y="3056"/>
                  <a:pt x="768" y="3042"/>
                  <a:pt x="767" y="3038"/>
                </a:cubicBezTo>
                <a:cubicBezTo>
                  <a:pt x="765" y="3033"/>
                  <a:pt x="756" y="3029"/>
                  <a:pt x="741" y="3025"/>
                </a:cubicBezTo>
                <a:cubicBezTo>
                  <a:pt x="725" y="3022"/>
                  <a:pt x="715" y="3018"/>
                  <a:pt x="711" y="3013"/>
                </a:cubicBezTo>
                <a:cubicBezTo>
                  <a:pt x="706" y="3008"/>
                  <a:pt x="703" y="3001"/>
                  <a:pt x="699" y="2993"/>
                </a:cubicBezTo>
                <a:cubicBezTo>
                  <a:pt x="696" y="2985"/>
                  <a:pt x="693" y="2979"/>
                  <a:pt x="691" y="2976"/>
                </a:cubicBezTo>
                <a:cubicBezTo>
                  <a:pt x="686" y="2971"/>
                  <a:pt x="680" y="2969"/>
                  <a:pt x="672" y="2968"/>
                </a:cubicBezTo>
                <a:cubicBezTo>
                  <a:pt x="672" y="2965"/>
                  <a:pt x="673" y="2963"/>
                  <a:pt x="675" y="2961"/>
                </a:cubicBezTo>
                <a:lnTo>
                  <a:pt x="677" y="2945"/>
                </a:lnTo>
                <a:cubicBezTo>
                  <a:pt x="675" y="2944"/>
                  <a:pt x="670" y="2942"/>
                  <a:pt x="664" y="2937"/>
                </a:cubicBezTo>
                <a:cubicBezTo>
                  <a:pt x="660" y="2934"/>
                  <a:pt x="655" y="2931"/>
                  <a:pt x="651" y="2931"/>
                </a:cubicBezTo>
                <a:cubicBezTo>
                  <a:pt x="645" y="2930"/>
                  <a:pt x="641" y="2929"/>
                  <a:pt x="639" y="2927"/>
                </a:cubicBezTo>
                <a:cubicBezTo>
                  <a:pt x="634" y="2925"/>
                  <a:pt x="632" y="2920"/>
                  <a:pt x="633" y="2914"/>
                </a:cubicBezTo>
                <a:cubicBezTo>
                  <a:pt x="633" y="2905"/>
                  <a:pt x="633" y="2900"/>
                  <a:pt x="633" y="2898"/>
                </a:cubicBezTo>
                <a:cubicBezTo>
                  <a:pt x="640" y="2886"/>
                  <a:pt x="644" y="2880"/>
                  <a:pt x="644" y="2877"/>
                </a:cubicBezTo>
                <a:cubicBezTo>
                  <a:pt x="645" y="2869"/>
                  <a:pt x="640" y="2860"/>
                  <a:pt x="630" y="2850"/>
                </a:cubicBezTo>
                <a:cubicBezTo>
                  <a:pt x="623" y="2844"/>
                  <a:pt x="619" y="2840"/>
                  <a:pt x="619" y="2840"/>
                </a:cubicBezTo>
                <a:cubicBezTo>
                  <a:pt x="616" y="2837"/>
                  <a:pt x="614" y="2834"/>
                  <a:pt x="615" y="2831"/>
                </a:cubicBezTo>
                <a:cubicBezTo>
                  <a:pt x="615" y="2829"/>
                  <a:pt x="617" y="2827"/>
                  <a:pt x="620" y="2824"/>
                </a:cubicBezTo>
                <a:cubicBezTo>
                  <a:pt x="623" y="2821"/>
                  <a:pt x="625" y="2819"/>
                  <a:pt x="625" y="2816"/>
                </a:cubicBezTo>
                <a:cubicBezTo>
                  <a:pt x="620" y="2809"/>
                  <a:pt x="618" y="2804"/>
                  <a:pt x="618" y="2800"/>
                </a:cubicBezTo>
                <a:cubicBezTo>
                  <a:pt x="618" y="2799"/>
                  <a:pt x="619" y="2798"/>
                  <a:pt x="619" y="2797"/>
                </a:cubicBezTo>
                <a:cubicBezTo>
                  <a:pt x="620" y="2796"/>
                  <a:pt x="620" y="2795"/>
                  <a:pt x="620" y="2794"/>
                </a:cubicBezTo>
                <a:cubicBezTo>
                  <a:pt x="621" y="2791"/>
                  <a:pt x="621" y="2788"/>
                  <a:pt x="620" y="2785"/>
                </a:cubicBezTo>
                <a:cubicBezTo>
                  <a:pt x="619" y="2781"/>
                  <a:pt x="617" y="2779"/>
                  <a:pt x="613" y="2779"/>
                </a:cubicBezTo>
                <a:cubicBezTo>
                  <a:pt x="611" y="2778"/>
                  <a:pt x="609" y="2779"/>
                  <a:pt x="609" y="2781"/>
                </a:cubicBezTo>
                <a:cubicBezTo>
                  <a:pt x="608" y="2783"/>
                  <a:pt x="606" y="2784"/>
                  <a:pt x="603" y="2783"/>
                </a:cubicBezTo>
                <a:cubicBezTo>
                  <a:pt x="599" y="2783"/>
                  <a:pt x="597" y="2781"/>
                  <a:pt x="596" y="2778"/>
                </a:cubicBezTo>
                <a:cubicBezTo>
                  <a:pt x="595" y="2774"/>
                  <a:pt x="593" y="2772"/>
                  <a:pt x="591" y="2772"/>
                </a:cubicBezTo>
                <a:cubicBezTo>
                  <a:pt x="587" y="2773"/>
                  <a:pt x="585" y="2773"/>
                  <a:pt x="584" y="2773"/>
                </a:cubicBezTo>
                <a:cubicBezTo>
                  <a:pt x="583" y="2773"/>
                  <a:pt x="582" y="2771"/>
                  <a:pt x="581" y="2769"/>
                </a:cubicBezTo>
                <a:cubicBezTo>
                  <a:pt x="581" y="2766"/>
                  <a:pt x="578" y="2763"/>
                  <a:pt x="573" y="2761"/>
                </a:cubicBezTo>
                <a:cubicBezTo>
                  <a:pt x="572" y="2761"/>
                  <a:pt x="570" y="2759"/>
                  <a:pt x="567" y="2756"/>
                </a:cubicBezTo>
                <a:cubicBezTo>
                  <a:pt x="564" y="2753"/>
                  <a:pt x="562" y="2751"/>
                  <a:pt x="559" y="2751"/>
                </a:cubicBezTo>
                <a:cubicBezTo>
                  <a:pt x="554" y="2752"/>
                  <a:pt x="551" y="2752"/>
                  <a:pt x="550" y="2752"/>
                </a:cubicBezTo>
                <a:cubicBezTo>
                  <a:pt x="546" y="2750"/>
                  <a:pt x="543" y="2749"/>
                  <a:pt x="540" y="2749"/>
                </a:cubicBezTo>
                <a:cubicBezTo>
                  <a:pt x="538" y="2749"/>
                  <a:pt x="536" y="2749"/>
                  <a:pt x="535" y="2750"/>
                </a:cubicBezTo>
                <a:cubicBezTo>
                  <a:pt x="534" y="2752"/>
                  <a:pt x="533" y="2753"/>
                  <a:pt x="530" y="2754"/>
                </a:cubicBezTo>
                <a:cubicBezTo>
                  <a:pt x="524" y="2753"/>
                  <a:pt x="519" y="2753"/>
                  <a:pt x="516" y="2753"/>
                </a:cubicBezTo>
                <a:cubicBezTo>
                  <a:pt x="513" y="2752"/>
                  <a:pt x="510" y="2754"/>
                  <a:pt x="507" y="2758"/>
                </a:cubicBezTo>
                <a:cubicBezTo>
                  <a:pt x="504" y="2761"/>
                  <a:pt x="503" y="2765"/>
                  <a:pt x="503" y="2770"/>
                </a:cubicBezTo>
                <a:lnTo>
                  <a:pt x="502" y="2770"/>
                </a:lnTo>
                <a:cubicBezTo>
                  <a:pt x="500" y="2768"/>
                  <a:pt x="498" y="2767"/>
                  <a:pt x="497" y="2767"/>
                </a:cubicBezTo>
                <a:cubicBezTo>
                  <a:pt x="492" y="2767"/>
                  <a:pt x="487" y="2770"/>
                  <a:pt x="483" y="2777"/>
                </a:cubicBezTo>
                <a:cubicBezTo>
                  <a:pt x="480" y="2782"/>
                  <a:pt x="479" y="2784"/>
                  <a:pt x="478" y="2785"/>
                </a:cubicBezTo>
                <a:cubicBezTo>
                  <a:pt x="477" y="2787"/>
                  <a:pt x="475" y="2788"/>
                  <a:pt x="473" y="2788"/>
                </a:cubicBezTo>
                <a:cubicBezTo>
                  <a:pt x="470" y="2787"/>
                  <a:pt x="467" y="2784"/>
                  <a:pt x="462" y="2779"/>
                </a:cubicBezTo>
                <a:cubicBezTo>
                  <a:pt x="458" y="2773"/>
                  <a:pt x="456" y="2769"/>
                  <a:pt x="457" y="2766"/>
                </a:cubicBezTo>
                <a:cubicBezTo>
                  <a:pt x="457" y="2765"/>
                  <a:pt x="457" y="2763"/>
                  <a:pt x="458" y="2762"/>
                </a:cubicBezTo>
                <a:cubicBezTo>
                  <a:pt x="459" y="2761"/>
                  <a:pt x="460" y="2759"/>
                  <a:pt x="459" y="2757"/>
                </a:cubicBezTo>
                <a:cubicBezTo>
                  <a:pt x="459" y="2756"/>
                  <a:pt x="460" y="2754"/>
                  <a:pt x="462" y="2753"/>
                </a:cubicBezTo>
                <a:cubicBezTo>
                  <a:pt x="463" y="2752"/>
                  <a:pt x="464" y="2751"/>
                  <a:pt x="464" y="2750"/>
                </a:cubicBezTo>
                <a:cubicBezTo>
                  <a:pt x="464" y="2749"/>
                  <a:pt x="462" y="2747"/>
                  <a:pt x="459" y="2745"/>
                </a:cubicBezTo>
                <a:cubicBezTo>
                  <a:pt x="455" y="2743"/>
                  <a:pt x="452" y="2742"/>
                  <a:pt x="450" y="2742"/>
                </a:cubicBezTo>
                <a:cubicBezTo>
                  <a:pt x="446" y="2742"/>
                  <a:pt x="445" y="2743"/>
                  <a:pt x="444" y="2743"/>
                </a:cubicBezTo>
                <a:cubicBezTo>
                  <a:pt x="435" y="2740"/>
                  <a:pt x="430" y="2739"/>
                  <a:pt x="428" y="2739"/>
                </a:cubicBezTo>
                <a:cubicBezTo>
                  <a:pt x="419" y="2738"/>
                  <a:pt x="412" y="2741"/>
                  <a:pt x="405" y="2747"/>
                </a:cubicBezTo>
                <a:cubicBezTo>
                  <a:pt x="402" y="2750"/>
                  <a:pt x="400" y="2752"/>
                  <a:pt x="399" y="2753"/>
                </a:cubicBezTo>
                <a:cubicBezTo>
                  <a:pt x="397" y="2755"/>
                  <a:pt x="395" y="2756"/>
                  <a:pt x="393" y="2756"/>
                </a:cubicBezTo>
                <a:cubicBezTo>
                  <a:pt x="392" y="2756"/>
                  <a:pt x="390" y="2751"/>
                  <a:pt x="386" y="2743"/>
                </a:cubicBezTo>
                <a:cubicBezTo>
                  <a:pt x="382" y="2734"/>
                  <a:pt x="378" y="2730"/>
                  <a:pt x="373" y="2729"/>
                </a:cubicBezTo>
                <a:cubicBezTo>
                  <a:pt x="371" y="2729"/>
                  <a:pt x="365" y="2730"/>
                  <a:pt x="357" y="2732"/>
                </a:cubicBezTo>
                <a:cubicBezTo>
                  <a:pt x="355" y="2733"/>
                  <a:pt x="353" y="2735"/>
                  <a:pt x="351" y="2738"/>
                </a:cubicBezTo>
                <a:cubicBezTo>
                  <a:pt x="349" y="2741"/>
                  <a:pt x="348" y="2742"/>
                  <a:pt x="348" y="2742"/>
                </a:cubicBezTo>
                <a:cubicBezTo>
                  <a:pt x="347" y="2742"/>
                  <a:pt x="345" y="2740"/>
                  <a:pt x="342" y="2736"/>
                </a:cubicBezTo>
                <a:cubicBezTo>
                  <a:pt x="340" y="2731"/>
                  <a:pt x="336" y="2729"/>
                  <a:pt x="331" y="2728"/>
                </a:cubicBezTo>
                <a:cubicBezTo>
                  <a:pt x="331" y="2728"/>
                  <a:pt x="330" y="2728"/>
                  <a:pt x="330" y="2728"/>
                </a:cubicBezTo>
                <a:cubicBezTo>
                  <a:pt x="330" y="2727"/>
                  <a:pt x="330" y="2726"/>
                  <a:pt x="330" y="2726"/>
                </a:cubicBezTo>
                <a:cubicBezTo>
                  <a:pt x="332" y="2721"/>
                  <a:pt x="332" y="2718"/>
                  <a:pt x="333" y="2716"/>
                </a:cubicBezTo>
                <a:cubicBezTo>
                  <a:pt x="332" y="2711"/>
                  <a:pt x="332" y="2708"/>
                  <a:pt x="332" y="2706"/>
                </a:cubicBezTo>
                <a:cubicBezTo>
                  <a:pt x="333" y="2705"/>
                  <a:pt x="334" y="2704"/>
                  <a:pt x="334" y="2703"/>
                </a:cubicBezTo>
                <a:cubicBezTo>
                  <a:pt x="327" y="2689"/>
                  <a:pt x="322" y="2680"/>
                  <a:pt x="320" y="2676"/>
                </a:cubicBezTo>
                <a:cubicBezTo>
                  <a:pt x="320" y="2676"/>
                  <a:pt x="318" y="2671"/>
                  <a:pt x="315" y="2662"/>
                </a:cubicBezTo>
                <a:cubicBezTo>
                  <a:pt x="313" y="2658"/>
                  <a:pt x="310" y="2655"/>
                  <a:pt x="306" y="2654"/>
                </a:cubicBezTo>
                <a:cubicBezTo>
                  <a:pt x="303" y="2653"/>
                  <a:pt x="300" y="2650"/>
                  <a:pt x="299" y="2643"/>
                </a:cubicBezTo>
                <a:cubicBezTo>
                  <a:pt x="298" y="2636"/>
                  <a:pt x="296" y="2633"/>
                  <a:pt x="292" y="2632"/>
                </a:cubicBezTo>
                <a:cubicBezTo>
                  <a:pt x="289" y="2631"/>
                  <a:pt x="288" y="2629"/>
                  <a:pt x="288" y="2625"/>
                </a:cubicBezTo>
                <a:cubicBezTo>
                  <a:pt x="288" y="2621"/>
                  <a:pt x="288" y="2618"/>
                  <a:pt x="288" y="2618"/>
                </a:cubicBezTo>
                <a:cubicBezTo>
                  <a:pt x="287" y="2617"/>
                  <a:pt x="286" y="2615"/>
                  <a:pt x="284" y="2613"/>
                </a:cubicBezTo>
                <a:cubicBezTo>
                  <a:pt x="282" y="2611"/>
                  <a:pt x="280" y="2609"/>
                  <a:pt x="280" y="2608"/>
                </a:cubicBezTo>
                <a:cubicBezTo>
                  <a:pt x="277" y="2607"/>
                  <a:pt x="276" y="2607"/>
                  <a:pt x="276" y="2607"/>
                </a:cubicBezTo>
                <a:cubicBezTo>
                  <a:pt x="272" y="2610"/>
                  <a:pt x="269" y="2611"/>
                  <a:pt x="267" y="2611"/>
                </a:cubicBezTo>
                <a:cubicBezTo>
                  <a:pt x="264" y="2610"/>
                  <a:pt x="263" y="2608"/>
                  <a:pt x="264" y="2602"/>
                </a:cubicBezTo>
                <a:cubicBezTo>
                  <a:pt x="267" y="2586"/>
                  <a:pt x="269" y="2577"/>
                  <a:pt x="269" y="2576"/>
                </a:cubicBezTo>
                <a:cubicBezTo>
                  <a:pt x="269" y="2575"/>
                  <a:pt x="268" y="2574"/>
                  <a:pt x="267" y="2573"/>
                </a:cubicBezTo>
                <a:cubicBezTo>
                  <a:pt x="266" y="2571"/>
                  <a:pt x="265" y="2570"/>
                  <a:pt x="264" y="2569"/>
                </a:cubicBezTo>
                <a:cubicBezTo>
                  <a:pt x="263" y="2566"/>
                  <a:pt x="263" y="2563"/>
                  <a:pt x="264" y="2559"/>
                </a:cubicBezTo>
                <a:cubicBezTo>
                  <a:pt x="264" y="2559"/>
                  <a:pt x="265" y="2557"/>
                  <a:pt x="268" y="2557"/>
                </a:cubicBezTo>
                <a:cubicBezTo>
                  <a:pt x="271" y="2556"/>
                  <a:pt x="273" y="2555"/>
                  <a:pt x="273" y="2552"/>
                </a:cubicBezTo>
                <a:cubicBezTo>
                  <a:pt x="272" y="2541"/>
                  <a:pt x="270" y="2535"/>
                  <a:pt x="269" y="2533"/>
                </a:cubicBezTo>
                <a:cubicBezTo>
                  <a:pt x="266" y="2530"/>
                  <a:pt x="261" y="2527"/>
                  <a:pt x="254" y="2523"/>
                </a:cubicBezTo>
                <a:cubicBezTo>
                  <a:pt x="249" y="2521"/>
                  <a:pt x="243" y="2517"/>
                  <a:pt x="237" y="2513"/>
                </a:cubicBezTo>
                <a:cubicBezTo>
                  <a:pt x="235" y="2511"/>
                  <a:pt x="234" y="2508"/>
                  <a:pt x="233" y="2503"/>
                </a:cubicBezTo>
                <a:cubicBezTo>
                  <a:pt x="232" y="2502"/>
                  <a:pt x="232" y="2500"/>
                  <a:pt x="231" y="2500"/>
                </a:cubicBezTo>
                <a:cubicBezTo>
                  <a:pt x="231" y="2499"/>
                  <a:pt x="231" y="2499"/>
                  <a:pt x="231" y="2499"/>
                </a:cubicBezTo>
                <a:cubicBezTo>
                  <a:pt x="226" y="2497"/>
                  <a:pt x="220" y="2496"/>
                  <a:pt x="214" y="2495"/>
                </a:cubicBezTo>
                <a:lnTo>
                  <a:pt x="216" y="2472"/>
                </a:lnTo>
                <a:cubicBezTo>
                  <a:pt x="221" y="2465"/>
                  <a:pt x="224" y="2461"/>
                  <a:pt x="224" y="2460"/>
                </a:cubicBezTo>
                <a:cubicBezTo>
                  <a:pt x="225" y="2458"/>
                  <a:pt x="225" y="2456"/>
                  <a:pt x="225" y="2452"/>
                </a:cubicBezTo>
                <a:cubicBezTo>
                  <a:pt x="224" y="2449"/>
                  <a:pt x="225" y="2447"/>
                  <a:pt x="226" y="2445"/>
                </a:cubicBezTo>
                <a:cubicBezTo>
                  <a:pt x="227" y="2445"/>
                  <a:pt x="231" y="2443"/>
                  <a:pt x="238" y="2441"/>
                </a:cubicBezTo>
                <a:cubicBezTo>
                  <a:pt x="245" y="2438"/>
                  <a:pt x="249" y="2436"/>
                  <a:pt x="249" y="2434"/>
                </a:cubicBezTo>
                <a:cubicBezTo>
                  <a:pt x="241" y="2424"/>
                  <a:pt x="237" y="2419"/>
                  <a:pt x="236" y="2418"/>
                </a:cubicBezTo>
                <a:cubicBezTo>
                  <a:pt x="234" y="2415"/>
                  <a:pt x="232" y="2411"/>
                  <a:pt x="231" y="2408"/>
                </a:cubicBezTo>
                <a:cubicBezTo>
                  <a:pt x="230" y="2403"/>
                  <a:pt x="229" y="2400"/>
                  <a:pt x="228" y="2398"/>
                </a:cubicBezTo>
                <a:cubicBezTo>
                  <a:pt x="227" y="2394"/>
                  <a:pt x="224" y="2391"/>
                  <a:pt x="221" y="2390"/>
                </a:cubicBezTo>
                <a:cubicBezTo>
                  <a:pt x="218" y="2388"/>
                  <a:pt x="215" y="2385"/>
                  <a:pt x="213" y="2382"/>
                </a:cubicBezTo>
                <a:cubicBezTo>
                  <a:pt x="211" y="2378"/>
                  <a:pt x="209" y="2375"/>
                  <a:pt x="208" y="2373"/>
                </a:cubicBezTo>
                <a:cubicBezTo>
                  <a:pt x="206" y="2370"/>
                  <a:pt x="206" y="2366"/>
                  <a:pt x="206" y="2361"/>
                </a:cubicBezTo>
                <a:cubicBezTo>
                  <a:pt x="209" y="2350"/>
                  <a:pt x="210" y="2344"/>
                  <a:pt x="211" y="2342"/>
                </a:cubicBezTo>
                <a:cubicBezTo>
                  <a:pt x="211" y="2339"/>
                  <a:pt x="207" y="2329"/>
                  <a:pt x="199" y="2310"/>
                </a:cubicBezTo>
                <a:cubicBezTo>
                  <a:pt x="191" y="2291"/>
                  <a:pt x="187" y="2278"/>
                  <a:pt x="188" y="2272"/>
                </a:cubicBezTo>
                <a:cubicBezTo>
                  <a:pt x="189" y="2267"/>
                  <a:pt x="193" y="2258"/>
                  <a:pt x="203" y="2244"/>
                </a:cubicBezTo>
                <a:cubicBezTo>
                  <a:pt x="212" y="2230"/>
                  <a:pt x="217" y="2219"/>
                  <a:pt x="218" y="2209"/>
                </a:cubicBezTo>
                <a:cubicBezTo>
                  <a:pt x="217" y="2194"/>
                  <a:pt x="217" y="2185"/>
                  <a:pt x="217" y="2183"/>
                </a:cubicBezTo>
                <a:cubicBezTo>
                  <a:pt x="217" y="2178"/>
                  <a:pt x="220" y="2175"/>
                  <a:pt x="223" y="2174"/>
                </a:cubicBezTo>
                <a:cubicBezTo>
                  <a:pt x="226" y="2173"/>
                  <a:pt x="230" y="2172"/>
                  <a:pt x="235" y="2170"/>
                </a:cubicBezTo>
                <a:cubicBezTo>
                  <a:pt x="235" y="2168"/>
                  <a:pt x="235" y="2167"/>
                  <a:pt x="234" y="2166"/>
                </a:cubicBezTo>
                <a:lnTo>
                  <a:pt x="234" y="2163"/>
                </a:lnTo>
                <a:cubicBezTo>
                  <a:pt x="235" y="2163"/>
                  <a:pt x="236" y="2162"/>
                  <a:pt x="240" y="2161"/>
                </a:cubicBezTo>
                <a:cubicBezTo>
                  <a:pt x="242" y="2161"/>
                  <a:pt x="243" y="2159"/>
                  <a:pt x="244" y="2157"/>
                </a:cubicBezTo>
                <a:cubicBezTo>
                  <a:pt x="244" y="2155"/>
                  <a:pt x="241" y="2151"/>
                  <a:pt x="235" y="2147"/>
                </a:cubicBezTo>
                <a:cubicBezTo>
                  <a:pt x="231" y="2143"/>
                  <a:pt x="228" y="2141"/>
                  <a:pt x="226" y="2139"/>
                </a:cubicBezTo>
                <a:cubicBezTo>
                  <a:pt x="226" y="2139"/>
                  <a:pt x="226" y="2139"/>
                  <a:pt x="225" y="2139"/>
                </a:cubicBezTo>
                <a:lnTo>
                  <a:pt x="225" y="2139"/>
                </a:lnTo>
                <a:cubicBezTo>
                  <a:pt x="226" y="2137"/>
                  <a:pt x="227" y="2136"/>
                  <a:pt x="227" y="2136"/>
                </a:cubicBezTo>
                <a:cubicBezTo>
                  <a:pt x="227" y="2135"/>
                  <a:pt x="227" y="2134"/>
                  <a:pt x="228" y="2133"/>
                </a:cubicBezTo>
                <a:cubicBezTo>
                  <a:pt x="227" y="2132"/>
                  <a:pt x="228" y="2129"/>
                  <a:pt x="228" y="2126"/>
                </a:cubicBezTo>
                <a:cubicBezTo>
                  <a:pt x="228" y="2123"/>
                  <a:pt x="226" y="2120"/>
                  <a:pt x="222" y="2116"/>
                </a:cubicBezTo>
                <a:cubicBezTo>
                  <a:pt x="218" y="2111"/>
                  <a:pt x="217" y="2106"/>
                  <a:pt x="218" y="2099"/>
                </a:cubicBezTo>
                <a:cubicBezTo>
                  <a:pt x="218" y="2092"/>
                  <a:pt x="222" y="2089"/>
                  <a:pt x="228" y="2090"/>
                </a:cubicBezTo>
                <a:cubicBezTo>
                  <a:pt x="232" y="2090"/>
                  <a:pt x="235" y="2093"/>
                  <a:pt x="237" y="2098"/>
                </a:cubicBezTo>
                <a:cubicBezTo>
                  <a:pt x="239" y="2103"/>
                  <a:pt x="241" y="2105"/>
                  <a:pt x="243" y="2106"/>
                </a:cubicBezTo>
                <a:cubicBezTo>
                  <a:pt x="251" y="2103"/>
                  <a:pt x="255" y="2100"/>
                  <a:pt x="256" y="2098"/>
                </a:cubicBezTo>
                <a:cubicBezTo>
                  <a:pt x="256" y="2097"/>
                  <a:pt x="255" y="2095"/>
                  <a:pt x="253" y="2092"/>
                </a:cubicBezTo>
                <a:cubicBezTo>
                  <a:pt x="252" y="2089"/>
                  <a:pt x="251" y="2086"/>
                  <a:pt x="251" y="2083"/>
                </a:cubicBezTo>
                <a:cubicBezTo>
                  <a:pt x="252" y="2081"/>
                  <a:pt x="252" y="2078"/>
                  <a:pt x="254" y="2075"/>
                </a:cubicBezTo>
                <a:cubicBezTo>
                  <a:pt x="255" y="2070"/>
                  <a:pt x="257" y="2069"/>
                  <a:pt x="258" y="2069"/>
                </a:cubicBezTo>
                <a:cubicBezTo>
                  <a:pt x="262" y="2069"/>
                  <a:pt x="267" y="2071"/>
                  <a:pt x="272" y="2072"/>
                </a:cubicBezTo>
                <a:cubicBezTo>
                  <a:pt x="276" y="2073"/>
                  <a:pt x="281" y="2074"/>
                  <a:pt x="286" y="2076"/>
                </a:cubicBezTo>
                <a:cubicBezTo>
                  <a:pt x="290" y="2076"/>
                  <a:pt x="294" y="2075"/>
                  <a:pt x="297" y="2071"/>
                </a:cubicBezTo>
                <a:cubicBezTo>
                  <a:pt x="301" y="2068"/>
                  <a:pt x="303" y="2064"/>
                  <a:pt x="303" y="2061"/>
                </a:cubicBezTo>
                <a:lnTo>
                  <a:pt x="303" y="2051"/>
                </a:lnTo>
                <a:cubicBezTo>
                  <a:pt x="304" y="2041"/>
                  <a:pt x="307" y="2035"/>
                  <a:pt x="312" y="2032"/>
                </a:cubicBezTo>
                <a:cubicBezTo>
                  <a:pt x="317" y="2030"/>
                  <a:pt x="324" y="2029"/>
                  <a:pt x="335" y="2031"/>
                </a:cubicBezTo>
                <a:lnTo>
                  <a:pt x="366" y="2034"/>
                </a:lnTo>
                <a:cubicBezTo>
                  <a:pt x="367" y="2034"/>
                  <a:pt x="376" y="2037"/>
                  <a:pt x="394" y="2042"/>
                </a:cubicBezTo>
                <a:cubicBezTo>
                  <a:pt x="396" y="2042"/>
                  <a:pt x="399" y="2041"/>
                  <a:pt x="404" y="2040"/>
                </a:cubicBezTo>
                <a:cubicBezTo>
                  <a:pt x="409" y="2038"/>
                  <a:pt x="412" y="2037"/>
                  <a:pt x="413" y="2035"/>
                </a:cubicBezTo>
                <a:cubicBezTo>
                  <a:pt x="414" y="2032"/>
                  <a:pt x="416" y="2031"/>
                  <a:pt x="421" y="2031"/>
                </a:cubicBezTo>
                <a:cubicBezTo>
                  <a:pt x="424" y="2032"/>
                  <a:pt x="427" y="2032"/>
                  <a:pt x="432" y="2032"/>
                </a:cubicBezTo>
                <a:cubicBezTo>
                  <a:pt x="431" y="2031"/>
                  <a:pt x="429" y="2029"/>
                  <a:pt x="426" y="2027"/>
                </a:cubicBezTo>
                <a:cubicBezTo>
                  <a:pt x="425" y="2026"/>
                  <a:pt x="424" y="2025"/>
                  <a:pt x="423" y="2024"/>
                </a:cubicBezTo>
                <a:cubicBezTo>
                  <a:pt x="423" y="2024"/>
                  <a:pt x="422" y="2024"/>
                  <a:pt x="422" y="2023"/>
                </a:cubicBezTo>
                <a:cubicBezTo>
                  <a:pt x="421" y="2023"/>
                  <a:pt x="421" y="2022"/>
                  <a:pt x="420" y="2022"/>
                </a:cubicBezTo>
                <a:cubicBezTo>
                  <a:pt x="420" y="2021"/>
                  <a:pt x="420" y="2021"/>
                  <a:pt x="420" y="2021"/>
                </a:cubicBezTo>
                <a:cubicBezTo>
                  <a:pt x="419" y="2020"/>
                  <a:pt x="417" y="2019"/>
                  <a:pt x="414" y="2019"/>
                </a:cubicBezTo>
                <a:cubicBezTo>
                  <a:pt x="412" y="2019"/>
                  <a:pt x="409" y="2019"/>
                  <a:pt x="405" y="2019"/>
                </a:cubicBezTo>
                <a:cubicBezTo>
                  <a:pt x="402" y="2020"/>
                  <a:pt x="398" y="2020"/>
                  <a:pt x="395" y="2020"/>
                </a:cubicBezTo>
                <a:cubicBezTo>
                  <a:pt x="390" y="2019"/>
                  <a:pt x="386" y="2018"/>
                  <a:pt x="384" y="2015"/>
                </a:cubicBezTo>
                <a:cubicBezTo>
                  <a:pt x="382" y="2014"/>
                  <a:pt x="380" y="2011"/>
                  <a:pt x="378" y="2008"/>
                </a:cubicBezTo>
                <a:cubicBezTo>
                  <a:pt x="373" y="2000"/>
                  <a:pt x="366" y="1996"/>
                  <a:pt x="357" y="1995"/>
                </a:cubicBezTo>
                <a:cubicBezTo>
                  <a:pt x="353" y="1995"/>
                  <a:pt x="346" y="1996"/>
                  <a:pt x="337" y="2000"/>
                </a:cubicBezTo>
                <a:cubicBezTo>
                  <a:pt x="327" y="2004"/>
                  <a:pt x="316" y="2005"/>
                  <a:pt x="303" y="2003"/>
                </a:cubicBezTo>
                <a:cubicBezTo>
                  <a:pt x="299" y="2003"/>
                  <a:pt x="297" y="2003"/>
                  <a:pt x="296" y="2002"/>
                </a:cubicBezTo>
                <a:cubicBezTo>
                  <a:pt x="295" y="2000"/>
                  <a:pt x="293" y="1998"/>
                  <a:pt x="290" y="1995"/>
                </a:cubicBezTo>
                <a:cubicBezTo>
                  <a:pt x="286" y="1993"/>
                  <a:pt x="284" y="1991"/>
                  <a:pt x="282" y="1990"/>
                </a:cubicBezTo>
                <a:cubicBezTo>
                  <a:pt x="281" y="1989"/>
                  <a:pt x="279" y="1987"/>
                  <a:pt x="277" y="1982"/>
                </a:cubicBezTo>
                <a:cubicBezTo>
                  <a:pt x="276" y="1980"/>
                  <a:pt x="273" y="1978"/>
                  <a:pt x="268" y="1977"/>
                </a:cubicBezTo>
                <a:cubicBezTo>
                  <a:pt x="261" y="1976"/>
                  <a:pt x="255" y="1974"/>
                  <a:pt x="251" y="1968"/>
                </a:cubicBezTo>
                <a:cubicBezTo>
                  <a:pt x="250" y="1968"/>
                  <a:pt x="246" y="1962"/>
                  <a:pt x="239" y="1951"/>
                </a:cubicBezTo>
                <a:cubicBezTo>
                  <a:pt x="240" y="1951"/>
                  <a:pt x="242" y="1951"/>
                  <a:pt x="244" y="1951"/>
                </a:cubicBezTo>
                <a:cubicBezTo>
                  <a:pt x="248" y="1952"/>
                  <a:pt x="253" y="1954"/>
                  <a:pt x="259" y="1959"/>
                </a:cubicBezTo>
                <a:lnTo>
                  <a:pt x="259" y="1959"/>
                </a:lnTo>
                <a:cubicBezTo>
                  <a:pt x="257" y="1951"/>
                  <a:pt x="255" y="1946"/>
                  <a:pt x="254" y="1944"/>
                </a:cubicBezTo>
                <a:cubicBezTo>
                  <a:pt x="253" y="1943"/>
                  <a:pt x="251" y="1942"/>
                  <a:pt x="247" y="1941"/>
                </a:cubicBezTo>
                <a:cubicBezTo>
                  <a:pt x="244" y="1940"/>
                  <a:pt x="243" y="1938"/>
                  <a:pt x="243" y="1936"/>
                </a:cubicBezTo>
                <a:cubicBezTo>
                  <a:pt x="244" y="1932"/>
                  <a:pt x="246" y="1930"/>
                  <a:pt x="249" y="1931"/>
                </a:cubicBezTo>
                <a:cubicBezTo>
                  <a:pt x="247" y="1927"/>
                  <a:pt x="247" y="1925"/>
                  <a:pt x="247" y="1923"/>
                </a:cubicBezTo>
                <a:cubicBezTo>
                  <a:pt x="247" y="1922"/>
                  <a:pt x="248" y="1920"/>
                  <a:pt x="250" y="1919"/>
                </a:cubicBezTo>
                <a:cubicBezTo>
                  <a:pt x="252" y="1918"/>
                  <a:pt x="253" y="1917"/>
                  <a:pt x="253" y="1916"/>
                </a:cubicBezTo>
                <a:cubicBezTo>
                  <a:pt x="254" y="1912"/>
                  <a:pt x="252" y="1911"/>
                  <a:pt x="250" y="1910"/>
                </a:cubicBezTo>
                <a:cubicBezTo>
                  <a:pt x="242" y="1918"/>
                  <a:pt x="236" y="1923"/>
                  <a:pt x="234" y="1924"/>
                </a:cubicBezTo>
                <a:cubicBezTo>
                  <a:pt x="232" y="1925"/>
                  <a:pt x="230" y="1928"/>
                  <a:pt x="228" y="1932"/>
                </a:cubicBezTo>
                <a:cubicBezTo>
                  <a:pt x="226" y="1939"/>
                  <a:pt x="224" y="1942"/>
                  <a:pt x="224" y="1942"/>
                </a:cubicBezTo>
                <a:cubicBezTo>
                  <a:pt x="220" y="1941"/>
                  <a:pt x="217" y="1943"/>
                  <a:pt x="215" y="1947"/>
                </a:cubicBezTo>
                <a:cubicBezTo>
                  <a:pt x="213" y="1951"/>
                  <a:pt x="211" y="1954"/>
                  <a:pt x="209" y="1955"/>
                </a:cubicBezTo>
                <a:cubicBezTo>
                  <a:pt x="208" y="1956"/>
                  <a:pt x="204" y="1957"/>
                  <a:pt x="197" y="1958"/>
                </a:cubicBezTo>
                <a:cubicBezTo>
                  <a:pt x="191" y="1960"/>
                  <a:pt x="187" y="1960"/>
                  <a:pt x="185" y="1960"/>
                </a:cubicBezTo>
                <a:cubicBezTo>
                  <a:pt x="181" y="1960"/>
                  <a:pt x="178" y="1961"/>
                  <a:pt x="177" y="1963"/>
                </a:cubicBezTo>
                <a:cubicBezTo>
                  <a:pt x="177" y="1963"/>
                  <a:pt x="176" y="1963"/>
                  <a:pt x="176" y="1963"/>
                </a:cubicBezTo>
                <a:cubicBezTo>
                  <a:pt x="176" y="1963"/>
                  <a:pt x="176" y="1961"/>
                  <a:pt x="177" y="1960"/>
                </a:cubicBezTo>
                <a:cubicBezTo>
                  <a:pt x="177" y="1953"/>
                  <a:pt x="183" y="1942"/>
                  <a:pt x="195" y="1925"/>
                </a:cubicBezTo>
                <a:cubicBezTo>
                  <a:pt x="201" y="1917"/>
                  <a:pt x="207" y="1908"/>
                  <a:pt x="213" y="1899"/>
                </a:cubicBezTo>
                <a:cubicBezTo>
                  <a:pt x="215" y="1892"/>
                  <a:pt x="217" y="1886"/>
                  <a:pt x="218" y="1883"/>
                </a:cubicBezTo>
                <a:cubicBezTo>
                  <a:pt x="220" y="1876"/>
                  <a:pt x="224" y="1872"/>
                  <a:pt x="231" y="1870"/>
                </a:cubicBezTo>
                <a:cubicBezTo>
                  <a:pt x="234" y="1868"/>
                  <a:pt x="237" y="1865"/>
                  <a:pt x="240" y="1859"/>
                </a:cubicBezTo>
                <a:cubicBezTo>
                  <a:pt x="243" y="1852"/>
                  <a:pt x="246" y="1846"/>
                  <a:pt x="248" y="1841"/>
                </a:cubicBezTo>
                <a:cubicBezTo>
                  <a:pt x="251" y="1835"/>
                  <a:pt x="258" y="1827"/>
                  <a:pt x="268" y="1817"/>
                </a:cubicBezTo>
                <a:cubicBezTo>
                  <a:pt x="277" y="1807"/>
                  <a:pt x="284" y="1797"/>
                  <a:pt x="288" y="1787"/>
                </a:cubicBezTo>
                <a:cubicBezTo>
                  <a:pt x="291" y="1779"/>
                  <a:pt x="293" y="1773"/>
                  <a:pt x="294" y="1769"/>
                </a:cubicBezTo>
                <a:cubicBezTo>
                  <a:pt x="297" y="1762"/>
                  <a:pt x="301" y="1758"/>
                  <a:pt x="306" y="1756"/>
                </a:cubicBezTo>
                <a:cubicBezTo>
                  <a:pt x="309" y="1755"/>
                  <a:pt x="312" y="1752"/>
                  <a:pt x="314" y="1747"/>
                </a:cubicBezTo>
                <a:cubicBezTo>
                  <a:pt x="316" y="1742"/>
                  <a:pt x="317" y="1738"/>
                  <a:pt x="318" y="1735"/>
                </a:cubicBezTo>
                <a:cubicBezTo>
                  <a:pt x="319" y="1732"/>
                  <a:pt x="320" y="1730"/>
                  <a:pt x="321" y="1728"/>
                </a:cubicBezTo>
                <a:cubicBezTo>
                  <a:pt x="321" y="1727"/>
                  <a:pt x="322" y="1725"/>
                  <a:pt x="322" y="1724"/>
                </a:cubicBezTo>
                <a:cubicBezTo>
                  <a:pt x="322" y="1723"/>
                  <a:pt x="325" y="1716"/>
                  <a:pt x="331" y="1703"/>
                </a:cubicBezTo>
                <a:cubicBezTo>
                  <a:pt x="338" y="1689"/>
                  <a:pt x="344" y="1679"/>
                  <a:pt x="348" y="1673"/>
                </a:cubicBezTo>
                <a:cubicBezTo>
                  <a:pt x="354" y="1665"/>
                  <a:pt x="360" y="1655"/>
                  <a:pt x="365" y="1641"/>
                </a:cubicBezTo>
                <a:cubicBezTo>
                  <a:pt x="367" y="1636"/>
                  <a:pt x="369" y="1629"/>
                  <a:pt x="371" y="1623"/>
                </a:cubicBezTo>
                <a:cubicBezTo>
                  <a:pt x="383" y="1603"/>
                  <a:pt x="392" y="1588"/>
                  <a:pt x="398" y="1578"/>
                </a:cubicBezTo>
                <a:cubicBezTo>
                  <a:pt x="408" y="1559"/>
                  <a:pt x="413" y="1541"/>
                  <a:pt x="415" y="1523"/>
                </a:cubicBezTo>
                <a:cubicBezTo>
                  <a:pt x="415" y="1510"/>
                  <a:pt x="415" y="1502"/>
                  <a:pt x="415" y="1500"/>
                </a:cubicBezTo>
                <a:cubicBezTo>
                  <a:pt x="415" y="1498"/>
                  <a:pt x="418" y="1490"/>
                  <a:pt x="423" y="1477"/>
                </a:cubicBezTo>
                <a:cubicBezTo>
                  <a:pt x="423" y="1477"/>
                  <a:pt x="423" y="1477"/>
                  <a:pt x="423" y="1477"/>
                </a:cubicBezTo>
                <a:cubicBezTo>
                  <a:pt x="411" y="1463"/>
                  <a:pt x="401" y="1452"/>
                  <a:pt x="393" y="1447"/>
                </a:cubicBezTo>
                <a:cubicBezTo>
                  <a:pt x="392" y="1446"/>
                  <a:pt x="390" y="1442"/>
                  <a:pt x="387" y="1435"/>
                </a:cubicBezTo>
                <a:cubicBezTo>
                  <a:pt x="384" y="1429"/>
                  <a:pt x="381" y="1425"/>
                  <a:pt x="378" y="1424"/>
                </a:cubicBezTo>
                <a:cubicBezTo>
                  <a:pt x="377" y="1423"/>
                  <a:pt x="373" y="1421"/>
                  <a:pt x="365" y="1419"/>
                </a:cubicBezTo>
                <a:cubicBezTo>
                  <a:pt x="360" y="1417"/>
                  <a:pt x="356" y="1415"/>
                  <a:pt x="353" y="1412"/>
                </a:cubicBezTo>
                <a:cubicBezTo>
                  <a:pt x="349" y="1408"/>
                  <a:pt x="346" y="1405"/>
                  <a:pt x="343" y="1404"/>
                </a:cubicBezTo>
                <a:cubicBezTo>
                  <a:pt x="340" y="1401"/>
                  <a:pt x="335" y="1399"/>
                  <a:pt x="330" y="1399"/>
                </a:cubicBezTo>
                <a:cubicBezTo>
                  <a:pt x="325" y="1398"/>
                  <a:pt x="321" y="1397"/>
                  <a:pt x="318" y="1394"/>
                </a:cubicBezTo>
                <a:cubicBezTo>
                  <a:pt x="315" y="1390"/>
                  <a:pt x="312" y="1387"/>
                  <a:pt x="309" y="1384"/>
                </a:cubicBezTo>
                <a:cubicBezTo>
                  <a:pt x="308" y="1383"/>
                  <a:pt x="306" y="1382"/>
                  <a:pt x="303" y="1381"/>
                </a:cubicBezTo>
                <a:cubicBezTo>
                  <a:pt x="300" y="1381"/>
                  <a:pt x="297" y="1380"/>
                  <a:pt x="296" y="1379"/>
                </a:cubicBezTo>
                <a:cubicBezTo>
                  <a:pt x="294" y="1378"/>
                  <a:pt x="292" y="1375"/>
                  <a:pt x="287" y="1371"/>
                </a:cubicBezTo>
                <a:cubicBezTo>
                  <a:pt x="275" y="1361"/>
                  <a:pt x="269" y="1355"/>
                  <a:pt x="269" y="1352"/>
                </a:cubicBezTo>
                <a:cubicBezTo>
                  <a:pt x="281" y="1342"/>
                  <a:pt x="287" y="1333"/>
                  <a:pt x="289" y="1327"/>
                </a:cubicBezTo>
                <a:cubicBezTo>
                  <a:pt x="290" y="1322"/>
                  <a:pt x="293" y="1316"/>
                  <a:pt x="298" y="1308"/>
                </a:cubicBezTo>
                <a:cubicBezTo>
                  <a:pt x="300" y="1305"/>
                  <a:pt x="302" y="1302"/>
                  <a:pt x="303" y="1300"/>
                </a:cubicBezTo>
                <a:cubicBezTo>
                  <a:pt x="303" y="1298"/>
                  <a:pt x="304" y="1296"/>
                  <a:pt x="303" y="1295"/>
                </a:cubicBezTo>
                <a:cubicBezTo>
                  <a:pt x="305" y="1291"/>
                  <a:pt x="306" y="1288"/>
                  <a:pt x="307" y="1286"/>
                </a:cubicBezTo>
                <a:cubicBezTo>
                  <a:pt x="307" y="1284"/>
                  <a:pt x="306" y="1280"/>
                  <a:pt x="303" y="1276"/>
                </a:cubicBezTo>
                <a:cubicBezTo>
                  <a:pt x="301" y="1274"/>
                  <a:pt x="299" y="1272"/>
                  <a:pt x="298" y="1270"/>
                </a:cubicBezTo>
                <a:cubicBezTo>
                  <a:pt x="298" y="1267"/>
                  <a:pt x="298" y="1263"/>
                  <a:pt x="298" y="1258"/>
                </a:cubicBezTo>
                <a:cubicBezTo>
                  <a:pt x="293" y="1255"/>
                  <a:pt x="289" y="1253"/>
                  <a:pt x="288" y="1253"/>
                </a:cubicBezTo>
                <a:cubicBezTo>
                  <a:pt x="287" y="1253"/>
                  <a:pt x="284" y="1251"/>
                  <a:pt x="280" y="1248"/>
                </a:cubicBezTo>
                <a:cubicBezTo>
                  <a:pt x="276" y="1245"/>
                  <a:pt x="273" y="1243"/>
                  <a:pt x="271" y="1243"/>
                </a:cubicBezTo>
                <a:cubicBezTo>
                  <a:pt x="261" y="1241"/>
                  <a:pt x="255" y="1238"/>
                  <a:pt x="253" y="1236"/>
                </a:cubicBezTo>
                <a:cubicBezTo>
                  <a:pt x="250" y="1233"/>
                  <a:pt x="249" y="1231"/>
                  <a:pt x="248" y="1228"/>
                </a:cubicBezTo>
                <a:cubicBezTo>
                  <a:pt x="247" y="1226"/>
                  <a:pt x="248" y="1222"/>
                  <a:pt x="248" y="1218"/>
                </a:cubicBezTo>
                <a:cubicBezTo>
                  <a:pt x="245" y="1215"/>
                  <a:pt x="242" y="1212"/>
                  <a:pt x="241" y="1210"/>
                </a:cubicBezTo>
                <a:lnTo>
                  <a:pt x="241" y="1210"/>
                </a:lnTo>
                <a:cubicBezTo>
                  <a:pt x="241" y="1209"/>
                  <a:pt x="240" y="1206"/>
                  <a:pt x="240" y="1204"/>
                </a:cubicBezTo>
                <a:cubicBezTo>
                  <a:pt x="241" y="1201"/>
                  <a:pt x="243" y="1198"/>
                  <a:pt x="247" y="1196"/>
                </a:cubicBezTo>
                <a:cubicBezTo>
                  <a:pt x="251" y="1194"/>
                  <a:pt x="254" y="1191"/>
                  <a:pt x="254" y="1187"/>
                </a:cubicBezTo>
                <a:cubicBezTo>
                  <a:pt x="254" y="1186"/>
                  <a:pt x="249" y="1177"/>
                  <a:pt x="238" y="1160"/>
                </a:cubicBezTo>
                <a:cubicBezTo>
                  <a:pt x="237" y="1160"/>
                  <a:pt x="234" y="1160"/>
                  <a:pt x="229" y="1162"/>
                </a:cubicBezTo>
                <a:cubicBezTo>
                  <a:pt x="224" y="1163"/>
                  <a:pt x="220" y="1164"/>
                  <a:pt x="217" y="1165"/>
                </a:cubicBezTo>
                <a:cubicBezTo>
                  <a:pt x="214" y="1166"/>
                  <a:pt x="210" y="1161"/>
                  <a:pt x="204" y="1149"/>
                </a:cubicBezTo>
                <a:cubicBezTo>
                  <a:pt x="198" y="1138"/>
                  <a:pt x="195" y="1130"/>
                  <a:pt x="196" y="1126"/>
                </a:cubicBezTo>
                <a:cubicBezTo>
                  <a:pt x="197" y="1122"/>
                  <a:pt x="200" y="1118"/>
                  <a:pt x="204" y="1115"/>
                </a:cubicBezTo>
                <a:cubicBezTo>
                  <a:pt x="208" y="1112"/>
                  <a:pt x="211" y="1110"/>
                  <a:pt x="211" y="1109"/>
                </a:cubicBezTo>
                <a:cubicBezTo>
                  <a:pt x="211" y="1109"/>
                  <a:pt x="210" y="1108"/>
                  <a:pt x="210" y="1105"/>
                </a:cubicBezTo>
                <a:cubicBezTo>
                  <a:pt x="209" y="1102"/>
                  <a:pt x="208" y="1100"/>
                  <a:pt x="208" y="1098"/>
                </a:cubicBezTo>
                <a:cubicBezTo>
                  <a:pt x="209" y="1097"/>
                  <a:pt x="209" y="1094"/>
                  <a:pt x="211" y="1090"/>
                </a:cubicBezTo>
                <a:cubicBezTo>
                  <a:pt x="211" y="1087"/>
                  <a:pt x="209" y="1085"/>
                  <a:pt x="205" y="1085"/>
                </a:cubicBezTo>
                <a:cubicBezTo>
                  <a:pt x="200" y="1087"/>
                  <a:pt x="197" y="1088"/>
                  <a:pt x="195" y="1088"/>
                </a:cubicBezTo>
                <a:cubicBezTo>
                  <a:pt x="195" y="1088"/>
                  <a:pt x="193" y="1087"/>
                  <a:pt x="191" y="1086"/>
                </a:cubicBezTo>
                <a:lnTo>
                  <a:pt x="191" y="1080"/>
                </a:lnTo>
                <a:cubicBezTo>
                  <a:pt x="194" y="1077"/>
                  <a:pt x="196" y="1071"/>
                  <a:pt x="197" y="1062"/>
                </a:cubicBezTo>
                <a:cubicBezTo>
                  <a:pt x="197" y="1056"/>
                  <a:pt x="196" y="1050"/>
                  <a:pt x="194" y="1045"/>
                </a:cubicBezTo>
                <a:cubicBezTo>
                  <a:pt x="192" y="1041"/>
                  <a:pt x="190" y="1037"/>
                  <a:pt x="191" y="1036"/>
                </a:cubicBezTo>
                <a:cubicBezTo>
                  <a:pt x="191" y="1035"/>
                  <a:pt x="192" y="1034"/>
                  <a:pt x="193" y="1032"/>
                </a:cubicBezTo>
                <a:cubicBezTo>
                  <a:pt x="195" y="1031"/>
                  <a:pt x="196" y="1031"/>
                  <a:pt x="196" y="1030"/>
                </a:cubicBezTo>
                <a:cubicBezTo>
                  <a:pt x="196" y="1027"/>
                  <a:pt x="195" y="1024"/>
                  <a:pt x="193" y="1020"/>
                </a:cubicBezTo>
                <a:cubicBezTo>
                  <a:pt x="190" y="1017"/>
                  <a:pt x="189" y="1014"/>
                  <a:pt x="189" y="1013"/>
                </a:cubicBezTo>
                <a:cubicBezTo>
                  <a:pt x="190" y="1009"/>
                  <a:pt x="195" y="1005"/>
                  <a:pt x="204" y="1002"/>
                </a:cubicBezTo>
                <a:cubicBezTo>
                  <a:pt x="205" y="1002"/>
                  <a:pt x="208" y="1001"/>
                  <a:pt x="213" y="1000"/>
                </a:cubicBezTo>
                <a:cubicBezTo>
                  <a:pt x="213" y="992"/>
                  <a:pt x="211" y="983"/>
                  <a:pt x="206" y="971"/>
                </a:cubicBezTo>
                <a:cubicBezTo>
                  <a:pt x="199" y="958"/>
                  <a:pt x="194" y="949"/>
                  <a:pt x="191" y="944"/>
                </a:cubicBezTo>
                <a:cubicBezTo>
                  <a:pt x="190" y="942"/>
                  <a:pt x="189" y="938"/>
                  <a:pt x="186" y="931"/>
                </a:cubicBezTo>
                <a:cubicBezTo>
                  <a:pt x="185" y="924"/>
                  <a:pt x="182" y="920"/>
                  <a:pt x="180" y="917"/>
                </a:cubicBezTo>
                <a:cubicBezTo>
                  <a:pt x="178" y="913"/>
                  <a:pt x="174" y="909"/>
                  <a:pt x="169" y="904"/>
                </a:cubicBezTo>
                <a:cubicBezTo>
                  <a:pt x="164" y="899"/>
                  <a:pt x="160" y="895"/>
                  <a:pt x="159" y="893"/>
                </a:cubicBezTo>
                <a:cubicBezTo>
                  <a:pt x="152" y="883"/>
                  <a:pt x="148" y="873"/>
                  <a:pt x="146" y="863"/>
                </a:cubicBezTo>
                <a:cubicBezTo>
                  <a:pt x="145" y="859"/>
                  <a:pt x="142" y="854"/>
                  <a:pt x="138" y="849"/>
                </a:cubicBezTo>
                <a:cubicBezTo>
                  <a:pt x="133" y="843"/>
                  <a:pt x="129" y="839"/>
                  <a:pt x="129" y="838"/>
                </a:cubicBezTo>
                <a:cubicBezTo>
                  <a:pt x="121" y="823"/>
                  <a:pt x="116" y="815"/>
                  <a:pt x="114" y="813"/>
                </a:cubicBezTo>
                <a:cubicBezTo>
                  <a:pt x="104" y="804"/>
                  <a:pt x="100" y="794"/>
                  <a:pt x="101" y="784"/>
                </a:cubicBezTo>
                <a:cubicBezTo>
                  <a:pt x="101" y="778"/>
                  <a:pt x="104" y="767"/>
                  <a:pt x="110" y="751"/>
                </a:cubicBezTo>
                <a:cubicBezTo>
                  <a:pt x="116" y="736"/>
                  <a:pt x="119" y="726"/>
                  <a:pt x="119" y="720"/>
                </a:cubicBezTo>
                <a:cubicBezTo>
                  <a:pt x="119" y="710"/>
                  <a:pt x="123" y="699"/>
                  <a:pt x="130" y="686"/>
                </a:cubicBezTo>
                <a:cubicBezTo>
                  <a:pt x="138" y="673"/>
                  <a:pt x="142" y="663"/>
                  <a:pt x="143" y="657"/>
                </a:cubicBezTo>
                <a:cubicBezTo>
                  <a:pt x="143" y="655"/>
                  <a:pt x="143" y="652"/>
                  <a:pt x="142" y="650"/>
                </a:cubicBezTo>
                <a:cubicBezTo>
                  <a:pt x="142" y="649"/>
                  <a:pt x="141" y="648"/>
                  <a:pt x="141" y="647"/>
                </a:cubicBezTo>
                <a:cubicBezTo>
                  <a:pt x="140" y="645"/>
                  <a:pt x="140" y="642"/>
                  <a:pt x="140" y="638"/>
                </a:cubicBezTo>
                <a:cubicBezTo>
                  <a:pt x="139" y="632"/>
                  <a:pt x="136" y="629"/>
                  <a:pt x="133" y="627"/>
                </a:cubicBezTo>
                <a:cubicBezTo>
                  <a:pt x="123" y="623"/>
                  <a:pt x="116" y="617"/>
                  <a:pt x="110" y="610"/>
                </a:cubicBezTo>
                <a:cubicBezTo>
                  <a:pt x="100" y="599"/>
                  <a:pt x="95" y="591"/>
                  <a:pt x="93" y="588"/>
                </a:cubicBezTo>
                <a:cubicBezTo>
                  <a:pt x="91" y="582"/>
                  <a:pt x="89" y="578"/>
                  <a:pt x="87" y="576"/>
                </a:cubicBezTo>
                <a:cubicBezTo>
                  <a:pt x="85" y="572"/>
                  <a:pt x="81" y="570"/>
                  <a:pt x="75" y="569"/>
                </a:cubicBezTo>
                <a:cubicBezTo>
                  <a:pt x="71" y="569"/>
                  <a:pt x="66" y="568"/>
                  <a:pt x="61" y="566"/>
                </a:cubicBezTo>
                <a:cubicBezTo>
                  <a:pt x="54" y="563"/>
                  <a:pt x="50" y="562"/>
                  <a:pt x="47" y="561"/>
                </a:cubicBezTo>
                <a:cubicBezTo>
                  <a:pt x="39" y="558"/>
                  <a:pt x="33" y="552"/>
                  <a:pt x="30" y="542"/>
                </a:cubicBezTo>
                <a:cubicBezTo>
                  <a:pt x="26" y="535"/>
                  <a:pt x="23" y="528"/>
                  <a:pt x="20" y="521"/>
                </a:cubicBezTo>
                <a:cubicBezTo>
                  <a:pt x="13" y="507"/>
                  <a:pt x="10" y="497"/>
                  <a:pt x="10" y="493"/>
                </a:cubicBezTo>
                <a:cubicBezTo>
                  <a:pt x="10" y="492"/>
                  <a:pt x="12" y="486"/>
                  <a:pt x="16" y="475"/>
                </a:cubicBezTo>
                <a:cubicBezTo>
                  <a:pt x="19" y="463"/>
                  <a:pt x="21" y="454"/>
                  <a:pt x="22" y="449"/>
                </a:cubicBezTo>
                <a:cubicBezTo>
                  <a:pt x="23" y="437"/>
                  <a:pt x="21" y="430"/>
                  <a:pt x="14" y="430"/>
                </a:cubicBezTo>
                <a:cubicBezTo>
                  <a:pt x="10" y="431"/>
                  <a:pt x="7" y="431"/>
                  <a:pt x="4" y="431"/>
                </a:cubicBezTo>
                <a:cubicBezTo>
                  <a:pt x="2" y="430"/>
                  <a:pt x="1" y="430"/>
                  <a:pt x="0" y="429"/>
                </a:cubicBezTo>
                <a:cubicBezTo>
                  <a:pt x="0" y="429"/>
                  <a:pt x="1" y="429"/>
                  <a:pt x="1" y="428"/>
                </a:cubicBezTo>
                <a:cubicBezTo>
                  <a:pt x="3" y="426"/>
                  <a:pt x="5" y="424"/>
                  <a:pt x="8" y="421"/>
                </a:cubicBezTo>
                <a:cubicBezTo>
                  <a:pt x="13" y="415"/>
                  <a:pt x="19" y="410"/>
                  <a:pt x="26" y="405"/>
                </a:cubicBezTo>
                <a:cubicBezTo>
                  <a:pt x="27" y="405"/>
                  <a:pt x="28" y="404"/>
                  <a:pt x="29" y="404"/>
                </a:cubicBezTo>
                <a:cubicBezTo>
                  <a:pt x="31" y="403"/>
                  <a:pt x="33" y="402"/>
                  <a:pt x="37" y="401"/>
                </a:cubicBezTo>
                <a:cubicBezTo>
                  <a:pt x="41" y="399"/>
                  <a:pt x="43" y="397"/>
                  <a:pt x="44" y="394"/>
                </a:cubicBezTo>
                <a:cubicBezTo>
                  <a:pt x="45" y="389"/>
                  <a:pt x="46" y="381"/>
                  <a:pt x="47" y="371"/>
                </a:cubicBezTo>
                <a:cubicBezTo>
                  <a:pt x="47" y="368"/>
                  <a:pt x="47" y="361"/>
                  <a:pt x="46" y="351"/>
                </a:cubicBezTo>
                <a:cubicBezTo>
                  <a:pt x="46" y="347"/>
                  <a:pt x="49" y="343"/>
                  <a:pt x="53" y="340"/>
                </a:cubicBezTo>
                <a:cubicBezTo>
                  <a:pt x="56" y="338"/>
                  <a:pt x="61" y="335"/>
                  <a:pt x="68" y="331"/>
                </a:cubicBezTo>
                <a:cubicBezTo>
                  <a:pt x="82" y="322"/>
                  <a:pt x="90" y="309"/>
                  <a:pt x="91" y="293"/>
                </a:cubicBezTo>
                <a:cubicBezTo>
                  <a:pt x="92" y="292"/>
                  <a:pt x="91" y="286"/>
                  <a:pt x="90" y="274"/>
                </a:cubicBezTo>
                <a:cubicBezTo>
                  <a:pt x="90" y="273"/>
                  <a:pt x="90" y="272"/>
                  <a:pt x="91" y="272"/>
                </a:cubicBezTo>
                <a:cubicBezTo>
                  <a:pt x="94" y="273"/>
                  <a:pt x="99" y="276"/>
                  <a:pt x="104" y="279"/>
                </a:cubicBezTo>
                <a:cubicBezTo>
                  <a:pt x="109" y="283"/>
                  <a:pt x="114" y="285"/>
                  <a:pt x="118" y="285"/>
                </a:cubicBezTo>
                <a:cubicBezTo>
                  <a:pt x="125" y="286"/>
                  <a:pt x="129" y="286"/>
                  <a:pt x="130" y="285"/>
                </a:cubicBezTo>
                <a:cubicBezTo>
                  <a:pt x="133" y="284"/>
                  <a:pt x="134" y="281"/>
                  <a:pt x="135" y="275"/>
                </a:cubicBezTo>
                <a:cubicBezTo>
                  <a:pt x="136" y="266"/>
                  <a:pt x="133" y="253"/>
                  <a:pt x="129" y="238"/>
                </a:cubicBezTo>
                <a:cubicBezTo>
                  <a:pt x="128" y="238"/>
                  <a:pt x="128" y="238"/>
                  <a:pt x="128" y="238"/>
                </a:cubicBezTo>
                <a:cubicBezTo>
                  <a:pt x="129" y="238"/>
                  <a:pt x="129" y="238"/>
                  <a:pt x="130" y="238"/>
                </a:cubicBezTo>
                <a:cubicBezTo>
                  <a:pt x="133" y="238"/>
                  <a:pt x="139" y="238"/>
                  <a:pt x="146" y="238"/>
                </a:cubicBezTo>
                <a:cubicBezTo>
                  <a:pt x="150" y="240"/>
                  <a:pt x="155" y="242"/>
                  <a:pt x="161" y="245"/>
                </a:cubicBezTo>
                <a:cubicBezTo>
                  <a:pt x="165" y="248"/>
                  <a:pt x="168" y="251"/>
                  <a:pt x="170" y="256"/>
                </a:cubicBezTo>
                <a:cubicBezTo>
                  <a:pt x="170" y="257"/>
                  <a:pt x="170" y="258"/>
                  <a:pt x="170" y="259"/>
                </a:cubicBezTo>
                <a:lnTo>
                  <a:pt x="170" y="258"/>
                </a:lnTo>
                <a:cubicBezTo>
                  <a:pt x="170" y="257"/>
                  <a:pt x="170" y="256"/>
                  <a:pt x="170" y="256"/>
                </a:cubicBezTo>
                <a:cubicBezTo>
                  <a:pt x="170" y="253"/>
                  <a:pt x="172" y="251"/>
                  <a:pt x="176" y="249"/>
                </a:cubicBezTo>
                <a:cubicBezTo>
                  <a:pt x="182" y="246"/>
                  <a:pt x="185" y="244"/>
                  <a:pt x="185" y="242"/>
                </a:cubicBezTo>
                <a:cubicBezTo>
                  <a:pt x="186" y="238"/>
                  <a:pt x="185" y="234"/>
                  <a:pt x="183" y="231"/>
                </a:cubicBezTo>
                <a:cubicBezTo>
                  <a:pt x="180" y="228"/>
                  <a:pt x="179" y="225"/>
                  <a:pt x="179" y="222"/>
                </a:cubicBezTo>
                <a:cubicBezTo>
                  <a:pt x="180" y="218"/>
                  <a:pt x="183" y="216"/>
                  <a:pt x="188" y="217"/>
                </a:cubicBezTo>
                <a:cubicBezTo>
                  <a:pt x="196" y="218"/>
                  <a:pt x="202" y="221"/>
                  <a:pt x="205" y="227"/>
                </a:cubicBezTo>
                <a:lnTo>
                  <a:pt x="205" y="227"/>
                </a:lnTo>
                <a:cubicBezTo>
                  <a:pt x="206" y="228"/>
                  <a:pt x="207" y="231"/>
                  <a:pt x="208" y="233"/>
                </a:cubicBezTo>
                <a:cubicBezTo>
                  <a:pt x="209" y="237"/>
                  <a:pt x="210" y="242"/>
                  <a:pt x="210" y="248"/>
                </a:cubicBezTo>
                <a:cubicBezTo>
                  <a:pt x="210" y="255"/>
                  <a:pt x="211" y="260"/>
                  <a:pt x="211" y="263"/>
                </a:cubicBezTo>
                <a:cubicBezTo>
                  <a:pt x="215" y="259"/>
                  <a:pt x="218" y="257"/>
                  <a:pt x="219" y="257"/>
                </a:cubicBezTo>
                <a:cubicBezTo>
                  <a:pt x="224" y="258"/>
                  <a:pt x="228" y="260"/>
                  <a:pt x="231" y="265"/>
                </a:cubicBezTo>
                <a:cubicBezTo>
                  <a:pt x="234" y="269"/>
                  <a:pt x="235" y="273"/>
                  <a:pt x="235" y="276"/>
                </a:cubicBezTo>
                <a:cubicBezTo>
                  <a:pt x="235" y="277"/>
                  <a:pt x="234" y="279"/>
                  <a:pt x="232" y="284"/>
                </a:cubicBezTo>
                <a:lnTo>
                  <a:pt x="231" y="288"/>
                </a:lnTo>
                <a:cubicBezTo>
                  <a:pt x="235" y="275"/>
                  <a:pt x="247" y="269"/>
                  <a:pt x="267" y="271"/>
                </a:cubicBezTo>
                <a:lnTo>
                  <a:pt x="266" y="277"/>
                </a:lnTo>
                <a:cubicBezTo>
                  <a:pt x="269" y="274"/>
                  <a:pt x="274" y="272"/>
                  <a:pt x="281" y="269"/>
                </a:cubicBezTo>
                <a:cubicBezTo>
                  <a:pt x="280" y="271"/>
                  <a:pt x="279" y="273"/>
                  <a:pt x="277" y="277"/>
                </a:cubicBezTo>
                <a:cubicBezTo>
                  <a:pt x="276" y="278"/>
                  <a:pt x="276" y="280"/>
                  <a:pt x="275" y="281"/>
                </a:cubicBezTo>
                <a:cubicBezTo>
                  <a:pt x="273" y="287"/>
                  <a:pt x="271" y="291"/>
                  <a:pt x="271" y="293"/>
                </a:cubicBezTo>
                <a:cubicBezTo>
                  <a:pt x="272" y="297"/>
                  <a:pt x="273" y="301"/>
                  <a:pt x="272" y="303"/>
                </a:cubicBezTo>
                <a:lnTo>
                  <a:pt x="274" y="303"/>
                </a:lnTo>
                <a:cubicBezTo>
                  <a:pt x="275" y="295"/>
                  <a:pt x="278" y="287"/>
                  <a:pt x="283" y="280"/>
                </a:cubicBezTo>
                <a:cubicBezTo>
                  <a:pt x="290" y="271"/>
                  <a:pt x="297" y="267"/>
                  <a:pt x="305" y="268"/>
                </a:cubicBezTo>
                <a:cubicBezTo>
                  <a:pt x="313" y="269"/>
                  <a:pt x="316" y="271"/>
                  <a:pt x="316" y="275"/>
                </a:cubicBezTo>
                <a:cubicBezTo>
                  <a:pt x="315" y="281"/>
                  <a:pt x="313" y="288"/>
                  <a:pt x="308" y="295"/>
                </a:cubicBezTo>
                <a:lnTo>
                  <a:pt x="307" y="301"/>
                </a:lnTo>
                <a:cubicBezTo>
                  <a:pt x="309" y="301"/>
                  <a:pt x="311" y="301"/>
                  <a:pt x="313" y="303"/>
                </a:cubicBezTo>
                <a:lnTo>
                  <a:pt x="314" y="304"/>
                </a:lnTo>
                <a:cubicBezTo>
                  <a:pt x="313" y="305"/>
                  <a:pt x="311" y="306"/>
                  <a:pt x="308" y="308"/>
                </a:cubicBezTo>
                <a:cubicBezTo>
                  <a:pt x="310" y="311"/>
                  <a:pt x="312" y="312"/>
                  <a:pt x="315" y="314"/>
                </a:cubicBezTo>
                <a:cubicBezTo>
                  <a:pt x="317" y="314"/>
                  <a:pt x="317" y="317"/>
                  <a:pt x="317" y="321"/>
                </a:cubicBezTo>
                <a:cubicBezTo>
                  <a:pt x="316" y="325"/>
                  <a:pt x="314" y="330"/>
                  <a:pt x="309" y="334"/>
                </a:cubicBezTo>
                <a:cubicBezTo>
                  <a:pt x="308" y="335"/>
                  <a:pt x="307" y="336"/>
                  <a:pt x="306" y="336"/>
                </a:cubicBezTo>
                <a:cubicBezTo>
                  <a:pt x="299" y="342"/>
                  <a:pt x="296" y="347"/>
                  <a:pt x="295" y="351"/>
                </a:cubicBezTo>
                <a:cubicBezTo>
                  <a:pt x="295" y="353"/>
                  <a:pt x="296" y="356"/>
                  <a:pt x="299" y="359"/>
                </a:cubicBezTo>
                <a:cubicBezTo>
                  <a:pt x="299" y="357"/>
                  <a:pt x="299" y="355"/>
                  <a:pt x="298" y="353"/>
                </a:cubicBezTo>
                <a:cubicBezTo>
                  <a:pt x="299" y="349"/>
                  <a:pt x="303" y="344"/>
                  <a:pt x="312" y="337"/>
                </a:cubicBezTo>
                <a:cubicBezTo>
                  <a:pt x="320" y="330"/>
                  <a:pt x="324" y="325"/>
                  <a:pt x="325" y="322"/>
                </a:cubicBezTo>
                <a:cubicBezTo>
                  <a:pt x="325" y="321"/>
                  <a:pt x="323" y="311"/>
                  <a:pt x="320" y="291"/>
                </a:cubicBezTo>
                <a:cubicBezTo>
                  <a:pt x="320" y="286"/>
                  <a:pt x="321" y="284"/>
                  <a:pt x="323" y="284"/>
                </a:cubicBezTo>
                <a:cubicBezTo>
                  <a:pt x="324" y="284"/>
                  <a:pt x="326" y="285"/>
                  <a:pt x="330" y="286"/>
                </a:cubicBezTo>
                <a:cubicBezTo>
                  <a:pt x="337" y="284"/>
                  <a:pt x="342" y="282"/>
                  <a:pt x="347" y="281"/>
                </a:cubicBezTo>
                <a:cubicBezTo>
                  <a:pt x="358" y="278"/>
                  <a:pt x="364" y="277"/>
                  <a:pt x="365" y="277"/>
                </a:cubicBezTo>
                <a:cubicBezTo>
                  <a:pt x="367" y="277"/>
                  <a:pt x="369" y="278"/>
                  <a:pt x="372" y="280"/>
                </a:cubicBezTo>
                <a:cubicBezTo>
                  <a:pt x="375" y="283"/>
                  <a:pt x="377" y="284"/>
                  <a:pt x="378" y="284"/>
                </a:cubicBezTo>
                <a:cubicBezTo>
                  <a:pt x="401" y="286"/>
                  <a:pt x="415" y="285"/>
                  <a:pt x="420" y="280"/>
                </a:cubicBezTo>
                <a:cubicBezTo>
                  <a:pt x="421" y="281"/>
                  <a:pt x="423" y="282"/>
                  <a:pt x="424" y="284"/>
                </a:cubicBezTo>
                <a:cubicBezTo>
                  <a:pt x="426" y="285"/>
                  <a:pt x="428" y="286"/>
                  <a:pt x="431" y="286"/>
                </a:cubicBezTo>
                <a:cubicBezTo>
                  <a:pt x="432" y="283"/>
                  <a:pt x="430" y="278"/>
                  <a:pt x="425" y="272"/>
                </a:cubicBezTo>
                <a:cubicBezTo>
                  <a:pt x="426" y="271"/>
                  <a:pt x="426" y="270"/>
                  <a:pt x="427" y="270"/>
                </a:cubicBezTo>
                <a:cubicBezTo>
                  <a:pt x="428" y="270"/>
                  <a:pt x="429" y="270"/>
                  <a:pt x="429" y="270"/>
                </a:cubicBezTo>
                <a:cubicBezTo>
                  <a:pt x="433" y="268"/>
                  <a:pt x="438" y="267"/>
                  <a:pt x="443" y="268"/>
                </a:cubicBezTo>
                <a:cubicBezTo>
                  <a:pt x="478" y="278"/>
                  <a:pt x="496" y="284"/>
                  <a:pt x="498" y="284"/>
                </a:cubicBezTo>
                <a:cubicBezTo>
                  <a:pt x="500" y="284"/>
                  <a:pt x="503" y="285"/>
                  <a:pt x="507" y="288"/>
                </a:cubicBezTo>
                <a:cubicBezTo>
                  <a:pt x="511" y="291"/>
                  <a:pt x="517" y="292"/>
                  <a:pt x="523" y="293"/>
                </a:cubicBezTo>
                <a:cubicBezTo>
                  <a:pt x="527" y="294"/>
                  <a:pt x="531" y="295"/>
                  <a:pt x="536" y="297"/>
                </a:cubicBezTo>
                <a:cubicBezTo>
                  <a:pt x="538" y="298"/>
                  <a:pt x="543" y="300"/>
                  <a:pt x="549" y="303"/>
                </a:cubicBezTo>
                <a:cubicBezTo>
                  <a:pt x="554" y="305"/>
                  <a:pt x="563" y="310"/>
                  <a:pt x="575" y="316"/>
                </a:cubicBezTo>
                <a:cubicBezTo>
                  <a:pt x="585" y="322"/>
                  <a:pt x="593" y="326"/>
                  <a:pt x="600" y="328"/>
                </a:cubicBezTo>
                <a:cubicBezTo>
                  <a:pt x="602" y="328"/>
                  <a:pt x="607" y="330"/>
                  <a:pt x="614" y="331"/>
                </a:cubicBezTo>
                <a:cubicBezTo>
                  <a:pt x="621" y="332"/>
                  <a:pt x="626" y="334"/>
                  <a:pt x="629" y="335"/>
                </a:cubicBezTo>
                <a:cubicBezTo>
                  <a:pt x="633" y="337"/>
                  <a:pt x="640" y="342"/>
                  <a:pt x="648" y="350"/>
                </a:cubicBezTo>
                <a:cubicBezTo>
                  <a:pt x="649" y="350"/>
                  <a:pt x="652" y="353"/>
                  <a:pt x="658" y="359"/>
                </a:cubicBezTo>
                <a:cubicBezTo>
                  <a:pt x="661" y="362"/>
                  <a:pt x="665" y="364"/>
                  <a:pt x="668" y="364"/>
                </a:cubicBezTo>
                <a:cubicBezTo>
                  <a:pt x="675" y="363"/>
                  <a:pt x="681" y="369"/>
                  <a:pt x="684" y="382"/>
                </a:cubicBezTo>
                <a:cubicBezTo>
                  <a:pt x="685" y="381"/>
                  <a:pt x="685" y="381"/>
                  <a:pt x="686" y="379"/>
                </a:cubicBezTo>
                <a:cubicBezTo>
                  <a:pt x="687" y="379"/>
                  <a:pt x="688" y="379"/>
                  <a:pt x="689" y="379"/>
                </a:cubicBezTo>
                <a:cubicBezTo>
                  <a:pt x="691" y="379"/>
                  <a:pt x="695" y="380"/>
                  <a:pt x="700" y="382"/>
                </a:cubicBezTo>
                <a:cubicBezTo>
                  <a:pt x="702" y="382"/>
                  <a:pt x="703" y="382"/>
                  <a:pt x="704" y="381"/>
                </a:cubicBezTo>
                <a:cubicBezTo>
                  <a:pt x="701" y="380"/>
                  <a:pt x="699" y="379"/>
                  <a:pt x="697" y="379"/>
                </a:cubicBezTo>
                <a:cubicBezTo>
                  <a:pt x="696" y="378"/>
                  <a:pt x="695" y="377"/>
                  <a:pt x="695" y="375"/>
                </a:cubicBezTo>
                <a:cubicBezTo>
                  <a:pt x="696" y="373"/>
                  <a:pt x="698" y="371"/>
                  <a:pt x="703" y="371"/>
                </a:cubicBezTo>
                <a:cubicBezTo>
                  <a:pt x="711" y="372"/>
                  <a:pt x="724" y="378"/>
                  <a:pt x="741" y="389"/>
                </a:cubicBezTo>
                <a:cubicBezTo>
                  <a:pt x="758" y="401"/>
                  <a:pt x="773" y="407"/>
                  <a:pt x="785" y="408"/>
                </a:cubicBezTo>
                <a:cubicBezTo>
                  <a:pt x="787" y="408"/>
                  <a:pt x="790" y="408"/>
                  <a:pt x="795" y="407"/>
                </a:cubicBezTo>
                <a:lnTo>
                  <a:pt x="796" y="406"/>
                </a:lnTo>
                <a:cubicBezTo>
                  <a:pt x="796" y="401"/>
                  <a:pt x="792" y="397"/>
                  <a:pt x="784" y="392"/>
                </a:cubicBezTo>
                <a:cubicBezTo>
                  <a:pt x="784" y="391"/>
                  <a:pt x="785" y="390"/>
                  <a:pt x="785" y="389"/>
                </a:cubicBezTo>
                <a:cubicBezTo>
                  <a:pt x="785" y="389"/>
                  <a:pt x="786" y="389"/>
                  <a:pt x="788" y="389"/>
                </a:cubicBezTo>
                <a:cubicBezTo>
                  <a:pt x="793" y="389"/>
                  <a:pt x="803" y="395"/>
                  <a:pt x="819" y="405"/>
                </a:cubicBezTo>
                <a:cubicBezTo>
                  <a:pt x="833" y="414"/>
                  <a:pt x="842" y="421"/>
                  <a:pt x="846" y="426"/>
                </a:cubicBezTo>
                <a:cubicBezTo>
                  <a:pt x="845" y="426"/>
                  <a:pt x="845" y="428"/>
                  <a:pt x="845" y="429"/>
                </a:cubicBezTo>
                <a:cubicBezTo>
                  <a:pt x="844" y="434"/>
                  <a:pt x="847" y="437"/>
                  <a:pt x="855" y="437"/>
                </a:cubicBezTo>
                <a:cubicBezTo>
                  <a:pt x="859" y="438"/>
                  <a:pt x="860" y="438"/>
                  <a:pt x="861" y="437"/>
                </a:cubicBezTo>
                <a:cubicBezTo>
                  <a:pt x="862" y="437"/>
                  <a:pt x="863" y="434"/>
                  <a:pt x="863" y="430"/>
                </a:cubicBezTo>
                <a:cubicBezTo>
                  <a:pt x="865" y="431"/>
                  <a:pt x="867" y="432"/>
                  <a:pt x="869" y="435"/>
                </a:cubicBezTo>
                <a:cubicBezTo>
                  <a:pt x="871" y="437"/>
                  <a:pt x="873" y="438"/>
                  <a:pt x="875" y="438"/>
                </a:cubicBezTo>
                <a:cubicBezTo>
                  <a:pt x="876" y="438"/>
                  <a:pt x="879" y="438"/>
                  <a:pt x="881" y="437"/>
                </a:cubicBezTo>
                <a:cubicBezTo>
                  <a:pt x="884" y="435"/>
                  <a:pt x="885" y="435"/>
                  <a:pt x="887" y="435"/>
                </a:cubicBezTo>
                <a:cubicBezTo>
                  <a:pt x="895" y="436"/>
                  <a:pt x="900" y="442"/>
                  <a:pt x="903" y="454"/>
                </a:cubicBezTo>
                <a:cubicBezTo>
                  <a:pt x="904" y="461"/>
                  <a:pt x="904" y="465"/>
                  <a:pt x="905" y="468"/>
                </a:cubicBezTo>
                <a:cubicBezTo>
                  <a:pt x="906" y="474"/>
                  <a:pt x="907" y="478"/>
                  <a:pt x="908" y="480"/>
                </a:cubicBezTo>
                <a:cubicBezTo>
                  <a:pt x="909" y="481"/>
                  <a:pt x="912" y="483"/>
                  <a:pt x="917" y="487"/>
                </a:cubicBezTo>
                <a:cubicBezTo>
                  <a:pt x="920" y="490"/>
                  <a:pt x="922" y="494"/>
                  <a:pt x="923" y="499"/>
                </a:cubicBezTo>
                <a:cubicBezTo>
                  <a:pt x="923" y="501"/>
                  <a:pt x="925" y="505"/>
                  <a:pt x="927" y="511"/>
                </a:cubicBezTo>
                <a:cubicBezTo>
                  <a:pt x="931" y="517"/>
                  <a:pt x="933" y="520"/>
                  <a:pt x="935" y="521"/>
                </a:cubicBezTo>
                <a:cubicBezTo>
                  <a:pt x="936" y="521"/>
                  <a:pt x="938" y="520"/>
                  <a:pt x="941" y="518"/>
                </a:cubicBezTo>
                <a:cubicBezTo>
                  <a:pt x="946" y="518"/>
                  <a:pt x="951" y="530"/>
                  <a:pt x="953" y="551"/>
                </a:cubicBezTo>
                <a:cubicBezTo>
                  <a:pt x="953" y="553"/>
                  <a:pt x="952" y="554"/>
                  <a:pt x="950" y="553"/>
                </a:cubicBezTo>
                <a:cubicBezTo>
                  <a:pt x="951" y="554"/>
                  <a:pt x="952" y="557"/>
                  <a:pt x="956" y="563"/>
                </a:cubicBezTo>
                <a:cubicBezTo>
                  <a:pt x="958" y="567"/>
                  <a:pt x="959" y="571"/>
                  <a:pt x="959" y="575"/>
                </a:cubicBezTo>
                <a:cubicBezTo>
                  <a:pt x="957" y="585"/>
                  <a:pt x="954" y="600"/>
                  <a:pt x="949" y="619"/>
                </a:cubicBezTo>
                <a:cubicBezTo>
                  <a:pt x="943" y="639"/>
                  <a:pt x="940" y="653"/>
                  <a:pt x="939" y="661"/>
                </a:cubicBezTo>
                <a:cubicBezTo>
                  <a:pt x="938" y="669"/>
                  <a:pt x="935" y="677"/>
                  <a:pt x="928" y="685"/>
                </a:cubicBezTo>
                <a:cubicBezTo>
                  <a:pt x="922" y="692"/>
                  <a:pt x="918" y="700"/>
                  <a:pt x="917" y="708"/>
                </a:cubicBezTo>
                <a:cubicBezTo>
                  <a:pt x="916" y="717"/>
                  <a:pt x="905" y="726"/>
                  <a:pt x="885" y="737"/>
                </a:cubicBezTo>
                <a:cubicBezTo>
                  <a:pt x="883" y="739"/>
                  <a:pt x="880" y="741"/>
                  <a:pt x="878" y="745"/>
                </a:cubicBezTo>
                <a:cubicBezTo>
                  <a:pt x="875" y="750"/>
                  <a:pt x="873" y="754"/>
                  <a:pt x="872" y="754"/>
                </a:cubicBezTo>
                <a:cubicBezTo>
                  <a:pt x="871" y="756"/>
                  <a:pt x="868" y="757"/>
                  <a:pt x="863" y="759"/>
                </a:cubicBezTo>
                <a:cubicBezTo>
                  <a:pt x="859" y="761"/>
                  <a:pt x="855" y="763"/>
                  <a:pt x="854" y="764"/>
                </a:cubicBezTo>
                <a:cubicBezTo>
                  <a:pt x="852" y="765"/>
                  <a:pt x="847" y="769"/>
                  <a:pt x="839" y="777"/>
                </a:cubicBezTo>
                <a:cubicBezTo>
                  <a:pt x="832" y="783"/>
                  <a:pt x="827" y="787"/>
                  <a:pt x="822" y="788"/>
                </a:cubicBezTo>
                <a:cubicBezTo>
                  <a:pt x="798" y="794"/>
                  <a:pt x="782" y="797"/>
                  <a:pt x="774" y="796"/>
                </a:cubicBezTo>
                <a:cubicBezTo>
                  <a:pt x="763" y="795"/>
                  <a:pt x="750" y="792"/>
                  <a:pt x="736" y="787"/>
                </a:cubicBezTo>
                <a:cubicBezTo>
                  <a:pt x="722" y="783"/>
                  <a:pt x="710" y="780"/>
                  <a:pt x="700" y="779"/>
                </a:cubicBezTo>
                <a:cubicBezTo>
                  <a:pt x="684" y="777"/>
                  <a:pt x="669" y="778"/>
                  <a:pt x="655" y="782"/>
                </a:cubicBezTo>
                <a:cubicBezTo>
                  <a:pt x="641" y="785"/>
                  <a:pt x="623" y="786"/>
                  <a:pt x="602" y="784"/>
                </a:cubicBezTo>
                <a:cubicBezTo>
                  <a:pt x="584" y="783"/>
                  <a:pt x="574" y="783"/>
                  <a:pt x="572" y="783"/>
                </a:cubicBezTo>
                <a:cubicBezTo>
                  <a:pt x="561" y="782"/>
                  <a:pt x="551" y="778"/>
                  <a:pt x="542" y="772"/>
                </a:cubicBezTo>
                <a:cubicBezTo>
                  <a:pt x="533" y="766"/>
                  <a:pt x="527" y="762"/>
                  <a:pt x="524" y="762"/>
                </a:cubicBezTo>
                <a:cubicBezTo>
                  <a:pt x="521" y="761"/>
                  <a:pt x="516" y="764"/>
                  <a:pt x="511" y="769"/>
                </a:cubicBezTo>
                <a:cubicBezTo>
                  <a:pt x="506" y="775"/>
                  <a:pt x="502" y="777"/>
                  <a:pt x="499" y="777"/>
                </a:cubicBezTo>
                <a:cubicBezTo>
                  <a:pt x="496" y="776"/>
                  <a:pt x="494" y="775"/>
                  <a:pt x="491" y="773"/>
                </a:cubicBezTo>
                <a:cubicBezTo>
                  <a:pt x="489" y="771"/>
                  <a:pt x="487" y="769"/>
                  <a:pt x="485" y="768"/>
                </a:cubicBezTo>
                <a:cubicBezTo>
                  <a:pt x="486" y="766"/>
                  <a:pt x="487" y="765"/>
                  <a:pt x="489" y="764"/>
                </a:cubicBezTo>
                <a:lnTo>
                  <a:pt x="489" y="762"/>
                </a:lnTo>
                <a:cubicBezTo>
                  <a:pt x="486" y="761"/>
                  <a:pt x="483" y="760"/>
                  <a:pt x="481" y="760"/>
                </a:cubicBezTo>
                <a:cubicBezTo>
                  <a:pt x="478" y="759"/>
                  <a:pt x="473" y="760"/>
                  <a:pt x="467" y="761"/>
                </a:cubicBezTo>
                <a:cubicBezTo>
                  <a:pt x="468" y="757"/>
                  <a:pt x="467" y="752"/>
                  <a:pt x="466" y="748"/>
                </a:cubicBezTo>
                <a:cubicBezTo>
                  <a:pt x="466" y="747"/>
                  <a:pt x="465" y="746"/>
                  <a:pt x="464" y="746"/>
                </a:cubicBezTo>
                <a:cubicBezTo>
                  <a:pt x="464" y="750"/>
                  <a:pt x="464" y="754"/>
                  <a:pt x="462" y="756"/>
                </a:cubicBezTo>
                <a:cubicBezTo>
                  <a:pt x="461" y="759"/>
                  <a:pt x="459" y="761"/>
                  <a:pt x="456" y="760"/>
                </a:cubicBezTo>
                <a:cubicBezTo>
                  <a:pt x="455" y="760"/>
                  <a:pt x="450" y="758"/>
                  <a:pt x="441" y="753"/>
                </a:cubicBezTo>
                <a:cubicBezTo>
                  <a:pt x="432" y="748"/>
                  <a:pt x="425" y="744"/>
                  <a:pt x="422" y="743"/>
                </a:cubicBezTo>
                <a:lnTo>
                  <a:pt x="421" y="749"/>
                </a:lnTo>
                <a:cubicBezTo>
                  <a:pt x="421" y="751"/>
                  <a:pt x="422" y="754"/>
                  <a:pt x="424" y="759"/>
                </a:cubicBezTo>
                <a:cubicBezTo>
                  <a:pt x="424" y="759"/>
                  <a:pt x="424" y="760"/>
                  <a:pt x="424" y="760"/>
                </a:cubicBezTo>
                <a:cubicBezTo>
                  <a:pt x="416" y="757"/>
                  <a:pt x="404" y="752"/>
                  <a:pt x="389" y="744"/>
                </a:cubicBezTo>
                <a:cubicBezTo>
                  <a:pt x="368" y="733"/>
                  <a:pt x="358" y="724"/>
                  <a:pt x="359" y="718"/>
                </a:cubicBezTo>
                <a:cubicBezTo>
                  <a:pt x="359" y="717"/>
                  <a:pt x="360" y="715"/>
                  <a:pt x="361" y="714"/>
                </a:cubicBezTo>
                <a:lnTo>
                  <a:pt x="362" y="707"/>
                </a:lnTo>
                <a:cubicBezTo>
                  <a:pt x="343" y="703"/>
                  <a:pt x="332" y="701"/>
                  <a:pt x="330" y="701"/>
                </a:cubicBezTo>
                <a:cubicBezTo>
                  <a:pt x="322" y="700"/>
                  <a:pt x="316" y="701"/>
                  <a:pt x="310" y="704"/>
                </a:cubicBezTo>
                <a:cubicBezTo>
                  <a:pt x="303" y="708"/>
                  <a:pt x="296" y="711"/>
                  <a:pt x="291" y="713"/>
                </a:cubicBezTo>
                <a:lnTo>
                  <a:pt x="291" y="714"/>
                </a:lnTo>
                <a:cubicBezTo>
                  <a:pt x="293" y="712"/>
                  <a:pt x="299" y="712"/>
                  <a:pt x="308" y="713"/>
                </a:cubicBezTo>
                <a:cubicBezTo>
                  <a:pt x="314" y="713"/>
                  <a:pt x="317" y="715"/>
                  <a:pt x="318" y="717"/>
                </a:cubicBezTo>
                <a:cubicBezTo>
                  <a:pt x="318" y="720"/>
                  <a:pt x="322" y="721"/>
                  <a:pt x="329" y="722"/>
                </a:cubicBezTo>
                <a:cubicBezTo>
                  <a:pt x="334" y="722"/>
                  <a:pt x="337" y="724"/>
                  <a:pt x="340" y="727"/>
                </a:cubicBezTo>
                <a:cubicBezTo>
                  <a:pt x="343" y="731"/>
                  <a:pt x="344" y="734"/>
                  <a:pt x="344" y="738"/>
                </a:cubicBezTo>
                <a:cubicBezTo>
                  <a:pt x="342" y="743"/>
                  <a:pt x="341" y="746"/>
                  <a:pt x="341" y="747"/>
                </a:cubicBezTo>
                <a:cubicBezTo>
                  <a:pt x="341" y="749"/>
                  <a:pt x="342" y="750"/>
                  <a:pt x="341" y="751"/>
                </a:cubicBezTo>
                <a:cubicBezTo>
                  <a:pt x="343" y="750"/>
                  <a:pt x="345" y="749"/>
                  <a:pt x="347" y="749"/>
                </a:cubicBezTo>
                <a:cubicBezTo>
                  <a:pt x="348" y="749"/>
                  <a:pt x="352" y="752"/>
                  <a:pt x="358" y="756"/>
                </a:cubicBezTo>
                <a:cubicBezTo>
                  <a:pt x="366" y="761"/>
                  <a:pt x="373" y="764"/>
                  <a:pt x="379" y="766"/>
                </a:cubicBezTo>
                <a:cubicBezTo>
                  <a:pt x="378" y="768"/>
                  <a:pt x="378" y="770"/>
                  <a:pt x="376" y="771"/>
                </a:cubicBezTo>
                <a:cubicBezTo>
                  <a:pt x="375" y="773"/>
                  <a:pt x="374" y="774"/>
                  <a:pt x="374" y="774"/>
                </a:cubicBezTo>
                <a:lnTo>
                  <a:pt x="397" y="776"/>
                </a:lnTo>
                <a:cubicBezTo>
                  <a:pt x="401" y="777"/>
                  <a:pt x="403" y="777"/>
                  <a:pt x="403" y="777"/>
                </a:cubicBezTo>
                <a:cubicBezTo>
                  <a:pt x="404" y="777"/>
                  <a:pt x="405" y="779"/>
                  <a:pt x="407" y="782"/>
                </a:cubicBezTo>
                <a:cubicBezTo>
                  <a:pt x="407" y="782"/>
                  <a:pt x="406" y="783"/>
                  <a:pt x="404" y="784"/>
                </a:cubicBezTo>
                <a:cubicBezTo>
                  <a:pt x="402" y="785"/>
                  <a:pt x="399" y="787"/>
                  <a:pt x="395" y="789"/>
                </a:cubicBezTo>
                <a:cubicBezTo>
                  <a:pt x="388" y="792"/>
                  <a:pt x="385" y="795"/>
                  <a:pt x="385" y="798"/>
                </a:cubicBezTo>
                <a:cubicBezTo>
                  <a:pt x="385" y="799"/>
                  <a:pt x="386" y="801"/>
                  <a:pt x="389" y="803"/>
                </a:cubicBezTo>
                <a:cubicBezTo>
                  <a:pt x="392" y="805"/>
                  <a:pt x="393" y="808"/>
                  <a:pt x="393" y="812"/>
                </a:cubicBezTo>
                <a:lnTo>
                  <a:pt x="400" y="812"/>
                </a:lnTo>
                <a:cubicBezTo>
                  <a:pt x="400" y="811"/>
                  <a:pt x="401" y="808"/>
                  <a:pt x="403" y="805"/>
                </a:cubicBezTo>
                <a:cubicBezTo>
                  <a:pt x="404" y="805"/>
                  <a:pt x="407" y="805"/>
                  <a:pt x="410" y="804"/>
                </a:cubicBezTo>
                <a:cubicBezTo>
                  <a:pt x="413" y="804"/>
                  <a:pt x="416" y="806"/>
                  <a:pt x="419" y="807"/>
                </a:cubicBezTo>
                <a:cubicBezTo>
                  <a:pt x="421" y="809"/>
                  <a:pt x="424" y="810"/>
                  <a:pt x="425" y="810"/>
                </a:cubicBezTo>
                <a:cubicBezTo>
                  <a:pt x="426" y="810"/>
                  <a:pt x="429" y="810"/>
                  <a:pt x="433" y="810"/>
                </a:cubicBezTo>
                <a:cubicBezTo>
                  <a:pt x="437" y="809"/>
                  <a:pt x="439" y="808"/>
                  <a:pt x="442" y="809"/>
                </a:cubicBezTo>
                <a:cubicBezTo>
                  <a:pt x="446" y="809"/>
                  <a:pt x="447" y="812"/>
                  <a:pt x="448" y="817"/>
                </a:cubicBezTo>
                <a:cubicBezTo>
                  <a:pt x="446" y="817"/>
                  <a:pt x="444" y="817"/>
                  <a:pt x="443" y="818"/>
                </a:cubicBezTo>
                <a:cubicBezTo>
                  <a:pt x="441" y="818"/>
                  <a:pt x="440" y="819"/>
                  <a:pt x="439" y="819"/>
                </a:cubicBezTo>
                <a:lnTo>
                  <a:pt x="439" y="821"/>
                </a:lnTo>
                <a:cubicBezTo>
                  <a:pt x="441" y="821"/>
                  <a:pt x="443" y="822"/>
                  <a:pt x="445" y="823"/>
                </a:cubicBezTo>
                <a:cubicBezTo>
                  <a:pt x="447" y="825"/>
                  <a:pt x="449" y="826"/>
                  <a:pt x="450" y="826"/>
                </a:cubicBezTo>
                <a:cubicBezTo>
                  <a:pt x="450" y="828"/>
                  <a:pt x="447" y="831"/>
                  <a:pt x="443" y="833"/>
                </a:cubicBezTo>
                <a:cubicBezTo>
                  <a:pt x="437" y="835"/>
                  <a:pt x="434" y="837"/>
                  <a:pt x="433" y="838"/>
                </a:cubicBezTo>
                <a:lnTo>
                  <a:pt x="433" y="839"/>
                </a:lnTo>
                <a:lnTo>
                  <a:pt x="438" y="839"/>
                </a:lnTo>
                <a:cubicBezTo>
                  <a:pt x="445" y="838"/>
                  <a:pt x="450" y="837"/>
                  <a:pt x="454" y="838"/>
                </a:cubicBezTo>
                <a:cubicBezTo>
                  <a:pt x="455" y="838"/>
                  <a:pt x="457" y="839"/>
                  <a:pt x="460" y="841"/>
                </a:cubicBezTo>
                <a:cubicBezTo>
                  <a:pt x="463" y="842"/>
                  <a:pt x="465" y="843"/>
                  <a:pt x="467" y="844"/>
                </a:cubicBezTo>
                <a:cubicBezTo>
                  <a:pt x="468" y="844"/>
                  <a:pt x="470" y="843"/>
                  <a:pt x="474" y="841"/>
                </a:cubicBezTo>
                <a:cubicBezTo>
                  <a:pt x="478" y="839"/>
                  <a:pt x="481" y="838"/>
                  <a:pt x="484" y="838"/>
                </a:cubicBezTo>
                <a:cubicBezTo>
                  <a:pt x="484" y="838"/>
                  <a:pt x="486" y="840"/>
                  <a:pt x="490" y="845"/>
                </a:cubicBezTo>
                <a:cubicBezTo>
                  <a:pt x="493" y="848"/>
                  <a:pt x="496" y="850"/>
                  <a:pt x="498" y="850"/>
                </a:cubicBezTo>
                <a:cubicBezTo>
                  <a:pt x="508" y="851"/>
                  <a:pt x="515" y="853"/>
                  <a:pt x="519" y="856"/>
                </a:cubicBezTo>
                <a:cubicBezTo>
                  <a:pt x="522" y="859"/>
                  <a:pt x="527" y="862"/>
                  <a:pt x="534" y="866"/>
                </a:cubicBezTo>
                <a:cubicBezTo>
                  <a:pt x="540" y="871"/>
                  <a:pt x="543" y="877"/>
                  <a:pt x="542" y="884"/>
                </a:cubicBezTo>
                <a:cubicBezTo>
                  <a:pt x="551" y="886"/>
                  <a:pt x="558" y="890"/>
                  <a:pt x="562" y="897"/>
                </a:cubicBezTo>
                <a:cubicBezTo>
                  <a:pt x="565" y="901"/>
                  <a:pt x="567" y="909"/>
                  <a:pt x="570" y="919"/>
                </a:cubicBezTo>
                <a:lnTo>
                  <a:pt x="570" y="920"/>
                </a:lnTo>
                <a:cubicBezTo>
                  <a:pt x="565" y="917"/>
                  <a:pt x="560" y="916"/>
                  <a:pt x="554" y="915"/>
                </a:cubicBezTo>
                <a:cubicBezTo>
                  <a:pt x="554" y="916"/>
                  <a:pt x="553" y="916"/>
                  <a:pt x="553" y="916"/>
                </a:cubicBezTo>
                <a:cubicBezTo>
                  <a:pt x="554" y="920"/>
                  <a:pt x="556" y="925"/>
                  <a:pt x="560" y="932"/>
                </a:cubicBezTo>
                <a:cubicBezTo>
                  <a:pt x="562" y="936"/>
                  <a:pt x="563" y="939"/>
                  <a:pt x="565" y="942"/>
                </a:cubicBezTo>
                <a:cubicBezTo>
                  <a:pt x="564" y="955"/>
                  <a:pt x="561" y="962"/>
                  <a:pt x="557" y="964"/>
                </a:cubicBezTo>
                <a:cubicBezTo>
                  <a:pt x="557" y="967"/>
                  <a:pt x="558" y="969"/>
                  <a:pt x="559" y="970"/>
                </a:cubicBezTo>
                <a:cubicBezTo>
                  <a:pt x="560" y="971"/>
                  <a:pt x="562" y="973"/>
                  <a:pt x="564" y="975"/>
                </a:cubicBezTo>
                <a:cubicBezTo>
                  <a:pt x="560" y="974"/>
                  <a:pt x="556" y="975"/>
                  <a:pt x="553" y="979"/>
                </a:cubicBezTo>
                <a:cubicBezTo>
                  <a:pt x="548" y="983"/>
                  <a:pt x="546" y="986"/>
                  <a:pt x="544" y="987"/>
                </a:cubicBezTo>
                <a:cubicBezTo>
                  <a:pt x="544" y="987"/>
                  <a:pt x="544" y="988"/>
                  <a:pt x="544" y="989"/>
                </a:cubicBezTo>
                <a:lnTo>
                  <a:pt x="544" y="989"/>
                </a:lnTo>
                <a:cubicBezTo>
                  <a:pt x="545" y="989"/>
                  <a:pt x="546" y="989"/>
                  <a:pt x="546" y="989"/>
                </a:cubicBezTo>
                <a:cubicBezTo>
                  <a:pt x="549" y="989"/>
                  <a:pt x="551" y="991"/>
                  <a:pt x="552" y="994"/>
                </a:cubicBezTo>
                <a:cubicBezTo>
                  <a:pt x="553" y="996"/>
                  <a:pt x="554" y="999"/>
                  <a:pt x="555" y="1003"/>
                </a:cubicBezTo>
                <a:cubicBezTo>
                  <a:pt x="556" y="1005"/>
                  <a:pt x="559" y="1007"/>
                  <a:pt x="563" y="1008"/>
                </a:cubicBezTo>
                <a:cubicBezTo>
                  <a:pt x="568" y="1009"/>
                  <a:pt x="570" y="1011"/>
                  <a:pt x="571" y="1012"/>
                </a:cubicBezTo>
                <a:cubicBezTo>
                  <a:pt x="572" y="1013"/>
                  <a:pt x="573" y="1017"/>
                  <a:pt x="576" y="1023"/>
                </a:cubicBezTo>
                <a:cubicBezTo>
                  <a:pt x="577" y="1027"/>
                  <a:pt x="579" y="1029"/>
                  <a:pt x="580" y="1029"/>
                </a:cubicBezTo>
                <a:cubicBezTo>
                  <a:pt x="588" y="1034"/>
                  <a:pt x="592" y="1038"/>
                  <a:pt x="592" y="1042"/>
                </a:cubicBezTo>
                <a:cubicBezTo>
                  <a:pt x="591" y="1043"/>
                  <a:pt x="591" y="1044"/>
                  <a:pt x="589" y="1045"/>
                </a:cubicBezTo>
                <a:cubicBezTo>
                  <a:pt x="588" y="1047"/>
                  <a:pt x="587" y="1049"/>
                  <a:pt x="587" y="1051"/>
                </a:cubicBezTo>
                <a:cubicBezTo>
                  <a:pt x="601" y="1067"/>
                  <a:pt x="608" y="1076"/>
                  <a:pt x="607" y="1078"/>
                </a:cubicBezTo>
                <a:cubicBezTo>
                  <a:pt x="607" y="1079"/>
                  <a:pt x="606" y="1082"/>
                  <a:pt x="603" y="1086"/>
                </a:cubicBezTo>
                <a:lnTo>
                  <a:pt x="602" y="1092"/>
                </a:lnTo>
                <a:cubicBezTo>
                  <a:pt x="603" y="1092"/>
                  <a:pt x="605" y="1091"/>
                  <a:pt x="608" y="1089"/>
                </a:cubicBezTo>
                <a:cubicBezTo>
                  <a:pt x="610" y="1088"/>
                  <a:pt x="612" y="1087"/>
                  <a:pt x="614" y="1087"/>
                </a:cubicBezTo>
                <a:cubicBezTo>
                  <a:pt x="616" y="1087"/>
                  <a:pt x="617" y="1088"/>
                  <a:pt x="618" y="1089"/>
                </a:cubicBezTo>
                <a:cubicBezTo>
                  <a:pt x="615" y="1091"/>
                  <a:pt x="613" y="1092"/>
                  <a:pt x="612" y="1093"/>
                </a:cubicBezTo>
                <a:cubicBezTo>
                  <a:pt x="610" y="1095"/>
                  <a:pt x="609" y="1097"/>
                  <a:pt x="609" y="1100"/>
                </a:cubicBezTo>
                <a:cubicBezTo>
                  <a:pt x="608" y="1101"/>
                  <a:pt x="610" y="1104"/>
                  <a:pt x="612" y="1107"/>
                </a:cubicBezTo>
                <a:cubicBezTo>
                  <a:pt x="615" y="1111"/>
                  <a:pt x="616" y="1115"/>
                  <a:pt x="617" y="1121"/>
                </a:cubicBezTo>
                <a:cubicBezTo>
                  <a:pt x="617" y="1126"/>
                  <a:pt x="617" y="1130"/>
                  <a:pt x="618" y="1132"/>
                </a:cubicBezTo>
                <a:cubicBezTo>
                  <a:pt x="620" y="1134"/>
                  <a:pt x="622" y="1136"/>
                  <a:pt x="627" y="1137"/>
                </a:cubicBezTo>
                <a:cubicBezTo>
                  <a:pt x="630" y="1138"/>
                  <a:pt x="633" y="1140"/>
                  <a:pt x="635" y="1144"/>
                </a:cubicBezTo>
                <a:cubicBezTo>
                  <a:pt x="636" y="1145"/>
                  <a:pt x="640" y="1147"/>
                  <a:pt x="646" y="1148"/>
                </a:cubicBezTo>
                <a:cubicBezTo>
                  <a:pt x="654" y="1153"/>
                  <a:pt x="660" y="1157"/>
                  <a:pt x="665" y="1159"/>
                </a:cubicBezTo>
                <a:cubicBezTo>
                  <a:pt x="670" y="1156"/>
                  <a:pt x="676" y="1154"/>
                  <a:pt x="683" y="1151"/>
                </a:cubicBezTo>
                <a:cubicBezTo>
                  <a:pt x="680" y="1146"/>
                  <a:pt x="678" y="1143"/>
                  <a:pt x="677" y="1142"/>
                </a:cubicBezTo>
                <a:lnTo>
                  <a:pt x="680" y="1143"/>
                </a:lnTo>
                <a:cubicBezTo>
                  <a:pt x="683" y="1143"/>
                  <a:pt x="689" y="1146"/>
                  <a:pt x="698" y="1151"/>
                </a:cubicBezTo>
                <a:cubicBezTo>
                  <a:pt x="700" y="1153"/>
                  <a:pt x="702" y="1154"/>
                  <a:pt x="704" y="1155"/>
                </a:cubicBezTo>
                <a:cubicBezTo>
                  <a:pt x="710" y="1159"/>
                  <a:pt x="713" y="1162"/>
                  <a:pt x="715" y="1164"/>
                </a:cubicBezTo>
                <a:cubicBezTo>
                  <a:pt x="716" y="1163"/>
                  <a:pt x="717" y="1161"/>
                  <a:pt x="718" y="1157"/>
                </a:cubicBezTo>
                <a:cubicBezTo>
                  <a:pt x="725" y="1160"/>
                  <a:pt x="734" y="1167"/>
                  <a:pt x="747" y="1177"/>
                </a:cubicBezTo>
                <a:lnTo>
                  <a:pt x="743" y="1181"/>
                </a:lnTo>
                <a:cubicBezTo>
                  <a:pt x="747" y="1188"/>
                  <a:pt x="749" y="1194"/>
                  <a:pt x="752" y="1198"/>
                </a:cubicBezTo>
                <a:cubicBezTo>
                  <a:pt x="753" y="1198"/>
                  <a:pt x="757" y="1199"/>
                  <a:pt x="765" y="1200"/>
                </a:cubicBezTo>
                <a:cubicBezTo>
                  <a:pt x="768" y="1200"/>
                  <a:pt x="772" y="1201"/>
                  <a:pt x="779" y="1204"/>
                </a:cubicBezTo>
                <a:cubicBezTo>
                  <a:pt x="784" y="1205"/>
                  <a:pt x="789" y="1206"/>
                  <a:pt x="794" y="1206"/>
                </a:cubicBezTo>
                <a:cubicBezTo>
                  <a:pt x="794" y="1204"/>
                  <a:pt x="797" y="1201"/>
                  <a:pt x="802" y="1199"/>
                </a:cubicBezTo>
                <a:cubicBezTo>
                  <a:pt x="806" y="1197"/>
                  <a:pt x="809" y="1196"/>
                  <a:pt x="810" y="1196"/>
                </a:cubicBezTo>
                <a:cubicBezTo>
                  <a:pt x="811" y="1197"/>
                  <a:pt x="813" y="1198"/>
                  <a:pt x="815" y="1201"/>
                </a:cubicBezTo>
                <a:cubicBezTo>
                  <a:pt x="817" y="1201"/>
                  <a:pt x="819" y="1200"/>
                  <a:pt x="821" y="1199"/>
                </a:cubicBezTo>
                <a:cubicBezTo>
                  <a:pt x="823" y="1198"/>
                  <a:pt x="824" y="1197"/>
                  <a:pt x="825" y="1197"/>
                </a:cubicBezTo>
                <a:cubicBezTo>
                  <a:pt x="828" y="1197"/>
                  <a:pt x="832" y="1199"/>
                  <a:pt x="835" y="1203"/>
                </a:cubicBezTo>
                <a:cubicBezTo>
                  <a:pt x="838" y="1206"/>
                  <a:pt x="841" y="1208"/>
                  <a:pt x="844" y="1208"/>
                </a:cubicBezTo>
                <a:cubicBezTo>
                  <a:pt x="846" y="1208"/>
                  <a:pt x="849" y="1207"/>
                  <a:pt x="851" y="1205"/>
                </a:cubicBezTo>
                <a:cubicBezTo>
                  <a:pt x="854" y="1203"/>
                  <a:pt x="855" y="1201"/>
                  <a:pt x="856" y="1199"/>
                </a:cubicBezTo>
                <a:cubicBezTo>
                  <a:pt x="856" y="1198"/>
                  <a:pt x="855" y="1196"/>
                  <a:pt x="854" y="1192"/>
                </a:cubicBezTo>
                <a:cubicBezTo>
                  <a:pt x="853" y="1188"/>
                  <a:pt x="852" y="1185"/>
                  <a:pt x="853" y="1181"/>
                </a:cubicBezTo>
                <a:cubicBezTo>
                  <a:pt x="855" y="1181"/>
                  <a:pt x="858" y="1180"/>
                  <a:pt x="863" y="1179"/>
                </a:cubicBezTo>
                <a:cubicBezTo>
                  <a:pt x="868" y="1178"/>
                  <a:pt x="871" y="1176"/>
                  <a:pt x="874" y="1173"/>
                </a:cubicBezTo>
                <a:cubicBezTo>
                  <a:pt x="880" y="1167"/>
                  <a:pt x="884" y="1160"/>
                  <a:pt x="885" y="1151"/>
                </a:cubicBezTo>
                <a:cubicBezTo>
                  <a:pt x="885" y="1145"/>
                  <a:pt x="882" y="1138"/>
                  <a:pt x="874" y="1132"/>
                </a:cubicBezTo>
                <a:cubicBezTo>
                  <a:pt x="867" y="1127"/>
                  <a:pt x="864" y="1120"/>
                  <a:pt x="864" y="1113"/>
                </a:cubicBezTo>
                <a:cubicBezTo>
                  <a:pt x="865" y="1111"/>
                  <a:pt x="865" y="1109"/>
                  <a:pt x="864" y="1105"/>
                </a:cubicBezTo>
                <a:cubicBezTo>
                  <a:pt x="858" y="1106"/>
                  <a:pt x="853" y="1103"/>
                  <a:pt x="851" y="1099"/>
                </a:cubicBezTo>
                <a:cubicBezTo>
                  <a:pt x="849" y="1097"/>
                  <a:pt x="848" y="1095"/>
                  <a:pt x="847" y="1094"/>
                </a:cubicBezTo>
                <a:cubicBezTo>
                  <a:pt x="846" y="1091"/>
                  <a:pt x="844" y="1089"/>
                  <a:pt x="843" y="1088"/>
                </a:cubicBezTo>
                <a:lnTo>
                  <a:pt x="837" y="1087"/>
                </a:lnTo>
                <a:cubicBezTo>
                  <a:pt x="837" y="1088"/>
                  <a:pt x="837" y="1089"/>
                  <a:pt x="836" y="1088"/>
                </a:cubicBezTo>
                <a:cubicBezTo>
                  <a:pt x="836" y="1091"/>
                  <a:pt x="836" y="1095"/>
                  <a:pt x="836" y="1102"/>
                </a:cubicBezTo>
                <a:cubicBezTo>
                  <a:pt x="819" y="1107"/>
                  <a:pt x="808" y="1110"/>
                  <a:pt x="804" y="1109"/>
                </a:cubicBezTo>
                <a:cubicBezTo>
                  <a:pt x="800" y="1109"/>
                  <a:pt x="792" y="1103"/>
                  <a:pt x="782" y="1092"/>
                </a:cubicBezTo>
                <a:cubicBezTo>
                  <a:pt x="771" y="1080"/>
                  <a:pt x="765" y="1073"/>
                  <a:pt x="763" y="1070"/>
                </a:cubicBezTo>
                <a:cubicBezTo>
                  <a:pt x="760" y="1068"/>
                  <a:pt x="756" y="1065"/>
                  <a:pt x="752" y="1063"/>
                </a:cubicBezTo>
                <a:cubicBezTo>
                  <a:pt x="746" y="1061"/>
                  <a:pt x="742" y="1059"/>
                  <a:pt x="740" y="1058"/>
                </a:cubicBezTo>
                <a:cubicBezTo>
                  <a:pt x="732" y="1055"/>
                  <a:pt x="729" y="1050"/>
                  <a:pt x="730" y="1043"/>
                </a:cubicBezTo>
                <a:cubicBezTo>
                  <a:pt x="727" y="1041"/>
                  <a:pt x="725" y="1039"/>
                  <a:pt x="724" y="1037"/>
                </a:cubicBezTo>
                <a:cubicBezTo>
                  <a:pt x="721" y="1034"/>
                  <a:pt x="719" y="1032"/>
                  <a:pt x="720" y="1029"/>
                </a:cubicBezTo>
                <a:cubicBezTo>
                  <a:pt x="720" y="1029"/>
                  <a:pt x="721" y="1029"/>
                  <a:pt x="722" y="1028"/>
                </a:cubicBezTo>
                <a:cubicBezTo>
                  <a:pt x="722" y="1027"/>
                  <a:pt x="723" y="1027"/>
                  <a:pt x="724" y="1027"/>
                </a:cubicBezTo>
                <a:cubicBezTo>
                  <a:pt x="726" y="1027"/>
                  <a:pt x="728" y="1029"/>
                  <a:pt x="731" y="1030"/>
                </a:cubicBezTo>
                <a:cubicBezTo>
                  <a:pt x="734" y="1031"/>
                  <a:pt x="738" y="1027"/>
                  <a:pt x="741" y="1021"/>
                </a:cubicBezTo>
                <a:cubicBezTo>
                  <a:pt x="744" y="1016"/>
                  <a:pt x="746" y="1011"/>
                  <a:pt x="746" y="1008"/>
                </a:cubicBezTo>
                <a:cubicBezTo>
                  <a:pt x="747" y="1004"/>
                  <a:pt x="745" y="999"/>
                  <a:pt x="741" y="991"/>
                </a:cubicBezTo>
                <a:cubicBezTo>
                  <a:pt x="737" y="984"/>
                  <a:pt x="735" y="980"/>
                  <a:pt x="735" y="980"/>
                </a:cubicBezTo>
                <a:cubicBezTo>
                  <a:pt x="736" y="977"/>
                  <a:pt x="738" y="974"/>
                  <a:pt x="742" y="972"/>
                </a:cubicBezTo>
                <a:cubicBezTo>
                  <a:pt x="745" y="971"/>
                  <a:pt x="748" y="971"/>
                  <a:pt x="751" y="971"/>
                </a:cubicBezTo>
                <a:cubicBezTo>
                  <a:pt x="752" y="971"/>
                  <a:pt x="755" y="972"/>
                  <a:pt x="760" y="972"/>
                </a:cubicBezTo>
                <a:cubicBezTo>
                  <a:pt x="764" y="973"/>
                  <a:pt x="767" y="974"/>
                  <a:pt x="768" y="975"/>
                </a:cubicBezTo>
                <a:cubicBezTo>
                  <a:pt x="769" y="976"/>
                  <a:pt x="771" y="976"/>
                  <a:pt x="775" y="976"/>
                </a:cubicBezTo>
                <a:cubicBezTo>
                  <a:pt x="779" y="975"/>
                  <a:pt x="782" y="976"/>
                  <a:pt x="786" y="977"/>
                </a:cubicBezTo>
                <a:lnTo>
                  <a:pt x="806" y="983"/>
                </a:lnTo>
                <a:cubicBezTo>
                  <a:pt x="814" y="983"/>
                  <a:pt x="818" y="988"/>
                  <a:pt x="820" y="995"/>
                </a:cubicBezTo>
                <a:cubicBezTo>
                  <a:pt x="821" y="999"/>
                  <a:pt x="822" y="1002"/>
                  <a:pt x="823" y="1003"/>
                </a:cubicBezTo>
                <a:cubicBezTo>
                  <a:pt x="824" y="1005"/>
                  <a:pt x="827" y="1007"/>
                  <a:pt x="831" y="1007"/>
                </a:cubicBezTo>
                <a:cubicBezTo>
                  <a:pt x="834" y="1007"/>
                  <a:pt x="840" y="1007"/>
                  <a:pt x="848" y="1005"/>
                </a:cubicBezTo>
                <a:cubicBezTo>
                  <a:pt x="856" y="1003"/>
                  <a:pt x="861" y="1002"/>
                  <a:pt x="861" y="1002"/>
                </a:cubicBezTo>
                <a:cubicBezTo>
                  <a:pt x="863" y="1002"/>
                  <a:pt x="864" y="1003"/>
                  <a:pt x="865" y="1005"/>
                </a:cubicBezTo>
                <a:cubicBezTo>
                  <a:pt x="865" y="1007"/>
                  <a:pt x="866" y="1009"/>
                  <a:pt x="867" y="1010"/>
                </a:cubicBezTo>
                <a:cubicBezTo>
                  <a:pt x="856" y="1014"/>
                  <a:pt x="850" y="1019"/>
                  <a:pt x="850" y="1024"/>
                </a:cubicBezTo>
                <a:cubicBezTo>
                  <a:pt x="849" y="1028"/>
                  <a:pt x="850" y="1031"/>
                  <a:pt x="852" y="1033"/>
                </a:cubicBezTo>
                <a:cubicBezTo>
                  <a:pt x="854" y="1034"/>
                  <a:pt x="856" y="1038"/>
                  <a:pt x="858" y="1045"/>
                </a:cubicBezTo>
                <a:lnTo>
                  <a:pt x="858" y="1046"/>
                </a:lnTo>
                <a:cubicBezTo>
                  <a:pt x="859" y="1037"/>
                  <a:pt x="861" y="1031"/>
                  <a:pt x="864" y="1028"/>
                </a:cubicBezTo>
                <a:cubicBezTo>
                  <a:pt x="866" y="1024"/>
                  <a:pt x="870" y="1023"/>
                  <a:pt x="875" y="1023"/>
                </a:cubicBezTo>
                <a:cubicBezTo>
                  <a:pt x="877" y="1023"/>
                  <a:pt x="880" y="1024"/>
                  <a:pt x="885" y="1023"/>
                </a:cubicBezTo>
                <a:cubicBezTo>
                  <a:pt x="880" y="1017"/>
                  <a:pt x="878" y="1013"/>
                  <a:pt x="879" y="1011"/>
                </a:cubicBezTo>
                <a:cubicBezTo>
                  <a:pt x="884" y="1007"/>
                  <a:pt x="890" y="1005"/>
                  <a:pt x="898" y="1006"/>
                </a:cubicBezTo>
                <a:cubicBezTo>
                  <a:pt x="899" y="1006"/>
                  <a:pt x="906" y="1008"/>
                  <a:pt x="920" y="1012"/>
                </a:cubicBezTo>
                <a:cubicBezTo>
                  <a:pt x="933" y="1015"/>
                  <a:pt x="942" y="1018"/>
                  <a:pt x="946" y="1018"/>
                </a:cubicBezTo>
                <a:cubicBezTo>
                  <a:pt x="948" y="1018"/>
                  <a:pt x="954" y="1018"/>
                  <a:pt x="965" y="1018"/>
                </a:cubicBezTo>
                <a:cubicBezTo>
                  <a:pt x="967" y="1018"/>
                  <a:pt x="970" y="1019"/>
                  <a:pt x="975" y="1021"/>
                </a:cubicBezTo>
                <a:cubicBezTo>
                  <a:pt x="984" y="1022"/>
                  <a:pt x="990" y="1019"/>
                  <a:pt x="990" y="1013"/>
                </a:cubicBezTo>
                <a:cubicBezTo>
                  <a:pt x="990" y="1013"/>
                  <a:pt x="989" y="1011"/>
                  <a:pt x="987" y="1008"/>
                </a:cubicBezTo>
                <a:cubicBezTo>
                  <a:pt x="991" y="1005"/>
                  <a:pt x="995" y="1003"/>
                  <a:pt x="998" y="1004"/>
                </a:cubicBezTo>
                <a:cubicBezTo>
                  <a:pt x="1001" y="1004"/>
                  <a:pt x="1008" y="1007"/>
                  <a:pt x="1020" y="1012"/>
                </a:cubicBezTo>
                <a:cubicBezTo>
                  <a:pt x="1022" y="1012"/>
                  <a:pt x="1025" y="1011"/>
                  <a:pt x="1031" y="1008"/>
                </a:cubicBezTo>
                <a:cubicBezTo>
                  <a:pt x="1037" y="1006"/>
                  <a:pt x="1045" y="1005"/>
                  <a:pt x="1054" y="1006"/>
                </a:cubicBezTo>
                <a:cubicBezTo>
                  <a:pt x="1047" y="1004"/>
                  <a:pt x="1041" y="1000"/>
                  <a:pt x="1035" y="994"/>
                </a:cubicBezTo>
                <a:cubicBezTo>
                  <a:pt x="1028" y="988"/>
                  <a:pt x="1025" y="981"/>
                  <a:pt x="1025" y="974"/>
                </a:cubicBezTo>
                <a:cubicBezTo>
                  <a:pt x="1026" y="973"/>
                  <a:pt x="1026" y="971"/>
                  <a:pt x="1028" y="970"/>
                </a:cubicBezTo>
                <a:cubicBezTo>
                  <a:pt x="1030" y="969"/>
                  <a:pt x="1031" y="968"/>
                  <a:pt x="1031" y="967"/>
                </a:cubicBezTo>
                <a:cubicBezTo>
                  <a:pt x="1021" y="952"/>
                  <a:pt x="1013" y="941"/>
                  <a:pt x="1005" y="934"/>
                </a:cubicBezTo>
                <a:cubicBezTo>
                  <a:pt x="1004" y="933"/>
                  <a:pt x="999" y="930"/>
                  <a:pt x="990" y="923"/>
                </a:cubicBezTo>
                <a:cubicBezTo>
                  <a:pt x="983" y="919"/>
                  <a:pt x="978" y="914"/>
                  <a:pt x="973" y="908"/>
                </a:cubicBezTo>
                <a:cubicBezTo>
                  <a:pt x="970" y="904"/>
                  <a:pt x="966" y="899"/>
                  <a:pt x="959" y="894"/>
                </a:cubicBezTo>
                <a:cubicBezTo>
                  <a:pt x="952" y="887"/>
                  <a:pt x="947" y="883"/>
                  <a:pt x="945" y="881"/>
                </a:cubicBezTo>
                <a:cubicBezTo>
                  <a:pt x="935" y="870"/>
                  <a:pt x="930" y="857"/>
                  <a:pt x="932" y="842"/>
                </a:cubicBezTo>
                <a:cubicBezTo>
                  <a:pt x="932" y="838"/>
                  <a:pt x="938" y="829"/>
                  <a:pt x="949" y="815"/>
                </a:cubicBezTo>
                <a:cubicBezTo>
                  <a:pt x="954" y="807"/>
                  <a:pt x="960" y="800"/>
                  <a:pt x="966" y="793"/>
                </a:cubicBezTo>
                <a:cubicBezTo>
                  <a:pt x="967" y="790"/>
                  <a:pt x="969" y="785"/>
                  <a:pt x="971" y="779"/>
                </a:cubicBezTo>
                <a:cubicBezTo>
                  <a:pt x="973" y="774"/>
                  <a:pt x="973" y="769"/>
                  <a:pt x="974" y="764"/>
                </a:cubicBezTo>
                <a:cubicBezTo>
                  <a:pt x="973" y="757"/>
                  <a:pt x="975" y="752"/>
                  <a:pt x="977" y="748"/>
                </a:cubicBezTo>
                <a:cubicBezTo>
                  <a:pt x="979" y="746"/>
                  <a:pt x="982" y="743"/>
                  <a:pt x="987" y="741"/>
                </a:cubicBezTo>
                <a:cubicBezTo>
                  <a:pt x="1008" y="729"/>
                  <a:pt x="1022" y="713"/>
                  <a:pt x="1030" y="692"/>
                </a:cubicBezTo>
                <a:cubicBezTo>
                  <a:pt x="1034" y="681"/>
                  <a:pt x="1037" y="661"/>
                  <a:pt x="1040" y="631"/>
                </a:cubicBezTo>
                <a:cubicBezTo>
                  <a:pt x="1041" y="629"/>
                  <a:pt x="1042" y="626"/>
                  <a:pt x="1046" y="622"/>
                </a:cubicBezTo>
                <a:cubicBezTo>
                  <a:pt x="1047" y="621"/>
                  <a:pt x="1048" y="619"/>
                  <a:pt x="1049" y="618"/>
                </a:cubicBezTo>
                <a:cubicBezTo>
                  <a:pt x="1050" y="618"/>
                  <a:pt x="1050" y="618"/>
                  <a:pt x="1051" y="617"/>
                </a:cubicBezTo>
                <a:cubicBezTo>
                  <a:pt x="1055" y="616"/>
                  <a:pt x="1063" y="616"/>
                  <a:pt x="1073" y="617"/>
                </a:cubicBezTo>
                <a:cubicBezTo>
                  <a:pt x="1074" y="617"/>
                  <a:pt x="1078" y="618"/>
                  <a:pt x="1083" y="619"/>
                </a:cubicBezTo>
                <a:lnTo>
                  <a:pt x="1082" y="628"/>
                </a:lnTo>
                <a:cubicBezTo>
                  <a:pt x="1087" y="627"/>
                  <a:pt x="1095" y="623"/>
                  <a:pt x="1108" y="616"/>
                </a:cubicBezTo>
                <a:cubicBezTo>
                  <a:pt x="1119" y="611"/>
                  <a:pt x="1126" y="607"/>
                  <a:pt x="1127" y="608"/>
                </a:cubicBezTo>
                <a:cubicBezTo>
                  <a:pt x="1128" y="608"/>
                  <a:pt x="1131" y="610"/>
                  <a:pt x="1136" y="615"/>
                </a:cubicBezTo>
                <a:cubicBezTo>
                  <a:pt x="1140" y="620"/>
                  <a:pt x="1142" y="622"/>
                  <a:pt x="1144" y="622"/>
                </a:cubicBezTo>
                <a:cubicBezTo>
                  <a:pt x="1145" y="622"/>
                  <a:pt x="1147" y="622"/>
                  <a:pt x="1149" y="621"/>
                </a:cubicBezTo>
                <a:cubicBezTo>
                  <a:pt x="1152" y="620"/>
                  <a:pt x="1154" y="620"/>
                  <a:pt x="1156" y="620"/>
                </a:cubicBezTo>
                <a:cubicBezTo>
                  <a:pt x="1166" y="621"/>
                  <a:pt x="1170" y="625"/>
                  <a:pt x="1170" y="632"/>
                </a:cubicBezTo>
                <a:cubicBezTo>
                  <a:pt x="1169" y="635"/>
                  <a:pt x="1167" y="639"/>
                  <a:pt x="1162" y="644"/>
                </a:cubicBezTo>
                <a:lnTo>
                  <a:pt x="1162" y="644"/>
                </a:lnTo>
                <a:cubicBezTo>
                  <a:pt x="1157" y="649"/>
                  <a:pt x="1155" y="654"/>
                  <a:pt x="1154" y="661"/>
                </a:cubicBezTo>
                <a:cubicBezTo>
                  <a:pt x="1153" y="669"/>
                  <a:pt x="1157" y="674"/>
                  <a:pt x="1166" y="676"/>
                </a:cubicBezTo>
                <a:lnTo>
                  <a:pt x="1167" y="676"/>
                </a:lnTo>
                <a:cubicBezTo>
                  <a:pt x="1162" y="670"/>
                  <a:pt x="1160" y="664"/>
                  <a:pt x="1161" y="658"/>
                </a:cubicBezTo>
                <a:cubicBezTo>
                  <a:pt x="1161" y="654"/>
                  <a:pt x="1163" y="650"/>
                  <a:pt x="1166" y="647"/>
                </a:cubicBezTo>
                <a:cubicBezTo>
                  <a:pt x="1167" y="646"/>
                  <a:pt x="1168" y="645"/>
                  <a:pt x="1169" y="644"/>
                </a:cubicBezTo>
                <a:cubicBezTo>
                  <a:pt x="1174" y="641"/>
                  <a:pt x="1179" y="640"/>
                  <a:pt x="1184" y="640"/>
                </a:cubicBezTo>
                <a:cubicBezTo>
                  <a:pt x="1187" y="640"/>
                  <a:pt x="1191" y="642"/>
                  <a:pt x="1197" y="645"/>
                </a:cubicBezTo>
                <a:cubicBezTo>
                  <a:pt x="1201" y="647"/>
                  <a:pt x="1205" y="650"/>
                  <a:pt x="1206" y="653"/>
                </a:cubicBezTo>
                <a:cubicBezTo>
                  <a:pt x="1207" y="654"/>
                  <a:pt x="1207" y="654"/>
                  <a:pt x="1207" y="655"/>
                </a:cubicBezTo>
                <a:cubicBezTo>
                  <a:pt x="1209" y="659"/>
                  <a:pt x="1212" y="663"/>
                  <a:pt x="1218" y="667"/>
                </a:cubicBezTo>
                <a:cubicBezTo>
                  <a:pt x="1225" y="673"/>
                  <a:pt x="1228" y="675"/>
                  <a:pt x="1229" y="676"/>
                </a:cubicBezTo>
                <a:lnTo>
                  <a:pt x="1230" y="676"/>
                </a:lnTo>
                <a:cubicBezTo>
                  <a:pt x="1222" y="671"/>
                  <a:pt x="1215" y="663"/>
                  <a:pt x="1209" y="651"/>
                </a:cubicBezTo>
                <a:cubicBezTo>
                  <a:pt x="1205" y="645"/>
                  <a:pt x="1202" y="637"/>
                  <a:pt x="1199" y="629"/>
                </a:cubicBezTo>
                <a:cubicBezTo>
                  <a:pt x="1192" y="609"/>
                  <a:pt x="1189" y="597"/>
                  <a:pt x="1189" y="593"/>
                </a:cubicBezTo>
                <a:cubicBezTo>
                  <a:pt x="1189" y="591"/>
                  <a:pt x="1190" y="588"/>
                  <a:pt x="1191" y="583"/>
                </a:cubicBezTo>
                <a:cubicBezTo>
                  <a:pt x="1192" y="577"/>
                  <a:pt x="1193" y="571"/>
                  <a:pt x="1194" y="564"/>
                </a:cubicBezTo>
                <a:cubicBezTo>
                  <a:pt x="1194" y="562"/>
                  <a:pt x="1194" y="560"/>
                  <a:pt x="1193" y="557"/>
                </a:cubicBezTo>
                <a:cubicBezTo>
                  <a:pt x="1192" y="553"/>
                  <a:pt x="1192" y="551"/>
                  <a:pt x="1192" y="550"/>
                </a:cubicBezTo>
                <a:cubicBezTo>
                  <a:pt x="1192" y="547"/>
                  <a:pt x="1193" y="545"/>
                  <a:pt x="1195" y="542"/>
                </a:cubicBezTo>
                <a:cubicBezTo>
                  <a:pt x="1196" y="540"/>
                  <a:pt x="1197" y="538"/>
                  <a:pt x="1198" y="537"/>
                </a:cubicBezTo>
                <a:cubicBezTo>
                  <a:pt x="1199" y="537"/>
                  <a:pt x="1199" y="536"/>
                  <a:pt x="1199" y="536"/>
                </a:cubicBezTo>
                <a:cubicBezTo>
                  <a:pt x="1199" y="534"/>
                  <a:pt x="1198" y="532"/>
                  <a:pt x="1197" y="530"/>
                </a:cubicBezTo>
                <a:cubicBezTo>
                  <a:pt x="1194" y="527"/>
                  <a:pt x="1192" y="525"/>
                  <a:pt x="1189" y="524"/>
                </a:cubicBezTo>
                <a:cubicBezTo>
                  <a:pt x="1184" y="522"/>
                  <a:pt x="1182" y="520"/>
                  <a:pt x="1182" y="517"/>
                </a:cubicBezTo>
                <a:cubicBezTo>
                  <a:pt x="1183" y="515"/>
                  <a:pt x="1183" y="513"/>
                  <a:pt x="1185" y="510"/>
                </a:cubicBezTo>
                <a:cubicBezTo>
                  <a:pt x="1185" y="502"/>
                  <a:pt x="1179" y="491"/>
                  <a:pt x="1165" y="477"/>
                </a:cubicBezTo>
                <a:cubicBezTo>
                  <a:pt x="1152" y="463"/>
                  <a:pt x="1143" y="456"/>
                  <a:pt x="1138" y="455"/>
                </a:cubicBezTo>
                <a:cubicBezTo>
                  <a:pt x="1135" y="455"/>
                  <a:pt x="1132" y="457"/>
                  <a:pt x="1128" y="460"/>
                </a:cubicBezTo>
                <a:cubicBezTo>
                  <a:pt x="1124" y="463"/>
                  <a:pt x="1121" y="465"/>
                  <a:pt x="1118" y="465"/>
                </a:cubicBezTo>
                <a:cubicBezTo>
                  <a:pt x="1113" y="464"/>
                  <a:pt x="1109" y="458"/>
                  <a:pt x="1106" y="447"/>
                </a:cubicBezTo>
                <a:cubicBezTo>
                  <a:pt x="1105" y="441"/>
                  <a:pt x="1104" y="433"/>
                  <a:pt x="1102" y="423"/>
                </a:cubicBezTo>
                <a:cubicBezTo>
                  <a:pt x="1098" y="400"/>
                  <a:pt x="1096" y="385"/>
                  <a:pt x="1097" y="378"/>
                </a:cubicBezTo>
                <a:cubicBezTo>
                  <a:pt x="1097" y="375"/>
                  <a:pt x="1098" y="373"/>
                  <a:pt x="1101" y="371"/>
                </a:cubicBezTo>
                <a:cubicBezTo>
                  <a:pt x="1103" y="369"/>
                  <a:pt x="1105" y="367"/>
                  <a:pt x="1105" y="365"/>
                </a:cubicBezTo>
                <a:lnTo>
                  <a:pt x="1097" y="354"/>
                </a:lnTo>
                <a:cubicBezTo>
                  <a:pt x="1092" y="346"/>
                  <a:pt x="1089" y="341"/>
                  <a:pt x="1089" y="338"/>
                </a:cubicBezTo>
                <a:cubicBezTo>
                  <a:pt x="1089" y="338"/>
                  <a:pt x="1090" y="336"/>
                  <a:pt x="1092" y="334"/>
                </a:cubicBezTo>
                <a:cubicBezTo>
                  <a:pt x="1094" y="331"/>
                  <a:pt x="1095" y="329"/>
                  <a:pt x="1095" y="326"/>
                </a:cubicBezTo>
                <a:cubicBezTo>
                  <a:pt x="1094" y="326"/>
                  <a:pt x="1091" y="324"/>
                  <a:pt x="1087" y="322"/>
                </a:cubicBezTo>
                <a:cubicBezTo>
                  <a:pt x="1083" y="318"/>
                  <a:pt x="1081" y="316"/>
                  <a:pt x="1081" y="314"/>
                </a:cubicBezTo>
                <a:cubicBezTo>
                  <a:pt x="1082" y="313"/>
                  <a:pt x="1082" y="311"/>
                  <a:pt x="1084" y="308"/>
                </a:cubicBezTo>
                <a:cubicBezTo>
                  <a:pt x="1086" y="305"/>
                  <a:pt x="1087" y="302"/>
                  <a:pt x="1087" y="300"/>
                </a:cubicBezTo>
                <a:cubicBezTo>
                  <a:pt x="1083" y="298"/>
                  <a:pt x="1079" y="293"/>
                  <a:pt x="1076" y="286"/>
                </a:cubicBezTo>
                <a:cubicBezTo>
                  <a:pt x="1075" y="284"/>
                  <a:pt x="1072" y="277"/>
                  <a:pt x="1069" y="267"/>
                </a:cubicBezTo>
                <a:cubicBezTo>
                  <a:pt x="1067" y="262"/>
                  <a:pt x="1063" y="257"/>
                  <a:pt x="1057" y="254"/>
                </a:cubicBezTo>
                <a:cubicBezTo>
                  <a:pt x="1049" y="251"/>
                  <a:pt x="1042" y="248"/>
                  <a:pt x="1034" y="246"/>
                </a:cubicBezTo>
                <a:cubicBezTo>
                  <a:pt x="1027" y="244"/>
                  <a:pt x="1016" y="240"/>
                  <a:pt x="1001" y="233"/>
                </a:cubicBezTo>
                <a:cubicBezTo>
                  <a:pt x="992" y="228"/>
                  <a:pt x="985" y="224"/>
                  <a:pt x="980" y="220"/>
                </a:cubicBezTo>
                <a:cubicBezTo>
                  <a:pt x="983" y="217"/>
                  <a:pt x="987" y="215"/>
                  <a:pt x="993" y="213"/>
                </a:cubicBezTo>
                <a:cubicBezTo>
                  <a:pt x="1001" y="211"/>
                  <a:pt x="1010" y="210"/>
                  <a:pt x="1018" y="211"/>
                </a:cubicBezTo>
                <a:cubicBezTo>
                  <a:pt x="1021" y="211"/>
                  <a:pt x="1025" y="213"/>
                  <a:pt x="1029" y="216"/>
                </a:cubicBezTo>
                <a:cubicBezTo>
                  <a:pt x="1034" y="218"/>
                  <a:pt x="1038" y="220"/>
                  <a:pt x="1040" y="220"/>
                </a:cubicBezTo>
                <a:cubicBezTo>
                  <a:pt x="1044" y="221"/>
                  <a:pt x="1049" y="219"/>
                  <a:pt x="1056" y="214"/>
                </a:cubicBezTo>
                <a:cubicBezTo>
                  <a:pt x="1069" y="205"/>
                  <a:pt x="1077" y="200"/>
                  <a:pt x="1079" y="199"/>
                </a:cubicBezTo>
                <a:cubicBezTo>
                  <a:pt x="1104" y="185"/>
                  <a:pt x="1131" y="180"/>
                  <a:pt x="1161" y="183"/>
                </a:cubicBezTo>
                <a:cubicBezTo>
                  <a:pt x="1164" y="183"/>
                  <a:pt x="1167" y="186"/>
                  <a:pt x="1172" y="190"/>
                </a:cubicBezTo>
                <a:cubicBezTo>
                  <a:pt x="1174" y="193"/>
                  <a:pt x="1178" y="197"/>
                  <a:pt x="1184" y="204"/>
                </a:cubicBezTo>
                <a:cubicBezTo>
                  <a:pt x="1197" y="217"/>
                  <a:pt x="1208" y="224"/>
                  <a:pt x="1219" y="225"/>
                </a:cubicBezTo>
                <a:cubicBezTo>
                  <a:pt x="1223" y="225"/>
                  <a:pt x="1228" y="229"/>
                  <a:pt x="1234" y="236"/>
                </a:cubicBezTo>
                <a:cubicBezTo>
                  <a:pt x="1237" y="240"/>
                  <a:pt x="1240" y="245"/>
                  <a:pt x="1245" y="251"/>
                </a:cubicBezTo>
                <a:cubicBezTo>
                  <a:pt x="1247" y="252"/>
                  <a:pt x="1252" y="255"/>
                  <a:pt x="1258" y="260"/>
                </a:cubicBezTo>
                <a:cubicBezTo>
                  <a:pt x="1263" y="264"/>
                  <a:pt x="1265" y="270"/>
                  <a:pt x="1264" y="277"/>
                </a:cubicBezTo>
                <a:cubicBezTo>
                  <a:pt x="1253" y="279"/>
                  <a:pt x="1236" y="287"/>
                  <a:pt x="1213" y="301"/>
                </a:cubicBezTo>
                <a:cubicBezTo>
                  <a:pt x="1190" y="315"/>
                  <a:pt x="1178" y="324"/>
                  <a:pt x="1178" y="329"/>
                </a:cubicBezTo>
                <a:cubicBezTo>
                  <a:pt x="1178" y="330"/>
                  <a:pt x="1180" y="333"/>
                  <a:pt x="1185" y="338"/>
                </a:cubicBezTo>
                <a:cubicBezTo>
                  <a:pt x="1190" y="343"/>
                  <a:pt x="1192" y="346"/>
                  <a:pt x="1192" y="348"/>
                </a:cubicBezTo>
                <a:cubicBezTo>
                  <a:pt x="1192" y="349"/>
                  <a:pt x="1186" y="353"/>
                  <a:pt x="1176" y="362"/>
                </a:cubicBezTo>
                <a:cubicBezTo>
                  <a:pt x="1173" y="364"/>
                  <a:pt x="1171" y="372"/>
                  <a:pt x="1170" y="386"/>
                </a:cubicBezTo>
                <a:cubicBezTo>
                  <a:pt x="1169" y="397"/>
                  <a:pt x="1177" y="405"/>
                  <a:pt x="1196" y="409"/>
                </a:cubicBezTo>
                <a:cubicBezTo>
                  <a:pt x="1199" y="410"/>
                  <a:pt x="1207" y="411"/>
                  <a:pt x="1219" y="413"/>
                </a:cubicBezTo>
                <a:cubicBezTo>
                  <a:pt x="1229" y="415"/>
                  <a:pt x="1235" y="417"/>
                  <a:pt x="1239" y="418"/>
                </a:cubicBezTo>
                <a:cubicBezTo>
                  <a:pt x="1244" y="420"/>
                  <a:pt x="1248" y="424"/>
                  <a:pt x="1252" y="429"/>
                </a:cubicBezTo>
                <a:cubicBezTo>
                  <a:pt x="1253" y="430"/>
                  <a:pt x="1256" y="436"/>
                  <a:pt x="1262" y="444"/>
                </a:cubicBezTo>
                <a:cubicBezTo>
                  <a:pt x="1270" y="457"/>
                  <a:pt x="1280" y="464"/>
                  <a:pt x="1291" y="465"/>
                </a:cubicBezTo>
                <a:cubicBezTo>
                  <a:pt x="1295" y="466"/>
                  <a:pt x="1301" y="463"/>
                  <a:pt x="1309" y="456"/>
                </a:cubicBezTo>
                <a:cubicBezTo>
                  <a:pt x="1318" y="449"/>
                  <a:pt x="1323" y="445"/>
                  <a:pt x="1325" y="445"/>
                </a:cubicBezTo>
                <a:cubicBezTo>
                  <a:pt x="1326" y="450"/>
                  <a:pt x="1326" y="454"/>
                  <a:pt x="1326" y="458"/>
                </a:cubicBezTo>
                <a:cubicBezTo>
                  <a:pt x="1326" y="460"/>
                  <a:pt x="1326" y="461"/>
                  <a:pt x="1325" y="462"/>
                </a:cubicBezTo>
                <a:cubicBezTo>
                  <a:pt x="1332" y="451"/>
                  <a:pt x="1340" y="440"/>
                  <a:pt x="1350" y="430"/>
                </a:cubicBezTo>
                <a:cubicBezTo>
                  <a:pt x="1352" y="428"/>
                  <a:pt x="1355" y="425"/>
                  <a:pt x="1360" y="422"/>
                </a:cubicBezTo>
                <a:cubicBezTo>
                  <a:pt x="1363" y="419"/>
                  <a:pt x="1366" y="416"/>
                  <a:pt x="1367" y="413"/>
                </a:cubicBezTo>
                <a:cubicBezTo>
                  <a:pt x="1368" y="409"/>
                  <a:pt x="1371" y="407"/>
                  <a:pt x="1374" y="406"/>
                </a:cubicBezTo>
                <a:cubicBezTo>
                  <a:pt x="1377" y="405"/>
                  <a:pt x="1381" y="405"/>
                  <a:pt x="1387" y="406"/>
                </a:cubicBezTo>
                <a:cubicBezTo>
                  <a:pt x="1385" y="403"/>
                  <a:pt x="1385" y="399"/>
                  <a:pt x="1384" y="393"/>
                </a:cubicBezTo>
                <a:cubicBezTo>
                  <a:pt x="1384" y="389"/>
                  <a:pt x="1384" y="384"/>
                  <a:pt x="1384" y="377"/>
                </a:cubicBezTo>
                <a:cubicBezTo>
                  <a:pt x="1384" y="369"/>
                  <a:pt x="1381" y="362"/>
                  <a:pt x="1377" y="358"/>
                </a:cubicBezTo>
                <a:cubicBezTo>
                  <a:pt x="1377" y="358"/>
                  <a:pt x="1377" y="358"/>
                  <a:pt x="1377" y="358"/>
                </a:cubicBezTo>
                <a:cubicBezTo>
                  <a:pt x="1376" y="357"/>
                  <a:pt x="1376" y="357"/>
                  <a:pt x="1375" y="356"/>
                </a:cubicBezTo>
                <a:lnTo>
                  <a:pt x="1377" y="339"/>
                </a:lnTo>
                <a:cubicBezTo>
                  <a:pt x="1377" y="337"/>
                  <a:pt x="1375" y="334"/>
                  <a:pt x="1372" y="330"/>
                </a:cubicBezTo>
                <a:cubicBezTo>
                  <a:pt x="1369" y="326"/>
                  <a:pt x="1368" y="323"/>
                  <a:pt x="1368" y="321"/>
                </a:cubicBezTo>
                <a:cubicBezTo>
                  <a:pt x="1369" y="309"/>
                  <a:pt x="1366" y="301"/>
                  <a:pt x="1362" y="298"/>
                </a:cubicBezTo>
                <a:cubicBezTo>
                  <a:pt x="1359" y="297"/>
                  <a:pt x="1358" y="295"/>
                  <a:pt x="1357" y="294"/>
                </a:cubicBezTo>
                <a:cubicBezTo>
                  <a:pt x="1355" y="292"/>
                  <a:pt x="1355" y="289"/>
                  <a:pt x="1356" y="283"/>
                </a:cubicBezTo>
                <a:cubicBezTo>
                  <a:pt x="1357" y="273"/>
                  <a:pt x="1360" y="268"/>
                  <a:pt x="1364" y="269"/>
                </a:cubicBezTo>
                <a:cubicBezTo>
                  <a:pt x="1365" y="269"/>
                  <a:pt x="1367" y="270"/>
                  <a:pt x="1370" y="272"/>
                </a:cubicBezTo>
                <a:cubicBezTo>
                  <a:pt x="1370" y="270"/>
                  <a:pt x="1370" y="268"/>
                  <a:pt x="1369" y="264"/>
                </a:cubicBezTo>
                <a:cubicBezTo>
                  <a:pt x="1370" y="260"/>
                  <a:pt x="1373" y="257"/>
                  <a:pt x="1378" y="255"/>
                </a:cubicBezTo>
                <a:cubicBezTo>
                  <a:pt x="1383" y="253"/>
                  <a:pt x="1387" y="252"/>
                  <a:pt x="1391" y="254"/>
                </a:cubicBezTo>
                <a:cubicBezTo>
                  <a:pt x="1394" y="248"/>
                  <a:pt x="1399" y="243"/>
                  <a:pt x="1407" y="240"/>
                </a:cubicBezTo>
                <a:cubicBezTo>
                  <a:pt x="1415" y="237"/>
                  <a:pt x="1423" y="237"/>
                  <a:pt x="1431" y="240"/>
                </a:cubicBezTo>
                <a:lnTo>
                  <a:pt x="1431" y="239"/>
                </a:lnTo>
                <a:cubicBezTo>
                  <a:pt x="1428" y="239"/>
                  <a:pt x="1425" y="238"/>
                  <a:pt x="1423" y="236"/>
                </a:cubicBezTo>
                <a:cubicBezTo>
                  <a:pt x="1422" y="235"/>
                  <a:pt x="1419" y="234"/>
                  <a:pt x="1415" y="234"/>
                </a:cubicBezTo>
                <a:cubicBezTo>
                  <a:pt x="1410" y="235"/>
                  <a:pt x="1407" y="235"/>
                  <a:pt x="1406" y="235"/>
                </a:cubicBezTo>
                <a:cubicBezTo>
                  <a:pt x="1403" y="235"/>
                  <a:pt x="1399" y="230"/>
                  <a:pt x="1394" y="222"/>
                </a:cubicBezTo>
                <a:cubicBezTo>
                  <a:pt x="1388" y="213"/>
                  <a:pt x="1384" y="208"/>
                  <a:pt x="1381" y="206"/>
                </a:cubicBezTo>
                <a:cubicBezTo>
                  <a:pt x="1382" y="206"/>
                  <a:pt x="1389" y="205"/>
                  <a:pt x="1402" y="203"/>
                </a:cubicBezTo>
                <a:cubicBezTo>
                  <a:pt x="1411" y="202"/>
                  <a:pt x="1418" y="199"/>
                  <a:pt x="1421" y="194"/>
                </a:cubicBezTo>
                <a:cubicBezTo>
                  <a:pt x="1422" y="191"/>
                  <a:pt x="1425" y="184"/>
                  <a:pt x="1430" y="173"/>
                </a:cubicBezTo>
                <a:cubicBezTo>
                  <a:pt x="1434" y="163"/>
                  <a:pt x="1429" y="136"/>
                  <a:pt x="1429" y="104"/>
                </a:cubicBezTo>
                <a:cubicBezTo>
                  <a:pt x="1429" y="74"/>
                  <a:pt x="1444" y="34"/>
                  <a:pt x="1444" y="1"/>
                </a:cubicBezTo>
                <a:lnTo>
                  <a:pt x="1838" y="0"/>
                </a:lnTo>
                <a:lnTo>
                  <a:pt x="1871" y="0"/>
                </a:lnTo>
                <a:lnTo>
                  <a:pt x="1871" y="0"/>
                </a:lnTo>
                <a:close/>
                <a:moveTo>
                  <a:pt x="230" y="2496"/>
                </a:moveTo>
                <a:lnTo>
                  <a:pt x="230" y="2496"/>
                </a:lnTo>
                <a:lnTo>
                  <a:pt x="229" y="2496"/>
                </a:lnTo>
                <a:cubicBezTo>
                  <a:pt x="229" y="2496"/>
                  <a:pt x="229" y="2496"/>
                  <a:pt x="230" y="2496"/>
                </a:cubicBezTo>
                <a:lnTo>
                  <a:pt x="230" y="2496"/>
                </a:lnTo>
                <a:lnTo>
                  <a:pt x="230" y="2496"/>
                </a:lnTo>
                <a:close/>
                <a:moveTo>
                  <a:pt x="618" y="1881"/>
                </a:moveTo>
                <a:lnTo>
                  <a:pt x="618" y="1881"/>
                </a:lnTo>
                <a:cubicBezTo>
                  <a:pt x="620" y="1867"/>
                  <a:pt x="619" y="1858"/>
                  <a:pt x="616" y="1854"/>
                </a:cubicBezTo>
                <a:cubicBezTo>
                  <a:pt x="611" y="1850"/>
                  <a:pt x="608" y="1847"/>
                  <a:pt x="607" y="1845"/>
                </a:cubicBezTo>
                <a:cubicBezTo>
                  <a:pt x="605" y="1844"/>
                  <a:pt x="605" y="1839"/>
                  <a:pt x="606" y="1832"/>
                </a:cubicBezTo>
                <a:cubicBezTo>
                  <a:pt x="606" y="1828"/>
                  <a:pt x="605" y="1824"/>
                  <a:pt x="601" y="1821"/>
                </a:cubicBezTo>
                <a:cubicBezTo>
                  <a:pt x="594" y="1816"/>
                  <a:pt x="591" y="1813"/>
                  <a:pt x="590" y="1812"/>
                </a:cubicBezTo>
                <a:cubicBezTo>
                  <a:pt x="585" y="1802"/>
                  <a:pt x="581" y="1795"/>
                  <a:pt x="577" y="1790"/>
                </a:cubicBezTo>
                <a:cubicBezTo>
                  <a:pt x="573" y="1783"/>
                  <a:pt x="566" y="1777"/>
                  <a:pt x="557" y="1771"/>
                </a:cubicBezTo>
                <a:cubicBezTo>
                  <a:pt x="547" y="1766"/>
                  <a:pt x="538" y="1762"/>
                  <a:pt x="528" y="1761"/>
                </a:cubicBezTo>
                <a:cubicBezTo>
                  <a:pt x="524" y="1761"/>
                  <a:pt x="520" y="1760"/>
                  <a:pt x="515" y="1757"/>
                </a:cubicBezTo>
                <a:cubicBezTo>
                  <a:pt x="510" y="1754"/>
                  <a:pt x="506" y="1752"/>
                  <a:pt x="504" y="1751"/>
                </a:cubicBezTo>
                <a:cubicBezTo>
                  <a:pt x="503" y="1750"/>
                  <a:pt x="499" y="1749"/>
                  <a:pt x="491" y="1747"/>
                </a:cubicBezTo>
                <a:cubicBezTo>
                  <a:pt x="485" y="1745"/>
                  <a:pt x="482" y="1743"/>
                  <a:pt x="482" y="1739"/>
                </a:cubicBezTo>
                <a:lnTo>
                  <a:pt x="482" y="1742"/>
                </a:lnTo>
                <a:lnTo>
                  <a:pt x="477" y="1741"/>
                </a:lnTo>
                <a:cubicBezTo>
                  <a:pt x="463" y="1720"/>
                  <a:pt x="451" y="1709"/>
                  <a:pt x="442" y="1708"/>
                </a:cubicBezTo>
                <a:cubicBezTo>
                  <a:pt x="440" y="1708"/>
                  <a:pt x="438" y="1709"/>
                  <a:pt x="435" y="1712"/>
                </a:cubicBezTo>
                <a:cubicBezTo>
                  <a:pt x="433" y="1715"/>
                  <a:pt x="430" y="1716"/>
                  <a:pt x="428" y="1716"/>
                </a:cubicBezTo>
                <a:cubicBezTo>
                  <a:pt x="426" y="1716"/>
                  <a:pt x="424" y="1714"/>
                  <a:pt x="424" y="1712"/>
                </a:cubicBezTo>
                <a:cubicBezTo>
                  <a:pt x="425" y="1710"/>
                  <a:pt x="426" y="1708"/>
                  <a:pt x="426" y="1707"/>
                </a:cubicBezTo>
                <a:cubicBezTo>
                  <a:pt x="426" y="1705"/>
                  <a:pt x="425" y="1703"/>
                  <a:pt x="423" y="1701"/>
                </a:cubicBezTo>
                <a:cubicBezTo>
                  <a:pt x="423" y="1701"/>
                  <a:pt x="423" y="1700"/>
                  <a:pt x="422" y="1700"/>
                </a:cubicBezTo>
                <a:cubicBezTo>
                  <a:pt x="422" y="1700"/>
                  <a:pt x="422" y="1700"/>
                  <a:pt x="422" y="1700"/>
                </a:cubicBezTo>
                <a:cubicBezTo>
                  <a:pt x="421" y="1699"/>
                  <a:pt x="421" y="1699"/>
                  <a:pt x="420" y="1699"/>
                </a:cubicBezTo>
                <a:cubicBezTo>
                  <a:pt x="417" y="1698"/>
                  <a:pt x="413" y="1697"/>
                  <a:pt x="409" y="1697"/>
                </a:cubicBezTo>
                <a:cubicBezTo>
                  <a:pt x="402" y="1696"/>
                  <a:pt x="398" y="1697"/>
                  <a:pt x="396" y="1698"/>
                </a:cubicBezTo>
                <a:cubicBezTo>
                  <a:pt x="394" y="1698"/>
                  <a:pt x="392" y="1701"/>
                  <a:pt x="392" y="1704"/>
                </a:cubicBezTo>
                <a:cubicBezTo>
                  <a:pt x="392" y="1705"/>
                  <a:pt x="391" y="1709"/>
                  <a:pt x="391" y="1715"/>
                </a:cubicBezTo>
                <a:cubicBezTo>
                  <a:pt x="389" y="1720"/>
                  <a:pt x="387" y="1725"/>
                  <a:pt x="384" y="1730"/>
                </a:cubicBezTo>
                <a:cubicBezTo>
                  <a:pt x="384" y="1730"/>
                  <a:pt x="386" y="1731"/>
                  <a:pt x="391" y="1732"/>
                </a:cubicBezTo>
                <a:cubicBezTo>
                  <a:pt x="393" y="1733"/>
                  <a:pt x="394" y="1734"/>
                  <a:pt x="394" y="1736"/>
                </a:cubicBezTo>
                <a:cubicBezTo>
                  <a:pt x="394" y="1739"/>
                  <a:pt x="390" y="1742"/>
                  <a:pt x="382" y="1745"/>
                </a:cubicBezTo>
                <a:cubicBezTo>
                  <a:pt x="375" y="1748"/>
                  <a:pt x="370" y="1749"/>
                  <a:pt x="367" y="1749"/>
                </a:cubicBezTo>
                <a:cubicBezTo>
                  <a:pt x="367" y="1749"/>
                  <a:pt x="365" y="1750"/>
                  <a:pt x="362" y="1753"/>
                </a:cubicBezTo>
                <a:lnTo>
                  <a:pt x="361" y="1757"/>
                </a:lnTo>
                <a:lnTo>
                  <a:pt x="366" y="1758"/>
                </a:lnTo>
                <a:cubicBezTo>
                  <a:pt x="366" y="1760"/>
                  <a:pt x="365" y="1762"/>
                  <a:pt x="363" y="1764"/>
                </a:cubicBezTo>
                <a:cubicBezTo>
                  <a:pt x="361" y="1766"/>
                  <a:pt x="360" y="1768"/>
                  <a:pt x="360" y="1771"/>
                </a:cubicBezTo>
                <a:cubicBezTo>
                  <a:pt x="360" y="1775"/>
                  <a:pt x="360" y="1778"/>
                  <a:pt x="360" y="1778"/>
                </a:cubicBezTo>
                <a:cubicBezTo>
                  <a:pt x="360" y="1781"/>
                  <a:pt x="361" y="1782"/>
                  <a:pt x="363" y="1783"/>
                </a:cubicBezTo>
                <a:cubicBezTo>
                  <a:pt x="363" y="1783"/>
                  <a:pt x="361" y="1785"/>
                  <a:pt x="357" y="1790"/>
                </a:cubicBezTo>
                <a:cubicBezTo>
                  <a:pt x="354" y="1793"/>
                  <a:pt x="353" y="1796"/>
                  <a:pt x="353" y="1800"/>
                </a:cubicBezTo>
                <a:lnTo>
                  <a:pt x="348" y="1800"/>
                </a:lnTo>
                <a:cubicBezTo>
                  <a:pt x="342" y="1797"/>
                  <a:pt x="337" y="1795"/>
                  <a:pt x="336" y="1793"/>
                </a:cubicBezTo>
                <a:lnTo>
                  <a:pt x="336" y="1793"/>
                </a:lnTo>
                <a:cubicBezTo>
                  <a:pt x="335" y="1798"/>
                  <a:pt x="337" y="1802"/>
                  <a:pt x="342" y="1806"/>
                </a:cubicBezTo>
                <a:cubicBezTo>
                  <a:pt x="345" y="1808"/>
                  <a:pt x="345" y="1810"/>
                  <a:pt x="345" y="1813"/>
                </a:cubicBezTo>
                <a:cubicBezTo>
                  <a:pt x="345" y="1815"/>
                  <a:pt x="346" y="1817"/>
                  <a:pt x="349" y="1818"/>
                </a:cubicBezTo>
                <a:cubicBezTo>
                  <a:pt x="357" y="1821"/>
                  <a:pt x="366" y="1827"/>
                  <a:pt x="375" y="1835"/>
                </a:cubicBezTo>
                <a:cubicBezTo>
                  <a:pt x="383" y="1844"/>
                  <a:pt x="392" y="1851"/>
                  <a:pt x="402" y="1857"/>
                </a:cubicBezTo>
                <a:cubicBezTo>
                  <a:pt x="405" y="1859"/>
                  <a:pt x="407" y="1862"/>
                  <a:pt x="407" y="1865"/>
                </a:cubicBezTo>
                <a:cubicBezTo>
                  <a:pt x="408" y="1869"/>
                  <a:pt x="408" y="1875"/>
                  <a:pt x="408" y="1883"/>
                </a:cubicBezTo>
                <a:cubicBezTo>
                  <a:pt x="407" y="1885"/>
                  <a:pt x="410" y="1889"/>
                  <a:pt x="414" y="1896"/>
                </a:cubicBezTo>
                <a:cubicBezTo>
                  <a:pt x="415" y="1899"/>
                  <a:pt x="416" y="1901"/>
                  <a:pt x="418" y="1901"/>
                </a:cubicBezTo>
                <a:cubicBezTo>
                  <a:pt x="419" y="1901"/>
                  <a:pt x="421" y="1901"/>
                  <a:pt x="425" y="1901"/>
                </a:cubicBezTo>
                <a:cubicBezTo>
                  <a:pt x="429" y="1902"/>
                  <a:pt x="432" y="1905"/>
                  <a:pt x="434" y="1912"/>
                </a:cubicBezTo>
                <a:cubicBezTo>
                  <a:pt x="436" y="1915"/>
                  <a:pt x="437" y="1920"/>
                  <a:pt x="438" y="1925"/>
                </a:cubicBezTo>
                <a:cubicBezTo>
                  <a:pt x="439" y="1925"/>
                  <a:pt x="440" y="1925"/>
                  <a:pt x="442" y="1924"/>
                </a:cubicBezTo>
                <a:cubicBezTo>
                  <a:pt x="445" y="1925"/>
                  <a:pt x="450" y="1931"/>
                  <a:pt x="455" y="1944"/>
                </a:cubicBezTo>
                <a:cubicBezTo>
                  <a:pt x="461" y="1958"/>
                  <a:pt x="465" y="1965"/>
                  <a:pt x="466" y="1966"/>
                </a:cubicBezTo>
                <a:cubicBezTo>
                  <a:pt x="467" y="1968"/>
                  <a:pt x="470" y="1970"/>
                  <a:pt x="474" y="1973"/>
                </a:cubicBezTo>
                <a:cubicBezTo>
                  <a:pt x="478" y="1976"/>
                  <a:pt x="481" y="1979"/>
                  <a:pt x="483" y="1982"/>
                </a:cubicBezTo>
                <a:cubicBezTo>
                  <a:pt x="489" y="1990"/>
                  <a:pt x="491" y="1997"/>
                  <a:pt x="490" y="2004"/>
                </a:cubicBezTo>
                <a:cubicBezTo>
                  <a:pt x="490" y="2005"/>
                  <a:pt x="489" y="2006"/>
                  <a:pt x="488" y="2009"/>
                </a:cubicBezTo>
                <a:cubicBezTo>
                  <a:pt x="487" y="2012"/>
                  <a:pt x="485" y="2013"/>
                  <a:pt x="485" y="2014"/>
                </a:cubicBezTo>
                <a:lnTo>
                  <a:pt x="485" y="2016"/>
                </a:lnTo>
                <a:cubicBezTo>
                  <a:pt x="492" y="2017"/>
                  <a:pt x="496" y="2017"/>
                  <a:pt x="499" y="2016"/>
                </a:cubicBezTo>
                <a:cubicBezTo>
                  <a:pt x="499" y="2015"/>
                  <a:pt x="501" y="2014"/>
                  <a:pt x="503" y="2012"/>
                </a:cubicBezTo>
                <a:cubicBezTo>
                  <a:pt x="505" y="2010"/>
                  <a:pt x="507" y="2009"/>
                  <a:pt x="508" y="2009"/>
                </a:cubicBezTo>
                <a:cubicBezTo>
                  <a:pt x="509" y="2010"/>
                  <a:pt x="510" y="2011"/>
                  <a:pt x="512" y="2012"/>
                </a:cubicBezTo>
                <a:cubicBezTo>
                  <a:pt x="513" y="2014"/>
                  <a:pt x="514" y="2015"/>
                  <a:pt x="515" y="2015"/>
                </a:cubicBezTo>
                <a:cubicBezTo>
                  <a:pt x="521" y="2016"/>
                  <a:pt x="525" y="2010"/>
                  <a:pt x="526" y="1998"/>
                </a:cubicBezTo>
                <a:cubicBezTo>
                  <a:pt x="523" y="1991"/>
                  <a:pt x="522" y="1987"/>
                  <a:pt x="523" y="1984"/>
                </a:cubicBezTo>
                <a:cubicBezTo>
                  <a:pt x="524" y="1976"/>
                  <a:pt x="525" y="1968"/>
                  <a:pt x="528" y="1961"/>
                </a:cubicBezTo>
                <a:cubicBezTo>
                  <a:pt x="531" y="1949"/>
                  <a:pt x="535" y="1943"/>
                  <a:pt x="540" y="1944"/>
                </a:cubicBezTo>
                <a:cubicBezTo>
                  <a:pt x="541" y="1944"/>
                  <a:pt x="544" y="1946"/>
                  <a:pt x="550" y="1949"/>
                </a:cubicBezTo>
                <a:cubicBezTo>
                  <a:pt x="550" y="1949"/>
                  <a:pt x="555" y="1948"/>
                  <a:pt x="565" y="1946"/>
                </a:cubicBezTo>
                <a:cubicBezTo>
                  <a:pt x="574" y="1947"/>
                  <a:pt x="581" y="1952"/>
                  <a:pt x="584" y="1959"/>
                </a:cubicBezTo>
                <a:cubicBezTo>
                  <a:pt x="593" y="1956"/>
                  <a:pt x="599" y="1953"/>
                  <a:pt x="600" y="1949"/>
                </a:cubicBezTo>
                <a:cubicBezTo>
                  <a:pt x="605" y="1943"/>
                  <a:pt x="608" y="1937"/>
                  <a:pt x="609" y="1933"/>
                </a:cubicBezTo>
                <a:cubicBezTo>
                  <a:pt x="609" y="1931"/>
                  <a:pt x="607" y="1928"/>
                  <a:pt x="604" y="1924"/>
                </a:cubicBezTo>
                <a:cubicBezTo>
                  <a:pt x="601" y="1920"/>
                  <a:pt x="599" y="1917"/>
                  <a:pt x="599" y="1915"/>
                </a:cubicBezTo>
                <a:cubicBezTo>
                  <a:pt x="600" y="1914"/>
                  <a:pt x="601" y="1912"/>
                  <a:pt x="603" y="1910"/>
                </a:cubicBezTo>
                <a:cubicBezTo>
                  <a:pt x="605" y="1908"/>
                  <a:pt x="606" y="1906"/>
                  <a:pt x="606" y="1903"/>
                </a:cubicBezTo>
                <a:cubicBezTo>
                  <a:pt x="606" y="1901"/>
                  <a:pt x="605" y="1898"/>
                  <a:pt x="601" y="1893"/>
                </a:cubicBezTo>
                <a:cubicBezTo>
                  <a:pt x="597" y="1887"/>
                  <a:pt x="596" y="1883"/>
                  <a:pt x="596" y="1882"/>
                </a:cubicBezTo>
                <a:cubicBezTo>
                  <a:pt x="596" y="1880"/>
                  <a:pt x="596" y="1880"/>
                  <a:pt x="597" y="1880"/>
                </a:cubicBezTo>
                <a:lnTo>
                  <a:pt x="599" y="1880"/>
                </a:lnTo>
                <a:cubicBezTo>
                  <a:pt x="601" y="1880"/>
                  <a:pt x="604" y="1882"/>
                  <a:pt x="608" y="1885"/>
                </a:cubicBezTo>
                <a:cubicBezTo>
                  <a:pt x="613" y="1889"/>
                  <a:pt x="615" y="1891"/>
                  <a:pt x="616" y="1891"/>
                </a:cubicBezTo>
                <a:cubicBezTo>
                  <a:pt x="617" y="1887"/>
                  <a:pt x="618" y="1884"/>
                  <a:pt x="618" y="1881"/>
                </a:cubicBezTo>
                <a:lnTo>
                  <a:pt x="618" y="1881"/>
                </a:lnTo>
                <a:close/>
                <a:moveTo>
                  <a:pt x="795" y="1739"/>
                </a:moveTo>
                <a:lnTo>
                  <a:pt x="795" y="1739"/>
                </a:lnTo>
                <a:cubicBezTo>
                  <a:pt x="794" y="1735"/>
                  <a:pt x="791" y="1731"/>
                  <a:pt x="787" y="1729"/>
                </a:cubicBezTo>
                <a:cubicBezTo>
                  <a:pt x="784" y="1727"/>
                  <a:pt x="783" y="1724"/>
                  <a:pt x="784" y="1721"/>
                </a:cubicBezTo>
                <a:cubicBezTo>
                  <a:pt x="784" y="1719"/>
                  <a:pt x="785" y="1717"/>
                  <a:pt x="785" y="1717"/>
                </a:cubicBezTo>
                <a:lnTo>
                  <a:pt x="786" y="1717"/>
                </a:lnTo>
                <a:cubicBezTo>
                  <a:pt x="787" y="1717"/>
                  <a:pt x="789" y="1716"/>
                  <a:pt x="791" y="1713"/>
                </a:cubicBezTo>
                <a:cubicBezTo>
                  <a:pt x="790" y="1714"/>
                  <a:pt x="788" y="1714"/>
                  <a:pt x="787" y="1713"/>
                </a:cubicBezTo>
                <a:cubicBezTo>
                  <a:pt x="786" y="1713"/>
                  <a:pt x="785" y="1712"/>
                  <a:pt x="784" y="1712"/>
                </a:cubicBezTo>
                <a:cubicBezTo>
                  <a:pt x="783" y="1712"/>
                  <a:pt x="782" y="1712"/>
                  <a:pt x="780" y="1714"/>
                </a:cubicBezTo>
                <a:cubicBezTo>
                  <a:pt x="777" y="1716"/>
                  <a:pt x="775" y="1717"/>
                  <a:pt x="772" y="1717"/>
                </a:cubicBezTo>
                <a:cubicBezTo>
                  <a:pt x="768" y="1717"/>
                  <a:pt x="765" y="1718"/>
                  <a:pt x="764" y="1718"/>
                </a:cubicBezTo>
                <a:cubicBezTo>
                  <a:pt x="761" y="1719"/>
                  <a:pt x="760" y="1722"/>
                  <a:pt x="760" y="1725"/>
                </a:cubicBezTo>
                <a:cubicBezTo>
                  <a:pt x="760" y="1727"/>
                  <a:pt x="761" y="1731"/>
                  <a:pt x="765" y="1737"/>
                </a:cubicBezTo>
                <a:cubicBezTo>
                  <a:pt x="768" y="1742"/>
                  <a:pt x="770" y="1746"/>
                  <a:pt x="772" y="1749"/>
                </a:cubicBezTo>
                <a:cubicBezTo>
                  <a:pt x="773" y="1746"/>
                  <a:pt x="773" y="1744"/>
                  <a:pt x="773" y="1743"/>
                </a:cubicBezTo>
                <a:cubicBezTo>
                  <a:pt x="773" y="1742"/>
                  <a:pt x="773" y="1741"/>
                  <a:pt x="772" y="1740"/>
                </a:cubicBezTo>
                <a:cubicBezTo>
                  <a:pt x="781" y="1741"/>
                  <a:pt x="788" y="1740"/>
                  <a:pt x="795" y="1739"/>
                </a:cubicBezTo>
                <a:lnTo>
                  <a:pt x="795" y="1739"/>
                </a:lnTo>
                <a:close/>
                <a:moveTo>
                  <a:pt x="894" y="1696"/>
                </a:moveTo>
                <a:lnTo>
                  <a:pt x="894" y="1696"/>
                </a:lnTo>
                <a:cubicBezTo>
                  <a:pt x="894" y="1692"/>
                  <a:pt x="893" y="1688"/>
                  <a:pt x="892" y="1684"/>
                </a:cubicBezTo>
                <a:cubicBezTo>
                  <a:pt x="891" y="1682"/>
                  <a:pt x="890" y="1680"/>
                  <a:pt x="888" y="1678"/>
                </a:cubicBezTo>
                <a:cubicBezTo>
                  <a:pt x="886" y="1676"/>
                  <a:pt x="885" y="1675"/>
                  <a:pt x="884" y="1673"/>
                </a:cubicBezTo>
                <a:cubicBezTo>
                  <a:pt x="888" y="1671"/>
                  <a:pt x="889" y="1669"/>
                  <a:pt x="889" y="1668"/>
                </a:cubicBezTo>
                <a:cubicBezTo>
                  <a:pt x="890" y="1663"/>
                  <a:pt x="888" y="1657"/>
                  <a:pt x="883" y="1652"/>
                </a:cubicBezTo>
                <a:cubicBezTo>
                  <a:pt x="878" y="1646"/>
                  <a:pt x="873" y="1643"/>
                  <a:pt x="869" y="1642"/>
                </a:cubicBezTo>
                <a:cubicBezTo>
                  <a:pt x="867" y="1635"/>
                  <a:pt x="864" y="1630"/>
                  <a:pt x="862" y="1628"/>
                </a:cubicBezTo>
                <a:cubicBezTo>
                  <a:pt x="859" y="1625"/>
                  <a:pt x="856" y="1622"/>
                  <a:pt x="855" y="1621"/>
                </a:cubicBezTo>
                <a:cubicBezTo>
                  <a:pt x="853" y="1620"/>
                  <a:pt x="850" y="1619"/>
                  <a:pt x="846" y="1619"/>
                </a:cubicBezTo>
                <a:cubicBezTo>
                  <a:pt x="842" y="1619"/>
                  <a:pt x="839" y="1619"/>
                  <a:pt x="837" y="1619"/>
                </a:cubicBezTo>
                <a:cubicBezTo>
                  <a:pt x="839" y="1615"/>
                  <a:pt x="839" y="1611"/>
                  <a:pt x="838" y="1607"/>
                </a:cubicBezTo>
                <a:cubicBezTo>
                  <a:pt x="836" y="1603"/>
                  <a:pt x="834" y="1599"/>
                  <a:pt x="833" y="1597"/>
                </a:cubicBezTo>
                <a:cubicBezTo>
                  <a:pt x="832" y="1594"/>
                  <a:pt x="829" y="1592"/>
                  <a:pt x="824" y="1590"/>
                </a:cubicBezTo>
                <a:cubicBezTo>
                  <a:pt x="819" y="1589"/>
                  <a:pt x="817" y="1587"/>
                  <a:pt x="817" y="1584"/>
                </a:cubicBezTo>
                <a:cubicBezTo>
                  <a:pt x="818" y="1582"/>
                  <a:pt x="819" y="1580"/>
                  <a:pt x="819" y="1579"/>
                </a:cubicBezTo>
                <a:cubicBezTo>
                  <a:pt x="819" y="1573"/>
                  <a:pt x="815" y="1568"/>
                  <a:pt x="806" y="1564"/>
                </a:cubicBezTo>
                <a:cubicBezTo>
                  <a:pt x="801" y="1561"/>
                  <a:pt x="798" y="1560"/>
                  <a:pt x="797" y="1559"/>
                </a:cubicBezTo>
                <a:cubicBezTo>
                  <a:pt x="794" y="1557"/>
                  <a:pt x="793" y="1554"/>
                  <a:pt x="793" y="1552"/>
                </a:cubicBezTo>
                <a:cubicBezTo>
                  <a:pt x="795" y="1545"/>
                  <a:pt x="796" y="1542"/>
                  <a:pt x="796" y="1541"/>
                </a:cubicBezTo>
                <a:cubicBezTo>
                  <a:pt x="794" y="1513"/>
                  <a:pt x="792" y="1498"/>
                  <a:pt x="792" y="1498"/>
                </a:cubicBezTo>
                <a:cubicBezTo>
                  <a:pt x="791" y="1493"/>
                  <a:pt x="788" y="1487"/>
                  <a:pt x="784" y="1481"/>
                </a:cubicBezTo>
                <a:cubicBezTo>
                  <a:pt x="778" y="1472"/>
                  <a:pt x="773" y="1467"/>
                  <a:pt x="770" y="1467"/>
                </a:cubicBezTo>
                <a:cubicBezTo>
                  <a:pt x="765" y="1466"/>
                  <a:pt x="761" y="1465"/>
                  <a:pt x="760" y="1462"/>
                </a:cubicBezTo>
                <a:cubicBezTo>
                  <a:pt x="758" y="1460"/>
                  <a:pt x="757" y="1459"/>
                  <a:pt x="757" y="1459"/>
                </a:cubicBezTo>
                <a:cubicBezTo>
                  <a:pt x="756" y="1459"/>
                  <a:pt x="755" y="1459"/>
                  <a:pt x="754" y="1460"/>
                </a:cubicBezTo>
                <a:cubicBezTo>
                  <a:pt x="753" y="1461"/>
                  <a:pt x="752" y="1461"/>
                  <a:pt x="751" y="1461"/>
                </a:cubicBezTo>
                <a:cubicBezTo>
                  <a:pt x="750" y="1461"/>
                  <a:pt x="749" y="1461"/>
                  <a:pt x="748" y="1459"/>
                </a:cubicBezTo>
                <a:cubicBezTo>
                  <a:pt x="747" y="1458"/>
                  <a:pt x="747" y="1456"/>
                  <a:pt x="748" y="1455"/>
                </a:cubicBezTo>
                <a:cubicBezTo>
                  <a:pt x="746" y="1454"/>
                  <a:pt x="744" y="1453"/>
                  <a:pt x="741" y="1453"/>
                </a:cubicBezTo>
                <a:cubicBezTo>
                  <a:pt x="738" y="1453"/>
                  <a:pt x="735" y="1452"/>
                  <a:pt x="734" y="1452"/>
                </a:cubicBezTo>
                <a:cubicBezTo>
                  <a:pt x="729" y="1449"/>
                  <a:pt x="724" y="1447"/>
                  <a:pt x="720" y="1446"/>
                </a:cubicBezTo>
                <a:cubicBezTo>
                  <a:pt x="712" y="1445"/>
                  <a:pt x="707" y="1443"/>
                  <a:pt x="703" y="1440"/>
                </a:cubicBezTo>
                <a:cubicBezTo>
                  <a:pt x="700" y="1436"/>
                  <a:pt x="696" y="1434"/>
                  <a:pt x="692" y="1434"/>
                </a:cubicBezTo>
                <a:cubicBezTo>
                  <a:pt x="689" y="1434"/>
                  <a:pt x="687" y="1434"/>
                  <a:pt x="686" y="1435"/>
                </a:cubicBezTo>
                <a:cubicBezTo>
                  <a:pt x="686" y="1435"/>
                  <a:pt x="684" y="1437"/>
                  <a:pt x="682" y="1441"/>
                </a:cubicBezTo>
                <a:cubicBezTo>
                  <a:pt x="680" y="1439"/>
                  <a:pt x="677" y="1436"/>
                  <a:pt x="674" y="1432"/>
                </a:cubicBezTo>
                <a:cubicBezTo>
                  <a:pt x="672" y="1430"/>
                  <a:pt x="669" y="1429"/>
                  <a:pt x="665" y="1428"/>
                </a:cubicBezTo>
                <a:cubicBezTo>
                  <a:pt x="663" y="1428"/>
                  <a:pt x="662" y="1429"/>
                  <a:pt x="662" y="1431"/>
                </a:cubicBezTo>
                <a:cubicBezTo>
                  <a:pt x="662" y="1432"/>
                  <a:pt x="664" y="1436"/>
                  <a:pt x="670" y="1444"/>
                </a:cubicBezTo>
                <a:cubicBezTo>
                  <a:pt x="673" y="1448"/>
                  <a:pt x="676" y="1452"/>
                  <a:pt x="679" y="1456"/>
                </a:cubicBezTo>
                <a:cubicBezTo>
                  <a:pt x="682" y="1461"/>
                  <a:pt x="686" y="1465"/>
                  <a:pt x="690" y="1467"/>
                </a:cubicBezTo>
                <a:cubicBezTo>
                  <a:pt x="693" y="1469"/>
                  <a:pt x="697" y="1471"/>
                  <a:pt x="703" y="1474"/>
                </a:cubicBezTo>
                <a:lnTo>
                  <a:pt x="703" y="1473"/>
                </a:lnTo>
                <a:cubicBezTo>
                  <a:pt x="703" y="1472"/>
                  <a:pt x="703" y="1470"/>
                  <a:pt x="704" y="1469"/>
                </a:cubicBezTo>
                <a:cubicBezTo>
                  <a:pt x="704" y="1467"/>
                  <a:pt x="705" y="1467"/>
                  <a:pt x="705" y="1467"/>
                </a:cubicBezTo>
                <a:cubicBezTo>
                  <a:pt x="709" y="1467"/>
                  <a:pt x="713" y="1469"/>
                  <a:pt x="718" y="1471"/>
                </a:cubicBezTo>
                <a:cubicBezTo>
                  <a:pt x="722" y="1473"/>
                  <a:pt x="726" y="1475"/>
                  <a:pt x="729" y="1475"/>
                </a:cubicBezTo>
                <a:cubicBezTo>
                  <a:pt x="732" y="1475"/>
                  <a:pt x="736" y="1475"/>
                  <a:pt x="741" y="1474"/>
                </a:cubicBezTo>
                <a:cubicBezTo>
                  <a:pt x="748" y="1475"/>
                  <a:pt x="756" y="1481"/>
                  <a:pt x="766" y="1494"/>
                </a:cubicBezTo>
                <a:cubicBezTo>
                  <a:pt x="776" y="1507"/>
                  <a:pt x="780" y="1517"/>
                  <a:pt x="779" y="1525"/>
                </a:cubicBezTo>
                <a:cubicBezTo>
                  <a:pt x="772" y="1539"/>
                  <a:pt x="767" y="1545"/>
                  <a:pt x="763" y="1545"/>
                </a:cubicBezTo>
                <a:cubicBezTo>
                  <a:pt x="760" y="1545"/>
                  <a:pt x="755" y="1543"/>
                  <a:pt x="748" y="1539"/>
                </a:cubicBezTo>
                <a:cubicBezTo>
                  <a:pt x="740" y="1535"/>
                  <a:pt x="735" y="1533"/>
                  <a:pt x="733" y="1533"/>
                </a:cubicBezTo>
                <a:lnTo>
                  <a:pt x="732" y="1538"/>
                </a:lnTo>
                <a:cubicBezTo>
                  <a:pt x="740" y="1543"/>
                  <a:pt x="745" y="1546"/>
                  <a:pt x="746" y="1548"/>
                </a:cubicBezTo>
                <a:cubicBezTo>
                  <a:pt x="752" y="1552"/>
                  <a:pt x="754" y="1558"/>
                  <a:pt x="754" y="1563"/>
                </a:cubicBezTo>
                <a:cubicBezTo>
                  <a:pt x="754" y="1564"/>
                  <a:pt x="753" y="1566"/>
                  <a:pt x="752" y="1567"/>
                </a:cubicBezTo>
                <a:cubicBezTo>
                  <a:pt x="751" y="1568"/>
                  <a:pt x="750" y="1569"/>
                  <a:pt x="748" y="1568"/>
                </a:cubicBezTo>
                <a:cubicBezTo>
                  <a:pt x="743" y="1568"/>
                  <a:pt x="737" y="1562"/>
                  <a:pt x="728" y="1551"/>
                </a:cubicBezTo>
                <a:cubicBezTo>
                  <a:pt x="726" y="1549"/>
                  <a:pt x="725" y="1546"/>
                  <a:pt x="723" y="1544"/>
                </a:cubicBezTo>
                <a:cubicBezTo>
                  <a:pt x="717" y="1535"/>
                  <a:pt x="713" y="1529"/>
                  <a:pt x="712" y="1528"/>
                </a:cubicBezTo>
                <a:cubicBezTo>
                  <a:pt x="711" y="1524"/>
                  <a:pt x="709" y="1520"/>
                  <a:pt x="708" y="1518"/>
                </a:cubicBezTo>
                <a:cubicBezTo>
                  <a:pt x="706" y="1513"/>
                  <a:pt x="703" y="1510"/>
                  <a:pt x="700" y="1508"/>
                </a:cubicBezTo>
                <a:cubicBezTo>
                  <a:pt x="691" y="1501"/>
                  <a:pt x="683" y="1496"/>
                  <a:pt x="677" y="1493"/>
                </a:cubicBezTo>
                <a:lnTo>
                  <a:pt x="677" y="1497"/>
                </a:lnTo>
                <a:cubicBezTo>
                  <a:pt x="677" y="1500"/>
                  <a:pt x="679" y="1503"/>
                  <a:pt x="683" y="1507"/>
                </a:cubicBezTo>
                <a:cubicBezTo>
                  <a:pt x="684" y="1508"/>
                  <a:pt x="687" y="1510"/>
                  <a:pt x="690" y="1512"/>
                </a:cubicBezTo>
                <a:cubicBezTo>
                  <a:pt x="698" y="1517"/>
                  <a:pt x="703" y="1523"/>
                  <a:pt x="704" y="1529"/>
                </a:cubicBezTo>
                <a:lnTo>
                  <a:pt x="704" y="1529"/>
                </a:lnTo>
                <a:cubicBezTo>
                  <a:pt x="703" y="1528"/>
                  <a:pt x="699" y="1525"/>
                  <a:pt x="692" y="1520"/>
                </a:cubicBezTo>
                <a:cubicBezTo>
                  <a:pt x="688" y="1516"/>
                  <a:pt x="684" y="1513"/>
                  <a:pt x="678" y="1511"/>
                </a:cubicBezTo>
                <a:lnTo>
                  <a:pt x="678" y="1512"/>
                </a:lnTo>
                <a:cubicBezTo>
                  <a:pt x="680" y="1514"/>
                  <a:pt x="684" y="1519"/>
                  <a:pt x="688" y="1526"/>
                </a:cubicBezTo>
                <a:cubicBezTo>
                  <a:pt x="690" y="1529"/>
                  <a:pt x="695" y="1534"/>
                  <a:pt x="702" y="1540"/>
                </a:cubicBezTo>
                <a:cubicBezTo>
                  <a:pt x="702" y="1541"/>
                  <a:pt x="702" y="1543"/>
                  <a:pt x="700" y="1544"/>
                </a:cubicBezTo>
                <a:cubicBezTo>
                  <a:pt x="700" y="1550"/>
                  <a:pt x="701" y="1555"/>
                  <a:pt x="704" y="1559"/>
                </a:cubicBezTo>
                <a:cubicBezTo>
                  <a:pt x="711" y="1566"/>
                  <a:pt x="715" y="1571"/>
                  <a:pt x="716" y="1572"/>
                </a:cubicBezTo>
                <a:lnTo>
                  <a:pt x="715" y="1575"/>
                </a:lnTo>
                <a:lnTo>
                  <a:pt x="712" y="1575"/>
                </a:lnTo>
                <a:cubicBezTo>
                  <a:pt x="711" y="1575"/>
                  <a:pt x="706" y="1573"/>
                  <a:pt x="697" y="1571"/>
                </a:cubicBezTo>
                <a:cubicBezTo>
                  <a:pt x="692" y="1569"/>
                  <a:pt x="688" y="1567"/>
                  <a:pt x="685" y="1566"/>
                </a:cubicBezTo>
                <a:cubicBezTo>
                  <a:pt x="682" y="1564"/>
                  <a:pt x="679" y="1560"/>
                  <a:pt x="676" y="1554"/>
                </a:cubicBezTo>
                <a:cubicBezTo>
                  <a:pt x="672" y="1548"/>
                  <a:pt x="670" y="1544"/>
                  <a:pt x="670" y="1544"/>
                </a:cubicBezTo>
                <a:cubicBezTo>
                  <a:pt x="663" y="1537"/>
                  <a:pt x="656" y="1528"/>
                  <a:pt x="648" y="1516"/>
                </a:cubicBezTo>
                <a:cubicBezTo>
                  <a:pt x="642" y="1506"/>
                  <a:pt x="639" y="1501"/>
                  <a:pt x="639" y="1501"/>
                </a:cubicBezTo>
                <a:cubicBezTo>
                  <a:pt x="636" y="1501"/>
                  <a:pt x="635" y="1502"/>
                  <a:pt x="635" y="1505"/>
                </a:cubicBezTo>
                <a:cubicBezTo>
                  <a:pt x="635" y="1508"/>
                  <a:pt x="635" y="1515"/>
                  <a:pt x="635" y="1524"/>
                </a:cubicBezTo>
                <a:cubicBezTo>
                  <a:pt x="636" y="1524"/>
                  <a:pt x="637" y="1524"/>
                  <a:pt x="639" y="1525"/>
                </a:cubicBezTo>
                <a:cubicBezTo>
                  <a:pt x="640" y="1525"/>
                  <a:pt x="641" y="1524"/>
                  <a:pt x="643" y="1522"/>
                </a:cubicBezTo>
                <a:cubicBezTo>
                  <a:pt x="644" y="1523"/>
                  <a:pt x="647" y="1525"/>
                  <a:pt x="651" y="1530"/>
                </a:cubicBezTo>
                <a:cubicBezTo>
                  <a:pt x="656" y="1536"/>
                  <a:pt x="660" y="1540"/>
                  <a:pt x="663" y="1542"/>
                </a:cubicBezTo>
                <a:cubicBezTo>
                  <a:pt x="666" y="1544"/>
                  <a:pt x="668" y="1548"/>
                  <a:pt x="670" y="1554"/>
                </a:cubicBezTo>
                <a:cubicBezTo>
                  <a:pt x="672" y="1562"/>
                  <a:pt x="674" y="1567"/>
                  <a:pt x="676" y="1569"/>
                </a:cubicBezTo>
                <a:cubicBezTo>
                  <a:pt x="678" y="1571"/>
                  <a:pt x="682" y="1574"/>
                  <a:pt x="690" y="1576"/>
                </a:cubicBezTo>
                <a:cubicBezTo>
                  <a:pt x="697" y="1579"/>
                  <a:pt x="702" y="1581"/>
                  <a:pt x="704" y="1583"/>
                </a:cubicBezTo>
                <a:cubicBezTo>
                  <a:pt x="709" y="1588"/>
                  <a:pt x="712" y="1592"/>
                  <a:pt x="714" y="1595"/>
                </a:cubicBezTo>
                <a:cubicBezTo>
                  <a:pt x="715" y="1598"/>
                  <a:pt x="716" y="1603"/>
                  <a:pt x="715" y="1610"/>
                </a:cubicBezTo>
                <a:cubicBezTo>
                  <a:pt x="715" y="1618"/>
                  <a:pt x="713" y="1621"/>
                  <a:pt x="711" y="1621"/>
                </a:cubicBezTo>
                <a:cubicBezTo>
                  <a:pt x="710" y="1621"/>
                  <a:pt x="707" y="1620"/>
                  <a:pt x="703" y="1618"/>
                </a:cubicBezTo>
                <a:cubicBezTo>
                  <a:pt x="700" y="1617"/>
                  <a:pt x="697" y="1616"/>
                  <a:pt x="696" y="1615"/>
                </a:cubicBezTo>
                <a:lnTo>
                  <a:pt x="693" y="1615"/>
                </a:lnTo>
                <a:lnTo>
                  <a:pt x="693" y="1618"/>
                </a:lnTo>
                <a:cubicBezTo>
                  <a:pt x="693" y="1619"/>
                  <a:pt x="698" y="1622"/>
                  <a:pt x="707" y="1627"/>
                </a:cubicBezTo>
                <a:cubicBezTo>
                  <a:pt x="714" y="1632"/>
                  <a:pt x="719" y="1636"/>
                  <a:pt x="723" y="1640"/>
                </a:cubicBezTo>
                <a:cubicBezTo>
                  <a:pt x="724" y="1642"/>
                  <a:pt x="726" y="1644"/>
                  <a:pt x="729" y="1646"/>
                </a:cubicBezTo>
                <a:cubicBezTo>
                  <a:pt x="731" y="1649"/>
                  <a:pt x="734" y="1651"/>
                  <a:pt x="737" y="1651"/>
                </a:cubicBezTo>
                <a:cubicBezTo>
                  <a:pt x="738" y="1652"/>
                  <a:pt x="741" y="1653"/>
                  <a:pt x="745" y="1655"/>
                </a:cubicBezTo>
                <a:cubicBezTo>
                  <a:pt x="750" y="1657"/>
                  <a:pt x="753" y="1659"/>
                  <a:pt x="754" y="1659"/>
                </a:cubicBezTo>
                <a:cubicBezTo>
                  <a:pt x="756" y="1659"/>
                  <a:pt x="757" y="1659"/>
                  <a:pt x="757" y="1658"/>
                </a:cubicBezTo>
                <a:cubicBezTo>
                  <a:pt x="757" y="1657"/>
                  <a:pt x="758" y="1657"/>
                  <a:pt x="759" y="1657"/>
                </a:cubicBezTo>
                <a:cubicBezTo>
                  <a:pt x="761" y="1657"/>
                  <a:pt x="762" y="1658"/>
                  <a:pt x="763" y="1659"/>
                </a:cubicBezTo>
                <a:cubicBezTo>
                  <a:pt x="764" y="1661"/>
                  <a:pt x="766" y="1662"/>
                  <a:pt x="768" y="1662"/>
                </a:cubicBezTo>
                <a:cubicBezTo>
                  <a:pt x="772" y="1662"/>
                  <a:pt x="777" y="1662"/>
                  <a:pt x="784" y="1661"/>
                </a:cubicBezTo>
                <a:cubicBezTo>
                  <a:pt x="787" y="1662"/>
                  <a:pt x="790" y="1663"/>
                  <a:pt x="793" y="1666"/>
                </a:cubicBezTo>
                <a:cubicBezTo>
                  <a:pt x="796" y="1669"/>
                  <a:pt x="798" y="1671"/>
                  <a:pt x="799" y="1673"/>
                </a:cubicBezTo>
                <a:cubicBezTo>
                  <a:pt x="800" y="1676"/>
                  <a:pt x="803" y="1678"/>
                  <a:pt x="807" y="1680"/>
                </a:cubicBezTo>
                <a:cubicBezTo>
                  <a:pt x="812" y="1682"/>
                  <a:pt x="815" y="1683"/>
                  <a:pt x="815" y="1684"/>
                </a:cubicBezTo>
                <a:cubicBezTo>
                  <a:pt x="816" y="1685"/>
                  <a:pt x="817" y="1687"/>
                  <a:pt x="818" y="1689"/>
                </a:cubicBezTo>
                <a:cubicBezTo>
                  <a:pt x="820" y="1691"/>
                  <a:pt x="823" y="1695"/>
                  <a:pt x="826" y="1700"/>
                </a:cubicBezTo>
                <a:cubicBezTo>
                  <a:pt x="828" y="1703"/>
                  <a:pt x="831" y="1705"/>
                  <a:pt x="835" y="1707"/>
                </a:cubicBezTo>
                <a:cubicBezTo>
                  <a:pt x="838" y="1708"/>
                  <a:pt x="839" y="1710"/>
                  <a:pt x="838" y="1714"/>
                </a:cubicBezTo>
                <a:cubicBezTo>
                  <a:pt x="838" y="1719"/>
                  <a:pt x="836" y="1724"/>
                  <a:pt x="833" y="1729"/>
                </a:cubicBezTo>
                <a:cubicBezTo>
                  <a:pt x="830" y="1734"/>
                  <a:pt x="828" y="1738"/>
                  <a:pt x="828" y="1741"/>
                </a:cubicBezTo>
                <a:cubicBezTo>
                  <a:pt x="827" y="1745"/>
                  <a:pt x="828" y="1748"/>
                  <a:pt x="830" y="1750"/>
                </a:cubicBezTo>
                <a:cubicBezTo>
                  <a:pt x="831" y="1751"/>
                  <a:pt x="834" y="1753"/>
                  <a:pt x="838" y="1755"/>
                </a:cubicBezTo>
                <a:cubicBezTo>
                  <a:pt x="837" y="1755"/>
                  <a:pt x="839" y="1756"/>
                  <a:pt x="843" y="1757"/>
                </a:cubicBezTo>
                <a:cubicBezTo>
                  <a:pt x="846" y="1757"/>
                  <a:pt x="848" y="1757"/>
                  <a:pt x="850" y="1755"/>
                </a:cubicBezTo>
                <a:cubicBezTo>
                  <a:pt x="851" y="1753"/>
                  <a:pt x="853" y="1753"/>
                  <a:pt x="856" y="1753"/>
                </a:cubicBezTo>
                <a:cubicBezTo>
                  <a:pt x="862" y="1754"/>
                  <a:pt x="866" y="1752"/>
                  <a:pt x="868" y="1749"/>
                </a:cubicBezTo>
                <a:cubicBezTo>
                  <a:pt x="865" y="1747"/>
                  <a:pt x="863" y="1746"/>
                  <a:pt x="862" y="1746"/>
                </a:cubicBezTo>
                <a:lnTo>
                  <a:pt x="863" y="1743"/>
                </a:lnTo>
                <a:cubicBezTo>
                  <a:pt x="863" y="1743"/>
                  <a:pt x="865" y="1742"/>
                  <a:pt x="869" y="1741"/>
                </a:cubicBezTo>
                <a:cubicBezTo>
                  <a:pt x="869" y="1734"/>
                  <a:pt x="869" y="1728"/>
                  <a:pt x="869" y="1724"/>
                </a:cubicBezTo>
                <a:cubicBezTo>
                  <a:pt x="870" y="1717"/>
                  <a:pt x="872" y="1713"/>
                  <a:pt x="874" y="1712"/>
                </a:cubicBezTo>
                <a:cubicBezTo>
                  <a:pt x="881" y="1711"/>
                  <a:pt x="886" y="1710"/>
                  <a:pt x="887" y="1709"/>
                </a:cubicBezTo>
                <a:cubicBezTo>
                  <a:pt x="891" y="1707"/>
                  <a:pt x="893" y="1704"/>
                  <a:pt x="894" y="1699"/>
                </a:cubicBezTo>
                <a:cubicBezTo>
                  <a:pt x="894" y="1698"/>
                  <a:pt x="894" y="1697"/>
                  <a:pt x="894" y="1696"/>
                </a:cubicBezTo>
                <a:lnTo>
                  <a:pt x="894" y="1696"/>
                </a:lnTo>
                <a:close/>
                <a:moveTo>
                  <a:pt x="1192" y="1855"/>
                </a:moveTo>
                <a:lnTo>
                  <a:pt x="1192" y="1855"/>
                </a:lnTo>
                <a:cubicBezTo>
                  <a:pt x="1199" y="1863"/>
                  <a:pt x="1208" y="1870"/>
                  <a:pt x="1220" y="1877"/>
                </a:cubicBezTo>
                <a:cubicBezTo>
                  <a:pt x="1236" y="1886"/>
                  <a:pt x="1251" y="1893"/>
                  <a:pt x="1267" y="1898"/>
                </a:cubicBezTo>
                <a:cubicBezTo>
                  <a:pt x="1268" y="1894"/>
                  <a:pt x="1269" y="1891"/>
                  <a:pt x="1270" y="1890"/>
                </a:cubicBezTo>
                <a:cubicBezTo>
                  <a:pt x="1260" y="1887"/>
                  <a:pt x="1253" y="1884"/>
                  <a:pt x="1250" y="1883"/>
                </a:cubicBezTo>
                <a:cubicBezTo>
                  <a:pt x="1250" y="1880"/>
                  <a:pt x="1251" y="1878"/>
                  <a:pt x="1252" y="1876"/>
                </a:cubicBezTo>
                <a:cubicBezTo>
                  <a:pt x="1245" y="1875"/>
                  <a:pt x="1233" y="1871"/>
                  <a:pt x="1217" y="1864"/>
                </a:cubicBezTo>
                <a:cubicBezTo>
                  <a:pt x="1208" y="1861"/>
                  <a:pt x="1199" y="1858"/>
                  <a:pt x="1192" y="1855"/>
                </a:cubicBezTo>
                <a:lnTo>
                  <a:pt x="1192" y="1855"/>
                </a:lnTo>
                <a:close/>
                <a:moveTo>
                  <a:pt x="1184" y="1846"/>
                </a:moveTo>
                <a:lnTo>
                  <a:pt x="1184" y="1846"/>
                </a:lnTo>
                <a:cubicBezTo>
                  <a:pt x="1184" y="1847"/>
                  <a:pt x="1185" y="1848"/>
                  <a:pt x="1185" y="1849"/>
                </a:cubicBezTo>
                <a:cubicBezTo>
                  <a:pt x="1185" y="1848"/>
                  <a:pt x="1185" y="1847"/>
                  <a:pt x="1185" y="1846"/>
                </a:cubicBezTo>
                <a:lnTo>
                  <a:pt x="1184" y="1846"/>
                </a:lnTo>
                <a:lnTo>
                  <a:pt x="1184" y="1846"/>
                </a:lnTo>
                <a:close/>
                <a:moveTo>
                  <a:pt x="1323" y="466"/>
                </a:moveTo>
                <a:lnTo>
                  <a:pt x="1323" y="466"/>
                </a:lnTo>
                <a:cubicBezTo>
                  <a:pt x="1323" y="466"/>
                  <a:pt x="1324" y="465"/>
                  <a:pt x="1324" y="465"/>
                </a:cubicBezTo>
                <a:cubicBezTo>
                  <a:pt x="1324" y="465"/>
                  <a:pt x="1323" y="465"/>
                  <a:pt x="1323" y="465"/>
                </a:cubicBezTo>
                <a:lnTo>
                  <a:pt x="1323" y="466"/>
                </a:lnTo>
                <a:lnTo>
                  <a:pt x="1323" y="466"/>
                </a:lnTo>
                <a:close/>
                <a:moveTo>
                  <a:pt x="1092" y="1841"/>
                </a:moveTo>
                <a:lnTo>
                  <a:pt x="1092" y="1841"/>
                </a:lnTo>
                <a:cubicBezTo>
                  <a:pt x="1090" y="1839"/>
                  <a:pt x="1089" y="1838"/>
                  <a:pt x="1089" y="1836"/>
                </a:cubicBezTo>
                <a:cubicBezTo>
                  <a:pt x="1086" y="1833"/>
                  <a:pt x="1084" y="1828"/>
                  <a:pt x="1082" y="1822"/>
                </a:cubicBezTo>
                <a:cubicBezTo>
                  <a:pt x="1082" y="1820"/>
                  <a:pt x="1079" y="1817"/>
                  <a:pt x="1073" y="1813"/>
                </a:cubicBezTo>
                <a:cubicBezTo>
                  <a:pt x="1067" y="1809"/>
                  <a:pt x="1062" y="1806"/>
                  <a:pt x="1058" y="1806"/>
                </a:cubicBezTo>
                <a:cubicBezTo>
                  <a:pt x="1044" y="1805"/>
                  <a:pt x="1033" y="1807"/>
                  <a:pt x="1025" y="1813"/>
                </a:cubicBezTo>
                <a:cubicBezTo>
                  <a:pt x="1017" y="1819"/>
                  <a:pt x="1012" y="1828"/>
                  <a:pt x="1011" y="1838"/>
                </a:cubicBezTo>
                <a:cubicBezTo>
                  <a:pt x="1011" y="1844"/>
                  <a:pt x="1012" y="1848"/>
                  <a:pt x="1014" y="1850"/>
                </a:cubicBezTo>
                <a:cubicBezTo>
                  <a:pt x="1016" y="1852"/>
                  <a:pt x="1020" y="1854"/>
                  <a:pt x="1025" y="1854"/>
                </a:cubicBezTo>
                <a:cubicBezTo>
                  <a:pt x="1038" y="1855"/>
                  <a:pt x="1050" y="1855"/>
                  <a:pt x="1062" y="1852"/>
                </a:cubicBezTo>
                <a:cubicBezTo>
                  <a:pt x="1069" y="1850"/>
                  <a:pt x="1079" y="1847"/>
                  <a:pt x="1092" y="1841"/>
                </a:cubicBezTo>
                <a:lnTo>
                  <a:pt x="1092" y="1841"/>
                </a:lnTo>
                <a:close/>
                <a:moveTo>
                  <a:pt x="1268" y="2111"/>
                </a:moveTo>
                <a:lnTo>
                  <a:pt x="1268" y="2111"/>
                </a:lnTo>
                <a:cubicBezTo>
                  <a:pt x="1263" y="2107"/>
                  <a:pt x="1259" y="2103"/>
                  <a:pt x="1257" y="2101"/>
                </a:cubicBezTo>
                <a:cubicBezTo>
                  <a:pt x="1254" y="2097"/>
                  <a:pt x="1253" y="2092"/>
                  <a:pt x="1256" y="2088"/>
                </a:cubicBezTo>
                <a:cubicBezTo>
                  <a:pt x="1255" y="2087"/>
                  <a:pt x="1254" y="2086"/>
                  <a:pt x="1251" y="2086"/>
                </a:cubicBezTo>
                <a:cubicBezTo>
                  <a:pt x="1244" y="2087"/>
                  <a:pt x="1239" y="2087"/>
                  <a:pt x="1236" y="2087"/>
                </a:cubicBezTo>
                <a:cubicBezTo>
                  <a:pt x="1229" y="2086"/>
                  <a:pt x="1211" y="2077"/>
                  <a:pt x="1183" y="2058"/>
                </a:cubicBezTo>
                <a:cubicBezTo>
                  <a:pt x="1154" y="2039"/>
                  <a:pt x="1139" y="2030"/>
                  <a:pt x="1139" y="2030"/>
                </a:cubicBezTo>
                <a:cubicBezTo>
                  <a:pt x="1139" y="2025"/>
                  <a:pt x="1136" y="2022"/>
                  <a:pt x="1132" y="2020"/>
                </a:cubicBezTo>
                <a:cubicBezTo>
                  <a:pt x="1132" y="2020"/>
                  <a:pt x="1127" y="2019"/>
                  <a:pt x="1119" y="2017"/>
                </a:cubicBezTo>
                <a:cubicBezTo>
                  <a:pt x="1122" y="2015"/>
                  <a:pt x="1126" y="2015"/>
                  <a:pt x="1131" y="2014"/>
                </a:cubicBezTo>
                <a:cubicBezTo>
                  <a:pt x="1135" y="2014"/>
                  <a:pt x="1139" y="2014"/>
                  <a:pt x="1146" y="2015"/>
                </a:cubicBezTo>
                <a:cubicBezTo>
                  <a:pt x="1158" y="2014"/>
                  <a:pt x="1165" y="2011"/>
                  <a:pt x="1169" y="2003"/>
                </a:cubicBezTo>
                <a:lnTo>
                  <a:pt x="1170" y="1988"/>
                </a:lnTo>
                <a:cubicBezTo>
                  <a:pt x="1170" y="1988"/>
                  <a:pt x="1168" y="1990"/>
                  <a:pt x="1164" y="1993"/>
                </a:cubicBezTo>
                <a:cubicBezTo>
                  <a:pt x="1161" y="1996"/>
                  <a:pt x="1158" y="1996"/>
                  <a:pt x="1155" y="1996"/>
                </a:cubicBezTo>
                <a:cubicBezTo>
                  <a:pt x="1153" y="1996"/>
                  <a:pt x="1149" y="1994"/>
                  <a:pt x="1144" y="1991"/>
                </a:cubicBezTo>
                <a:cubicBezTo>
                  <a:pt x="1142" y="1996"/>
                  <a:pt x="1144" y="2000"/>
                  <a:pt x="1147" y="2002"/>
                </a:cubicBezTo>
                <a:lnTo>
                  <a:pt x="1147" y="2005"/>
                </a:lnTo>
                <a:cubicBezTo>
                  <a:pt x="1144" y="2004"/>
                  <a:pt x="1140" y="2005"/>
                  <a:pt x="1135" y="2006"/>
                </a:cubicBezTo>
                <a:lnTo>
                  <a:pt x="1128" y="2005"/>
                </a:lnTo>
                <a:cubicBezTo>
                  <a:pt x="1128" y="2003"/>
                  <a:pt x="1127" y="2001"/>
                  <a:pt x="1126" y="1997"/>
                </a:cubicBezTo>
                <a:cubicBezTo>
                  <a:pt x="1126" y="2000"/>
                  <a:pt x="1125" y="2003"/>
                  <a:pt x="1123" y="2008"/>
                </a:cubicBezTo>
                <a:cubicBezTo>
                  <a:pt x="1109" y="2011"/>
                  <a:pt x="1098" y="2012"/>
                  <a:pt x="1090" y="2009"/>
                </a:cubicBezTo>
                <a:cubicBezTo>
                  <a:pt x="1104" y="2021"/>
                  <a:pt x="1110" y="2030"/>
                  <a:pt x="1109" y="2036"/>
                </a:cubicBezTo>
                <a:cubicBezTo>
                  <a:pt x="1109" y="2038"/>
                  <a:pt x="1108" y="2040"/>
                  <a:pt x="1105" y="2044"/>
                </a:cubicBezTo>
                <a:cubicBezTo>
                  <a:pt x="1102" y="2047"/>
                  <a:pt x="1100" y="2051"/>
                  <a:pt x="1100" y="2055"/>
                </a:cubicBezTo>
                <a:cubicBezTo>
                  <a:pt x="1099" y="2060"/>
                  <a:pt x="1099" y="2063"/>
                  <a:pt x="1100" y="2065"/>
                </a:cubicBezTo>
                <a:lnTo>
                  <a:pt x="1100" y="2065"/>
                </a:lnTo>
                <a:cubicBezTo>
                  <a:pt x="1100" y="2066"/>
                  <a:pt x="1100" y="2066"/>
                  <a:pt x="1102" y="2066"/>
                </a:cubicBezTo>
                <a:cubicBezTo>
                  <a:pt x="1103" y="2066"/>
                  <a:pt x="1106" y="2064"/>
                  <a:pt x="1112" y="2059"/>
                </a:cubicBezTo>
                <a:cubicBezTo>
                  <a:pt x="1118" y="2053"/>
                  <a:pt x="1126" y="2051"/>
                  <a:pt x="1134" y="2052"/>
                </a:cubicBezTo>
                <a:cubicBezTo>
                  <a:pt x="1139" y="2053"/>
                  <a:pt x="1143" y="2056"/>
                  <a:pt x="1147" y="2062"/>
                </a:cubicBezTo>
                <a:cubicBezTo>
                  <a:pt x="1149" y="2066"/>
                  <a:pt x="1151" y="2070"/>
                  <a:pt x="1154" y="2076"/>
                </a:cubicBezTo>
                <a:lnTo>
                  <a:pt x="1150" y="2075"/>
                </a:lnTo>
                <a:cubicBezTo>
                  <a:pt x="1152" y="2078"/>
                  <a:pt x="1158" y="2081"/>
                  <a:pt x="1167" y="2085"/>
                </a:cubicBezTo>
                <a:cubicBezTo>
                  <a:pt x="1172" y="2087"/>
                  <a:pt x="1174" y="2092"/>
                  <a:pt x="1173" y="2098"/>
                </a:cubicBezTo>
                <a:cubicBezTo>
                  <a:pt x="1173" y="2104"/>
                  <a:pt x="1170" y="2107"/>
                  <a:pt x="1163" y="2106"/>
                </a:cubicBezTo>
                <a:cubicBezTo>
                  <a:pt x="1153" y="2104"/>
                  <a:pt x="1146" y="2102"/>
                  <a:pt x="1144" y="2102"/>
                </a:cubicBezTo>
                <a:cubicBezTo>
                  <a:pt x="1142" y="2102"/>
                  <a:pt x="1139" y="2102"/>
                  <a:pt x="1135" y="2103"/>
                </a:cubicBezTo>
                <a:cubicBezTo>
                  <a:pt x="1137" y="2111"/>
                  <a:pt x="1135" y="2114"/>
                  <a:pt x="1130" y="2114"/>
                </a:cubicBezTo>
                <a:cubicBezTo>
                  <a:pt x="1129" y="2114"/>
                  <a:pt x="1127" y="2113"/>
                  <a:pt x="1122" y="2111"/>
                </a:cubicBezTo>
                <a:cubicBezTo>
                  <a:pt x="1118" y="2109"/>
                  <a:pt x="1114" y="2107"/>
                  <a:pt x="1111" y="2106"/>
                </a:cubicBezTo>
                <a:cubicBezTo>
                  <a:pt x="1107" y="2106"/>
                  <a:pt x="1105" y="2104"/>
                  <a:pt x="1104" y="2100"/>
                </a:cubicBezTo>
                <a:cubicBezTo>
                  <a:pt x="1103" y="2096"/>
                  <a:pt x="1103" y="2092"/>
                  <a:pt x="1104" y="2088"/>
                </a:cubicBezTo>
                <a:cubicBezTo>
                  <a:pt x="1099" y="2091"/>
                  <a:pt x="1096" y="2093"/>
                  <a:pt x="1094" y="2093"/>
                </a:cubicBezTo>
                <a:cubicBezTo>
                  <a:pt x="1091" y="2092"/>
                  <a:pt x="1087" y="2090"/>
                  <a:pt x="1080" y="2085"/>
                </a:cubicBezTo>
                <a:cubicBezTo>
                  <a:pt x="1073" y="2080"/>
                  <a:pt x="1068" y="2077"/>
                  <a:pt x="1066" y="2076"/>
                </a:cubicBezTo>
                <a:cubicBezTo>
                  <a:pt x="1067" y="2080"/>
                  <a:pt x="1070" y="2085"/>
                  <a:pt x="1074" y="2090"/>
                </a:cubicBezTo>
                <a:cubicBezTo>
                  <a:pt x="1078" y="2096"/>
                  <a:pt x="1080" y="2101"/>
                  <a:pt x="1081" y="2103"/>
                </a:cubicBezTo>
                <a:cubicBezTo>
                  <a:pt x="1091" y="2103"/>
                  <a:pt x="1100" y="2106"/>
                  <a:pt x="1107" y="2112"/>
                </a:cubicBezTo>
                <a:cubicBezTo>
                  <a:pt x="1109" y="2113"/>
                  <a:pt x="1112" y="2116"/>
                  <a:pt x="1116" y="2120"/>
                </a:cubicBezTo>
                <a:cubicBezTo>
                  <a:pt x="1119" y="2122"/>
                  <a:pt x="1123" y="2125"/>
                  <a:pt x="1126" y="2126"/>
                </a:cubicBezTo>
                <a:cubicBezTo>
                  <a:pt x="1134" y="2129"/>
                  <a:pt x="1142" y="2134"/>
                  <a:pt x="1151" y="2141"/>
                </a:cubicBezTo>
                <a:cubicBezTo>
                  <a:pt x="1159" y="2148"/>
                  <a:pt x="1163" y="2151"/>
                  <a:pt x="1165" y="2151"/>
                </a:cubicBezTo>
                <a:cubicBezTo>
                  <a:pt x="1168" y="2152"/>
                  <a:pt x="1175" y="2151"/>
                  <a:pt x="1188" y="2151"/>
                </a:cubicBezTo>
                <a:cubicBezTo>
                  <a:pt x="1193" y="2151"/>
                  <a:pt x="1197" y="2154"/>
                  <a:pt x="1199" y="2157"/>
                </a:cubicBezTo>
                <a:cubicBezTo>
                  <a:pt x="1200" y="2159"/>
                  <a:pt x="1201" y="2162"/>
                  <a:pt x="1202" y="2168"/>
                </a:cubicBezTo>
                <a:cubicBezTo>
                  <a:pt x="1204" y="2173"/>
                  <a:pt x="1205" y="2177"/>
                  <a:pt x="1207" y="2179"/>
                </a:cubicBezTo>
                <a:cubicBezTo>
                  <a:pt x="1211" y="2182"/>
                  <a:pt x="1216" y="2184"/>
                  <a:pt x="1224" y="2184"/>
                </a:cubicBezTo>
                <a:lnTo>
                  <a:pt x="1226" y="2185"/>
                </a:lnTo>
                <a:lnTo>
                  <a:pt x="1216" y="2173"/>
                </a:lnTo>
                <a:cubicBezTo>
                  <a:pt x="1217" y="2169"/>
                  <a:pt x="1221" y="2167"/>
                  <a:pt x="1230" y="2166"/>
                </a:cubicBezTo>
                <a:cubicBezTo>
                  <a:pt x="1235" y="2165"/>
                  <a:pt x="1242" y="2164"/>
                  <a:pt x="1251" y="2163"/>
                </a:cubicBezTo>
                <a:lnTo>
                  <a:pt x="1251" y="2160"/>
                </a:lnTo>
                <a:cubicBezTo>
                  <a:pt x="1248" y="2160"/>
                  <a:pt x="1243" y="2157"/>
                  <a:pt x="1237" y="2152"/>
                </a:cubicBezTo>
                <a:lnTo>
                  <a:pt x="1237" y="2148"/>
                </a:lnTo>
                <a:lnTo>
                  <a:pt x="1252" y="2150"/>
                </a:lnTo>
                <a:cubicBezTo>
                  <a:pt x="1254" y="2152"/>
                  <a:pt x="1254" y="2154"/>
                  <a:pt x="1254" y="2156"/>
                </a:cubicBezTo>
                <a:lnTo>
                  <a:pt x="1256" y="2157"/>
                </a:lnTo>
                <a:lnTo>
                  <a:pt x="1257" y="2146"/>
                </a:lnTo>
                <a:cubicBezTo>
                  <a:pt x="1254" y="2141"/>
                  <a:pt x="1252" y="2138"/>
                  <a:pt x="1251" y="2134"/>
                </a:cubicBezTo>
                <a:cubicBezTo>
                  <a:pt x="1248" y="2128"/>
                  <a:pt x="1247" y="2122"/>
                  <a:pt x="1247" y="2118"/>
                </a:cubicBezTo>
                <a:cubicBezTo>
                  <a:pt x="1248" y="2113"/>
                  <a:pt x="1250" y="2111"/>
                  <a:pt x="1254" y="2111"/>
                </a:cubicBezTo>
                <a:cubicBezTo>
                  <a:pt x="1256" y="2111"/>
                  <a:pt x="1261" y="2111"/>
                  <a:pt x="1268" y="2111"/>
                </a:cubicBezTo>
                <a:lnTo>
                  <a:pt x="1268" y="2111"/>
                </a:lnTo>
                <a:close/>
                <a:moveTo>
                  <a:pt x="652" y="998"/>
                </a:moveTo>
                <a:lnTo>
                  <a:pt x="652" y="998"/>
                </a:lnTo>
                <a:cubicBezTo>
                  <a:pt x="652" y="998"/>
                  <a:pt x="651" y="998"/>
                  <a:pt x="651" y="998"/>
                </a:cubicBezTo>
                <a:cubicBezTo>
                  <a:pt x="649" y="999"/>
                  <a:pt x="648" y="1001"/>
                  <a:pt x="646" y="1003"/>
                </a:cubicBezTo>
                <a:cubicBezTo>
                  <a:pt x="643" y="1007"/>
                  <a:pt x="641" y="1010"/>
                  <a:pt x="641" y="1011"/>
                </a:cubicBezTo>
                <a:cubicBezTo>
                  <a:pt x="657" y="1027"/>
                  <a:pt x="666" y="1035"/>
                  <a:pt x="666" y="1035"/>
                </a:cubicBezTo>
                <a:cubicBezTo>
                  <a:pt x="668" y="1035"/>
                  <a:pt x="669" y="1035"/>
                  <a:pt x="670" y="1034"/>
                </a:cubicBezTo>
                <a:lnTo>
                  <a:pt x="670" y="1029"/>
                </a:lnTo>
                <a:cubicBezTo>
                  <a:pt x="668" y="1021"/>
                  <a:pt x="665" y="1014"/>
                  <a:pt x="664" y="1010"/>
                </a:cubicBezTo>
                <a:cubicBezTo>
                  <a:pt x="661" y="1002"/>
                  <a:pt x="657" y="998"/>
                  <a:pt x="652" y="998"/>
                </a:cubicBezTo>
                <a:lnTo>
                  <a:pt x="652" y="998"/>
                </a:lnTo>
                <a:close/>
                <a:moveTo>
                  <a:pt x="424" y="789"/>
                </a:moveTo>
                <a:lnTo>
                  <a:pt x="424" y="789"/>
                </a:lnTo>
                <a:cubicBezTo>
                  <a:pt x="420" y="788"/>
                  <a:pt x="416" y="786"/>
                  <a:pt x="413" y="786"/>
                </a:cubicBezTo>
                <a:cubicBezTo>
                  <a:pt x="411" y="786"/>
                  <a:pt x="409" y="787"/>
                  <a:pt x="406" y="788"/>
                </a:cubicBezTo>
                <a:cubicBezTo>
                  <a:pt x="406" y="788"/>
                  <a:pt x="405" y="789"/>
                  <a:pt x="404" y="790"/>
                </a:cubicBezTo>
                <a:cubicBezTo>
                  <a:pt x="401" y="793"/>
                  <a:pt x="399" y="795"/>
                  <a:pt x="398" y="796"/>
                </a:cubicBezTo>
                <a:cubicBezTo>
                  <a:pt x="400" y="798"/>
                  <a:pt x="402" y="800"/>
                  <a:pt x="406" y="800"/>
                </a:cubicBezTo>
                <a:cubicBezTo>
                  <a:pt x="407" y="800"/>
                  <a:pt x="409" y="801"/>
                  <a:pt x="410" y="801"/>
                </a:cubicBezTo>
                <a:cubicBezTo>
                  <a:pt x="414" y="801"/>
                  <a:pt x="417" y="801"/>
                  <a:pt x="421" y="801"/>
                </a:cubicBezTo>
                <a:cubicBezTo>
                  <a:pt x="427" y="800"/>
                  <a:pt x="431" y="800"/>
                  <a:pt x="431" y="798"/>
                </a:cubicBezTo>
                <a:cubicBezTo>
                  <a:pt x="431" y="798"/>
                  <a:pt x="431" y="796"/>
                  <a:pt x="429" y="795"/>
                </a:cubicBezTo>
                <a:cubicBezTo>
                  <a:pt x="428" y="794"/>
                  <a:pt x="428" y="792"/>
                  <a:pt x="427" y="791"/>
                </a:cubicBezTo>
                <a:cubicBezTo>
                  <a:pt x="426" y="791"/>
                  <a:pt x="425" y="790"/>
                  <a:pt x="424" y="789"/>
                </a:cubicBezTo>
                <a:lnTo>
                  <a:pt x="424" y="789"/>
                </a:lnTo>
                <a:close/>
                <a:moveTo>
                  <a:pt x="1056" y="574"/>
                </a:moveTo>
                <a:lnTo>
                  <a:pt x="1056" y="574"/>
                </a:lnTo>
                <a:cubicBezTo>
                  <a:pt x="1058" y="575"/>
                  <a:pt x="1062" y="577"/>
                  <a:pt x="1064" y="577"/>
                </a:cubicBezTo>
                <a:cubicBezTo>
                  <a:pt x="1067" y="577"/>
                  <a:pt x="1069" y="576"/>
                  <a:pt x="1070" y="573"/>
                </a:cubicBezTo>
                <a:cubicBezTo>
                  <a:pt x="1070" y="572"/>
                  <a:pt x="1068" y="570"/>
                  <a:pt x="1063" y="566"/>
                </a:cubicBezTo>
                <a:cubicBezTo>
                  <a:pt x="1061" y="564"/>
                  <a:pt x="1059" y="563"/>
                  <a:pt x="1057" y="562"/>
                </a:cubicBezTo>
                <a:lnTo>
                  <a:pt x="1053" y="562"/>
                </a:lnTo>
                <a:cubicBezTo>
                  <a:pt x="1053" y="562"/>
                  <a:pt x="1053" y="562"/>
                  <a:pt x="1053" y="562"/>
                </a:cubicBezTo>
                <a:cubicBezTo>
                  <a:pt x="1052" y="564"/>
                  <a:pt x="1051" y="565"/>
                  <a:pt x="1051" y="566"/>
                </a:cubicBezTo>
                <a:cubicBezTo>
                  <a:pt x="1050" y="569"/>
                  <a:pt x="1052" y="571"/>
                  <a:pt x="1056" y="574"/>
                </a:cubicBezTo>
                <a:lnTo>
                  <a:pt x="1056" y="57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7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8"/>
          <p:cNvSpPr/>
          <p:nvPr/>
        </p:nvSpPr>
        <p:spPr bwMode="auto">
          <a:xfrm>
            <a:off x="10146027" y="2821293"/>
            <a:ext cx="1039386" cy="925839"/>
          </a:xfrm>
          <a:custGeom>
            <a:avLst/>
            <a:gdLst>
              <a:gd name="T0" fmla="*/ 626 w 994"/>
              <a:gd name="T1" fmla="*/ 25 h 885"/>
              <a:gd name="T2" fmla="*/ 588 w 994"/>
              <a:gd name="T3" fmla="*/ 57 h 885"/>
              <a:gd name="T4" fmla="*/ 572 w 994"/>
              <a:gd name="T5" fmla="*/ 25 h 885"/>
              <a:gd name="T6" fmla="*/ 515 w 994"/>
              <a:gd name="T7" fmla="*/ 19 h 885"/>
              <a:gd name="T8" fmla="*/ 461 w 994"/>
              <a:gd name="T9" fmla="*/ 10 h 885"/>
              <a:gd name="T10" fmla="*/ 430 w 994"/>
              <a:gd name="T11" fmla="*/ 4 h 885"/>
              <a:gd name="T12" fmla="*/ 386 w 994"/>
              <a:gd name="T13" fmla="*/ 74 h 885"/>
              <a:gd name="T14" fmla="*/ 328 w 994"/>
              <a:gd name="T15" fmla="*/ 77 h 885"/>
              <a:gd name="T16" fmla="*/ 295 w 994"/>
              <a:gd name="T17" fmla="*/ 108 h 885"/>
              <a:gd name="T18" fmla="*/ 291 w 994"/>
              <a:gd name="T19" fmla="*/ 162 h 885"/>
              <a:gd name="T20" fmla="*/ 311 w 994"/>
              <a:gd name="T21" fmla="*/ 189 h 885"/>
              <a:gd name="T22" fmla="*/ 281 w 994"/>
              <a:gd name="T23" fmla="*/ 205 h 885"/>
              <a:gd name="T24" fmla="*/ 237 w 994"/>
              <a:gd name="T25" fmla="*/ 255 h 885"/>
              <a:gd name="T26" fmla="*/ 232 w 994"/>
              <a:gd name="T27" fmla="*/ 288 h 885"/>
              <a:gd name="T28" fmla="*/ 225 w 994"/>
              <a:gd name="T29" fmla="*/ 344 h 885"/>
              <a:gd name="T30" fmla="*/ 236 w 994"/>
              <a:gd name="T31" fmla="*/ 358 h 885"/>
              <a:gd name="T32" fmla="*/ 223 w 994"/>
              <a:gd name="T33" fmla="*/ 378 h 885"/>
              <a:gd name="T34" fmla="*/ 188 w 994"/>
              <a:gd name="T35" fmla="*/ 379 h 885"/>
              <a:gd name="T36" fmla="*/ 149 w 994"/>
              <a:gd name="T37" fmla="*/ 416 h 885"/>
              <a:gd name="T38" fmla="*/ 106 w 994"/>
              <a:gd name="T39" fmla="*/ 451 h 885"/>
              <a:gd name="T40" fmla="*/ 62 w 994"/>
              <a:gd name="T41" fmla="*/ 445 h 885"/>
              <a:gd name="T42" fmla="*/ 13 w 994"/>
              <a:gd name="T43" fmla="*/ 450 h 885"/>
              <a:gd name="T44" fmla="*/ 26 w 994"/>
              <a:gd name="T45" fmla="*/ 494 h 885"/>
              <a:gd name="T46" fmla="*/ 68 w 994"/>
              <a:gd name="T47" fmla="*/ 587 h 885"/>
              <a:gd name="T48" fmla="*/ 73 w 994"/>
              <a:gd name="T49" fmla="*/ 670 h 885"/>
              <a:gd name="T50" fmla="*/ 8 w 994"/>
              <a:gd name="T51" fmla="*/ 755 h 885"/>
              <a:gd name="T52" fmla="*/ 56 w 994"/>
              <a:gd name="T53" fmla="*/ 808 h 885"/>
              <a:gd name="T54" fmla="*/ 49 w 994"/>
              <a:gd name="T55" fmla="*/ 862 h 885"/>
              <a:gd name="T56" fmla="*/ 83 w 994"/>
              <a:gd name="T57" fmla="*/ 852 h 885"/>
              <a:gd name="T58" fmla="*/ 135 w 994"/>
              <a:gd name="T59" fmla="*/ 819 h 885"/>
              <a:gd name="T60" fmla="*/ 256 w 994"/>
              <a:gd name="T61" fmla="*/ 789 h 885"/>
              <a:gd name="T62" fmla="*/ 364 w 994"/>
              <a:gd name="T63" fmla="*/ 789 h 885"/>
              <a:gd name="T64" fmla="*/ 426 w 994"/>
              <a:gd name="T65" fmla="*/ 793 h 885"/>
              <a:gd name="T66" fmla="*/ 509 w 994"/>
              <a:gd name="T67" fmla="*/ 819 h 885"/>
              <a:gd name="T68" fmla="*/ 565 w 994"/>
              <a:gd name="T69" fmla="*/ 799 h 885"/>
              <a:gd name="T70" fmla="*/ 613 w 994"/>
              <a:gd name="T71" fmla="*/ 812 h 885"/>
              <a:gd name="T72" fmla="*/ 657 w 994"/>
              <a:gd name="T73" fmla="*/ 786 h 885"/>
              <a:gd name="T74" fmla="*/ 711 w 994"/>
              <a:gd name="T75" fmla="*/ 812 h 885"/>
              <a:gd name="T76" fmla="*/ 760 w 994"/>
              <a:gd name="T77" fmla="*/ 797 h 885"/>
              <a:gd name="T78" fmla="*/ 831 w 994"/>
              <a:gd name="T79" fmla="*/ 820 h 885"/>
              <a:gd name="T80" fmla="*/ 823 w 994"/>
              <a:gd name="T81" fmla="*/ 742 h 885"/>
              <a:gd name="T82" fmla="*/ 866 w 994"/>
              <a:gd name="T83" fmla="*/ 663 h 885"/>
              <a:gd name="T84" fmla="*/ 940 w 994"/>
              <a:gd name="T85" fmla="*/ 643 h 885"/>
              <a:gd name="T86" fmla="*/ 907 w 994"/>
              <a:gd name="T87" fmla="*/ 596 h 885"/>
              <a:gd name="T88" fmla="*/ 894 w 994"/>
              <a:gd name="T89" fmla="*/ 545 h 885"/>
              <a:gd name="T90" fmla="*/ 888 w 994"/>
              <a:gd name="T91" fmla="*/ 455 h 885"/>
              <a:gd name="T92" fmla="*/ 962 w 994"/>
              <a:gd name="T93" fmla="*/ 448 h 885"/>
              <a:gd name="T94" fmla="*/ 979 w 994"/>
              <a:gd name="T95" fmla="*/ 413 h 885"/>
              <a:gd name="T96" fmla="*/ 982 w 994"/>
              <a:gd name="T97" fmla="*/ 388 h 885"/>
              <a:gd name="T98" fmla="*/ 953 w 994"/>
              <a:gd name="T99" fmla="*/ 358 h 885"/>
              <a:gd name="T100" fmla="*/ 875 w 994"/>
              <a:gd name="T101" fmla="*/ 350 h 885"/>
              <a:gd name="T102" fmla="*/ 782 w 994"/>
              <a:gd name="T103" fmla="*/ 240 h 885"/>
              <a:gd name="T104" fmla="*/ 743 w 994"/>
              <a:gd name="T105" fmla="*/ 186 h 885"/>
              <a:gd name="T106" fmla="*/ 730 w 994"/>
              <a:gd name="T107" fmla="*/ 96 h 885"/>
              <a:gd name="T108" fmla="*/ 723 w 994"/>
              <a:gd name="T109" fmla="*/ 51 h 885"/>
              <a:gd name="T110" fmla="*/ 691 w 994"/>
              <a:gd name="T111" fmla="*/ 4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94" h="885">
                <a:moveTo>
                  <a:pt x="660" y="24"/>
                </a:moveTo>
                <a:lnTo>
                  <a:pt x="660" y="24"/>
                </a:lnTo>
                <a:cubicBezTo>
                  <a:pt x="656" y="22"/>
                  <a:pt x="653" y="21"/>
                  <a:pt x="650" y="21"/>
                </a:cubicBezTo>
                <a:cubicBezTo>
                  <a:pt x="648" y="21"/>
                  <a:pt x="646" y="21"/>
                  <a:pt x="645" y="22"/>
                </a:cubicBezTo>
                <a:cubicBezTo>
                  <a:pt x="644" y="24"/>
                  <a:pt x="643" y="25"/>
                  <a:pt x="640" y="26"/>
                </a:cubicBezTo>
                <a:cubicBezTo>
                  <a:pt x="634" y="25"/>
                  <a:pt x="629" y="25"/>
                  <a:pt x="626" y="25"/>
                </a:cubicBezTo>
                <a:cubicBezTo>
                  <a:pt x="623" y="24"/>
                  <a:pt x="620" y="26"/>
                  <a:pt x="617" y="30"/>
                </a:cubicBezTo>
                <a:cubicBezTo>
                  <a:pt x="614" y="33"/>
                  <a:pt x="613" y="37"/>
                  <a:pt x="613" y="42"/>
                </a:cubicBezTo>
                <a:lnTo>
                  <a:pt x="612" y="42"/>
                </a:lnTo>
                <a:cubicBezTo>
                  <a:pt x="610" y="40"/>
                  <a:pt x="608" y="39"/>
                  <a:pt x="607" y="39"/>
                </a:cubicBezTo>
                <a:cubicBezTo>
                  <a:pt x="602" y="39"/>
                  <a:pt x="597" y="42"/>
                  <a:pt x="593" y="49"/>
                </a:cubicBezTo>
                <a:cubicBezTo>
                  <a:pt x="590" y="54"/>
                  <a:pt x="589" y="56"/>
                  <a:pt x="588" y="57"/>
                </a:cubicBezTo>
                <a:cubicBezTo>
                  <a:pt x="587" y="59"/>
                  <a:pt x="585" y="60"/>
                  <a:pt x="583" y="60"/>
                </a:cubicBezTo>
                <a:cubicBezTo>
                  <a:pt x="580" y="59"/>
                  <a:pt x="577" y="56"/>
                  <a:pt x="572" y="51"/>
                </a:cubicBezTo>
                <a:cubicBezTo>
                  <a:pt x="568" y="45"/>
                  <a:pt x="566" y="41"/>
                  <a:pt x="567" y="38"/>
                </a:cubicBezTo>
                <a:cubicBezTo>
                  <a:pt x="567" y="37"/>
                  <a:pt x="567" y="35"/>
                  <a:pt x="568" y="34"/>
                </a:cubicBezTo>
                <a:cubicBezTo>
                  <a:pt x="569" y="33"/>
                  <a:pt x="570" y="31"/>
                  <a:pt x="569" y="29"/>
                </a:cubicBezTo>
                <a:cubicBezTo>
                  <a:pt x="569" y="28"/>
                  <a:pt x="570" y="26"/>
                  <a:pt x="572" y="25"/>
                </a:cubicBezTo>
                <a:cubicBezTo>
                  <a:pt x="573" y="24"/>
                  <a:pt x="574" y="23"/>
                  <a:pt x="574" y="22"/>
                </a:cubicBezTo>
                <a:cubicBezTo>
                  <a:pt x="574" y="21"/>
                  <a:pt x="572" y="19"/>
                  <a:pt x="569" y="17"/>
                </a:cubicBezTo>
                <a:cubicBezTo>
                  <a:pt x="565" y="15"/>
                  <a:pt x="562" y="14"/>
                  <a:pt x="560" y="14"/>
                </a:cubicBezTo>
                <a:cubicBezTo>
                  <a:pt x="556" y="14"/>
                  <a:pt x="555" y="15"/>
                  <a:pt x="554" y="15"/>
                </a:cubicBezTo>
                <a:cubicBezTo>
                  <a:pt x="545" y="12"/>
                  <a:pt x="540" y="11"/>
                  <a:pt x="538" y="11"/>
                </a:cubicBezTo>
                <a:cubicBezTo>
                  <a:pt x="529" y="10"/>
                  <a:pt x="522" y="13"/>
                  <a:pt x="515" y="19"/>
                </a:cubicBezTo>
                <a:cubicBezTo>
                  <a:pt x="512" y="22"/>
                  <a:pt x="510" y="24"/>
                  <a:pt x="509" y="25"/>
                </a:cubicBezTo>
                <a:cubicBezTo>
                  <a:pt x="507" y="27"/>
                  <a:pt x="505" y="28"/>
                  <a:pt x="503" y="28"/>
                </a:cubicBezTo>
                <a:cubicBezTo>
                  <a:pt x="502" y="28"/>
                  <a:pt x="500" y="23"/>
                  <a:pt x="496" y="15"/>
                </a:cubicBezTo>
                <a:cubicBezTo>
                  <a:pt x="492" y="6"/>
                  <a:pt x="488" y="2"/>
                  <a:pt x="483" y="1"/>
                </a:cubicBezTo>
                <a:cubicBezTo>
                  <a:pt x="481" y="1"/>
                  <a:pt x="475" y="2"/>
                  <a:pt x="467" y="4"/>
                </a:cubicBezTo>
                <a:cubicBezTo>
                  <a:pt x="465" y="5"/>
                  <a:pt x="463" y="7"/>
                  <a:pt x="461" y="10"/>
                </a:cubicBezTo>
                <a:cubicBezTo>
                  <a:pt x="459" y="13"/>
                  <a:pt x="458" y="14"/>
                  <a:pt x="458" y="14"/>
                </a:cubicBezTo>
                <a:cubicBezTo>
                  <a:pt x="457" y="14"/>
                  <a:pt x="455" y="12"/>
                  <a:pt x="452" y="8"/>
                </a:cubicBezTo>
                <a:cubicBezTo>
                  <a:pt x="450" y="3"/>
                  <a:pt x="446" y="1"/>
                  <a:pt x="441" y="0"/>
                </a:cubicBezTo>
                <a:cubicBezTo>
                  <a:pt x="441" y="0"/>
                  <a:pt x="440" y="0"/>
                  <a:pt x="440" y="0"/>
                </a:cubicBezTo>
                <a:cubicBezTo>
                  <a:pt x="440" y="1"/>
                  <a:pt x="437" y="3"/>
                  <a:pt x="432" y="4"/>
                </a:cubicBezTo>
                <a:cubicBezTo>
                  <a:pt x="431" y="4"/>
                  <a:pt x="431" y="4"/>
                  <a:pt x="430" y="4"/>
                </a:cubicBezTo>
                <a:cubicBezTo>
                  <a:pt x="424" y="6"/>
                  <a:pt x="419" y="9"/>
                  <a:pt x="416" y="16"/>
                </a:cubicBezTo>
                <a:cubicBezTo>
                  <a:pt x="412" y="25"/>
                  <a:pt x="409" y="31"/>
                  <a:pt x="406" y="35"/>
                </a:cubicBezTo>
                <a:cubicBezTo>
                  <a:pt x="406" y="35"/>
                  <a:pt x="403" y="38"/>
                  <a:pt x="399" y="42"/>
                </a:cubicBezTo>
                <a:cubicBezTo>
                  <a:pt x="396" y="45"/>
                  <a:pt x="394" y="48"/>
                  <a:pt x="393" y="52"/>
                </a:cubicBezTo>
                <a:cubicBezTo>
                  <a:pt x="393" y="53"/>
                  <a:pt x="392" y="57"/>
                  <a:pt x="392" y="64"/>
                </a:cubicBezTo>
                <a:cubicBezTo>
                  <a:pt x="391" y="71"/>
                  <a:pt x="389" y="74"/>
                  <a:pt x="386" y="74"/>
                </a:cubicBezTo>
                <a:cubicBezTo>
                  <a:pt x="386" y="74"/>
                  <a:pt x="381" y="73"/>
                  <a:pt x="372" y="71"/>
                </a:cubicBezTo>
                <a:cubicBezTo>
                  <a:pt x="369" y="70"/>
                  <a:pt x="366" y="72"/>
                  <a:pt x="365" y="74"/>
                </a:cubicBezTo>
                <a:cubicBezTo>
                  <a:pt x="363" y="77"/>
                  <a:pt x="361" y="78"/>
                  <a:pt x="360" y="78"/>
                </a:cubicBezTo>
                <a:cubicBezTo>
                  <a:pt x="358" y="78"/>
                  <a:pt x="356" y="76"/>
                  <a:pt x="352" y="74"/>
                </a:cubicBezTo>
                <a:cubicBezTo>
                  <a:pt x="348" y="72"/>
                  <a:pt x="345" y="70"/>
                  <a:pt x="343" y="70"/>
                </a:cubicBezTo>
                <a:cubicBezTo>
                  <a:pt x="337" y="69"/>
                  <a:pt x="332" y="72"/>
                  <a:pt x="328" y="77"/>
                </a:cubicBezTo>
                <a:cubicBezTo>
                  <a:pt x="326" y="79"/>
                  <a:pt x="325" y="82"/>
                  <a:pt x="324" y="85"/>
                </a:cubicBezTo>
                <a:cubicBezTo>
                  <a:pt x="323" y="90"/>
                  <a:pt x="322" y="93"/>
                  <a:pt x="322" y="95"/>
                </a:cubicBezTo>
                <a:cubicBezTo>
                  <a:pt x="321" y="96"/>
                  <a:pt x="319" y="98"/>
                  <a:pt x="315" y="99"/>
                </a:cubicBezTo>
                <a:cubicBezTo>
                  <a:pt x="311" y="101"/>
                  <a:pt x="308" y="101"/>
                  <a:pt x="305" y="101"/>
                </a:cubicBezTo>
                <a:cubicBezTo>
                  <a:pt x="302" y="101"/>
                  <a:pt x="299" y="103"/>
                  <a:pt x="296" y="106"/>
                </a:cubicBezTo>
                <a:cubicBezTo>
                  <a:pt x="296" y="107"/>
                  <a:pt x="295" y="108"/>
                  <a:pt x="295" y="108"/>
                </a:cubicBezTo>
                <a:cubicBezTo>
                  <a:pt x="299" y="110"/>
                  <a:pt x="301" y="115"/>
                  <a:pt x="300" y="122"/>
                </a:cubicBezTo>
                <a:cubicBezTo>
                  <a:pt x="300" y="125"/>
                  <a:pt x="299" y="128"/>
                  <a:pt x="297" y="130"/>
                </a:cubicBezTo>
                <a:cubicBezTo>
                  <a:pt x="295" y="132"/>
                  <a:pt x="294" y="134"/>
                  <a:pt x="294" y="134"/>
                </a:cubicBezTo>
                <a:cubicBezTo>
                  <a:pt x="294" y="135"/>
                  <a:pt x="293" y="138"/>
                  <a:pt x="293" y="143"/>
                </a:cubicBezTo>
                <a:cubicBezTo>
                  <a:pt x="293" y="144"/>
                  <a:pt x="293" y="146"/>
                  <a:pt x="294" y="151"/>
                </a:cubicBezTo>
                <a:lnTo>
                  <a:pt x="291" y="162"/>
                </a:lnTo>
                <a:cubicBezTo>
                  <a:pt x="291" y="167"/>
                  <a:pt x="293" y="170"/>
                  <a:pt x="298" y="171"/>
                </a:cubicBezTo>
                <a:cubicBezTo>
                  <a:pt x="300" y="171"/>
                  <a:pt x="302" y="171"/>
                  <a:pt x="303" y="169"/>
                </a:cubicBezTo>
                <a:cubicBezTo>
                  <a:pt x="304" y="168"/>
                  <a:pt x="305" y="167"/>
                  <a:pt x="307" y="167"/>
                </a:cubicBezTo>
                <a:cubicBezTo>
                  <a:pt x="319" y="168"/>
                  <a:pt x="324" y="171"/>
                  <a:pt x="323" y="177"/>
                </a:cubicBezTo>
                <a:cubicBezTo>
                  <a:pt x="323" y="178"/>
                  <a:pt x="321" y="180"/>
                  <a:pt x="317" y="183"/>
                </a:cubicBezTo>
                <a:cubicBezTo>
                  <a:pt x="313" y="186"/>
                  <a:pt x="311" y="188"/>
                  <a:pt x="311" y="189"/>
                </a:cubicBezTo>
                <a:cubicBezTo>
                  <a:pt x="311" y="192"/>
                  <a:pt x="311" y="196"/>
                  <a:pt x="313" y="201"/>
                </a:cubicBezTo>
                <a:cubicBezTo>
                  <a:pt x="313" y="204"/>
                  <a:pt x="311" y="205"/>
                  <a:pt x="307" y="205"/>
                </a:cubicBezTo>
                <a:cubicBezTo>
                  <a:pt x="302" y="202"/>
                  <a:pt x="298" y="201"/>
                  <a:pt x="297" y="201"/>
                </a:cubicBezTo>
                <a:cubicBezTo>
                  <a:pt x="295" y="201"/>
                  <a:pt x="293" y="202"/>
                  <a:pt x="292" y="204"/>
                </a:cubicBezTo>
                <a:cubicBezTo>
                  <a:pt x="290" y="206"/>
                  <a:pt x="288" y="206"/>
                  <a:pt x="287" y="206"/>
                </a:cubicBezTo>
                <a:cubicBezTo>
                  <a:pt x="284" y="206"/>
                  <a:pt x="282" y="205"/>
                  <a:pt x="281" y="205"/>
                </a:cubicBezTo>
                <a:cubicBezTo>
                  <a:pt x="278" y="204"/>
                  <a:pt x="276" y="207"/>
                  <a:pt x="274" y="212"/>
                </a:cubicBezTo>
                <a:cubicBezTo>
                  <a:pt x="274" y="215"/>
                  <a:pt x="273" y="219"/>
                  <a:pt x="272" y="224"/>
                </a:cubicBezTo>
                <a:cubicBezTo>
                  <a:pt x="269" y="234"/>
                  <a:pt x="264" y="240"/>
                  <a:pt x="258" y="243"/>
                </a:cubicBezTo>
                <a:cubicBezTo>
                  <a:pt x="254" y="243"/>
                  <a:pt x="251" y="243"/>
                  <a:pt x="249" y="244"/>
                </a:cubicBezTo>
                <a:cubicBezTo>
                  <a:pt x="245" y="244"/>
                  <a:pt x="243" y="247"/>
                  <a:pt x="241" y="252"/>
                </a:cubicBezTo>
                <a:cubicBezTo>
                  <a:pt x="241" y="253"/>
                  <a:pt x="240" y="254"/>
                  <a:pt x="237" y="255"/>
                </a:cubicBezTo>
                <a:cubicBezTo>
                  <a:pt x="235" y="256"/>
                  <a:pt x="234" y="257"/>
                  <a:pt x="234" y="258"/>
                </a:cubicBezTo>
                <a:cubicBezTo>
                  <a:pt x="231" y="266"/>
                  <a:pt x="230" y="269"/>
                  <a:pt x="230" y="270"/>
                </a:cubicBezTo>
                <a:cubicBezTo>
                  <a:pt x="230" y="271"/>
                  <a:pt x="230" y="274"/>
                  <a:pt x="231" y="277"/>
                </a:cubicBezTo>
                <a:cubicBezTo>
                  <a:pt x="230" y="278"/>
                  <a:pt x="229" y="279"/>
                  <a:pt x="228" y="280"/>
                </a:cubicBezTo>
                <a:cubicBezTo>
                  <a:pt x="228" y="281"/>
                  <a:pt x="228" y="282"/>
                  <a:pt x="230" y="283"/>
                </a:cubicBezTo>
                <a:cubicBezTo>
                  <a:pt x="231" y="285"/>
                  <a:pt x="232" y="286"/>
                  <a:pt x="232" y="288"/>
                </a:cubicBezTo>
                <a:cubicBezTo>
                  <a:pt x="232" y="289"/>
                  <a:pt x="231" y="291"/>
                  <a:pt x="229" y="294"/>
                </a:cubicBezTo>
                <a:cubicBezTo>
                  <a:pt x="229" y="299"/>
                  <a:pt x="230" y="301"/>
                  <a:pt x="232" y="303"/>
                </a:cubicBezTo>
                <a:cubicBezTo>
                  <a:pt x="235" y="305"/>
                  <a:pt x="236" y="307"/>
                  <a:pt x="236" y="309"/>
                </a:cubicBezTo>
                <a:cubicBezTo>
                  <a:pt x="235" y="314"/>
                  <a:pt x="233" y="318"/>
                  <a:pt x="230" y="320"/>
                </a:cubicBezTo>
                <a:cubicBezTo>
                  <a:pt x="226" y="321"/>
                  <a:pt x="224" y="324"/>
                  <a:pt x="224" y="327"/>
                </a:cubicBezTo>
                <a:cubicBezTo>
                  <a:pt x="224" y="330"/>
                  <a:pt x="224" y="336"/>
                  <a:pt x="225" y="344"/>
                </a:cubicBezTo>
                <a:cubicBezTo>
                  <a:pt x="225" y="346"/>
                  <a:pt x="224" y="348"/>
                  <a:pt x="222" y="350"/>
                </a:cubicBezTo>
                <a:cubicBezTo>
                  <a:pt x="220" y="352"/>
                  <a:pt x="219" y="354"/>
                  <a:pt x="219" y="355"/>
                </a:cubicBezTo>
                <a:cubicBezTo>
                  <a:pt x="219" y="355"/>
                  <a:pt x="220" y="357"/>
                  <a:pt x="221" y="359"/>
                </a:cubicBezTo>
                <a:cubicBezTo>
                  <a:pt x="223" y="361"/>
                  <a:pt x="225" y="363"/>
                  <a:pt x="226" y="363"/>
                </a:cubicBezTo>
                <a:cubicBezTo>
                  <a:pt x="227" y="363"/>
                  <a:pt x="229" y="362"/>
                  <a:pt x="230" y="361"/>
                </a:cubicBezTo>
                <a:cubicBezTo>
                  <a:pt x="232" y="359"/>
                  <a:pt x="233" y="358"/>
                  <a:pt x="236" y="358"/>
                </a:cubicBezTo>
                <a:cubicBezTo>
                  <a:pt x="238" y="359"/>
                  <a:pt x="241" y="361"/>
                  <a:pt x="244" y="366"/>
                </a:cubicBezTo>
                <a:cubicBezTo>
                  <a:pt x="247" y="370"/>
                  <a:pt x="248" y="373"/>
                  <a:pt x="248" y="374"/>
                </a:cubicBezTo>
                <a:cubicBezTo>
                  <a:pt x="248" y="378"/>
                  <a:pt x="244" y="381"/>
                  <a:pt x="238" y="386"/>
                </a:cubicBezTo>
                <a:cubicBezTo>
                  <a:pt x="232" y="391"/>
                  <a:pt x="227" y="393"/>
                  <a:pt x="223" y="392"/>
                </a:cubicBezTo>
                <a:cubicBezTo>
                  <a:pt x="221" y="391"/>
                  <a:pt x="220" y="390"/>
                  <a:pt x="219" y="390"/>
                </a:cubicBezTo>
                <a:cubicBezTo>
                  <a:pt x="222" y="384"/>
                  <a:pt x="223" y="380"/>
                  <a:pt x="223" y="378"/>
                </a:cubicBezTo>
                <a:cubicBezTo>
                  <a:pt x="223" y="376"/>
                  <a:pt x="222" y="375"/>
                  <a:pt x="220" y="372"/>
                </a:cubicBezTo>
                <a:cubicBezTo>
                  <a:pt x="217" y="370"/>
                  <a:pt x="215" y="369"/>
                  <a:pt x="212" y="368"/>
                </a:cubicBezTo>
                <a:cubicBezTo>
                  <a:pt x="211" y="368"/>
                  <a:pt x="209" y="370"/>
                  <a:pt x="205" y="373"/>
                </a:cubicBezTo>
                <a:cubicBezTo>
                  <a:pt x="201" y="376"/>
                  <a:pt x="199" y="377"/>
                  <a:pt x="197" y="377"/>
                </a:cubicBezTo>
                <a:cubicBezTo>
                  <a:pt x="195" y="376"/>
                  <a:pt x="194" y="375"/>
                  <a:pt x="193" y="375"/>
                </a:cubicBezTo>
                <a:cubicBezTo>
                  <a:pt x="191" y="375"/>
                  <a:pt x="189" y="376"/>
                  <a:pt x="188" y="379"/>
                </a:cubicBezTo>
                <a:cubicBezTo>
                  <a:pt x="187" y="381"/>
                  <a:pt x="185" y="383"/>
                  <a:pt x="185" y="385"/>
                </a:cubicBezTo>
                <a:cubicBezTo>
                  <a:pt x="183" y="388"/>
                  <a:pt x="180" y="392"/>
                  <a:pt x="175" y="398"/>
                </a:cubicBezTo>
                <a:cubicBezTo>
                  <a:pt x="174" y="400"/>
                  <a:pt x="173" y="400"/>
                  <a:pt x="170" y="400"/>
                </a:cubicBezTo>
                <a:cubicBezTo>
                  <a:pt x="166" y="400"/>
                  <a:pt x="163" y="400"/>
                  <a:pt x="161" y="401"/>
                </a:cubicBezTo>
                <a:cubicBezTo>
                  <a:pt x="152" y="401"/>
                  <a:pt x="148" y="403"/>
                  <a:pt x="147" y="408"/>
                </a:cubicBezTo>
                <a:cubicBezTo>
                  <a:pt x="147" y="411"/>
                  <a:pt x="147" y="413"/>
                  <a:pt x="149" y="416"/>
                </a:cubicBezTo>
                <a:cubicBezTo>
                  <a:pt x="151" y="418"/>
                  <a:pt x="152" y="420"/>
                  <a:pt x="152" y="421"/>
                </a:cubicBezTo>
                <a:cubicBezTo>
                  <a:pt x="152" y="422"/>
                  <a:pt x="150" y="424"/>
                  <a:pt x="148" y="426"/>
                </a:cubicBezTo>
                <a:cubicBezTo>
                  <a:pt x="145" y="429"/>
                  <a:pt x="143" y="430"/>
                  <a:pt x="142" y="430"/>
                </a:cubicBezTo>
                <a:cubicBezTo>
                  <a:pt x="138" y="429"/>
                  <a:pt x="136" y="428"/>
                  <a:pt x="135" y="428"/>
                </a:cubicBezTo>
                <a:cubicBezTo>
                  <a:pt x="131" y="427"/>
                  <a:pt x="126" y="430"/>
                  <a:pt x="119" y="436"/>
                </a:cubicBezTo>
                <a:cubicBezTo>
                  <a:pt x="112" y="442"/>
                  <a:pt x="107" y="447"/>
                  <a:pt x="106" y="451"/>
                </a:cubicBezTo>
                <a:cubicBezTo>
                  <a:pt x="98" y="448"/>
                  <a:pt x="95" y="447"/>
                  <a:pt x="94" y="447"/>
                </a:cubicBezTo>
                <a:cubicBezTo>
                  <a:pt x="93" y="445"/>
                  <a:pt x="92" y="443"/>
                  <a:pt x="90" y="442"/>
                </a:cubicBezTo>
                <a:cubicBezTo>
                  <a:pt x="89" y="440"/>
                  <a:pt x="87" y="438"/>
                  <a:pt x="85" y="438"/>
                </a:cubicBezTo>
                <a:cubicBezTo>
                  <a:pt x="81" y="438"/>
                  <a:pt x="79" y="439"/>
                  <a:pt x="77" y="443"/>
                </a:cubicBezTo>
                <a:cubicBezTo>
                  <a:pt x="76" y="446"/>
                  <a:pt x="73" y="447"/>
                  <a:pt x="69" y="447"/>
                </a:cubicBezTo>
                <a:cubicBezTo>
                  <a:pt x="65" y="446"/>
                  <a:pt x="63" y="445"/>
                  <a:pt x="62" y="445"/>
                </a:cubicBezTo>
                <a:cubicBezTo>
                  <a:pt x="51" y="447"/>
                  <a:pt x="45" y="449"/>
                  <a:pt x="44" y="449"/>
                </a:cubicBezTo>
                <a:cubicBezTo>
                  <a:pt x="40" y="449"/>
                  <a:pt x="37" y="450"/>
                  <a:pt x="35" y="451"/>
                </a:cubicBezTo>
                <a:cubicBezTo>
                  <a:pt x="32" y="452"/>
                  <a:pt x="30" y="454"/>
                  <a:pt x="29" y="457"/>
                </a:cubicBezTo>
                <a:cubicBezTo>
                  <a:pt x="28" y="457"/>
                  <a:pt x="26" y="455"/>
                  <a:pt x="24" y="453"/>
                </a:cubicBezTo>
                <a:cubicBezTo>
                  <a:pt x="22" y="451"/>
                  <a:pt x="20" y="450"/>
                  <a:pt x="18" y="450"/>
                </a:cubicBezTo>
                <a:cubicBezTo>
                  <a:pt x="16" y="449"/>
                  <a:pt x="14" y="450"/>
                  <a:pt x="13" y="450"/>
                </a:cubicBezTo>
                <a:cubicBezTo>
                  <a:pt x="14" y="451"/>
                  <a:pt x="14" y="453"/>
                  <a:pt x="15" y="454"/>
                </a:cubicBezTo>
                <a:cubicBezTo>
                  <a:pt x="16" y="457"/>
                  <a:pt x="17" y="461"/>
                  <a:pt x="19" y="464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19" y="465"/>
                  <a:pt x="19" y="468"/>
                  <a:pt x="20" y="475"/>
                </a:cubicBezTo>
                <a:cubicBezTo>
                  <a:pt x="21" y="480"/>
                  <a:pt x="21" y="483"/>
                  <a:pt x="23" y="485"/>
                </a:cubicBezTo>
                <a:cubicBezTo>
                  <a:pt x="24" y="486"/>
                  <a:pt x="25" y="489"/>
                  <a:pt x="26" y="494"/>
                </a:cubicBezTo>
                <a:cubicBezTo>
                  <a:pt x="27" y="498"/>
                  <a:pt x="28" y="501"/>
                  <a:pt x="29" y="503"/>
                </a:cubicBezTo>
                <a:cubicBezTo>
                  <a:pt x="30" y="505"/>
                  <a:pt x="31" y="509"/>
                  <a:pt x="30" y="514"/>
                </a:cubicBezTo>
                <a:cubicBezTo>
                  <a:pt x="30" y="520"/>
                  <a:pt x="30" y="523"/>
                  <a:pt x="31" y="524"/>
                </a:cubicBezTo>
                <a:cubicBezTo>
                  <a:pt x="38" y="537"/>
                  <a:pt x="44" y="547"/>
                  <a:pt x="49" y="556"/>
                </a:cubicBezTo>
                <a:cubicBezTo>
                  <a:pt x="50" y="558"/>
                  <a:pt x="53" y="562"/>
                  <a:pt x="59" y="570"/>
                </a:cubicBezTo>
                <a:cubicBezTo>
                  <a:pt x="65" y="578"/>
                  <a:pt x="68" y="583"/>
                  <a:pt x="68" y="587"/>
                </a:cubicBezTo>
                <a:cubicBezTo>
                  <a:pt x="68" y="588"/>
                  <a:pt x="66" y="591"/>
                  <a:pt x="64" y="595"/>
                </a:cubicBezTo>
                <a:cubicBezTo>
                  <a:pt x="64" y="596"/>
                  <a:pt x="65" y="600"/>
                  <a:pt x="68" y="607"/>
                </a:cubicBezTo>
                <a:cubicBezTo>
                  <a:pt x="72" y="614"/>
                  <a:pt x="74" y="620"/>
                  <a:pt x="74" y="625"/>
                </a:cubicBezTo>
                <a:cubicBezTo>
                  <a:pt x="74" y="628"/>
                  <a:pt x="75" y="635"/>
                  <a:pt x="77" y="643"/>
                </a:cubicBezTo>
                <a:cubicBezTo>
                  <a:pt x="79" y="651"/>
                  <a:pt x="79" y="656"/>
                  <a:pt x="79" y="659"/>
                </a:cubicBezTo>
                <a:cubicBezTo>
                  <a:pt x="79" y="664"/>
                  <a:pt x="77" y="668"/>
                  <a:pt x="73" y="670"/>
                </a:cubicBezTo>
                <a:cubicBezTo>
                  <a:pt x="67" y="675"/>
                  <a:pt x="63" y="679"/>
                  <a:pt x="61" y="682"/>
                </a:cubicBezTo>
                <a:cubicBezTo>
                  <a:pt x="59" y="685"/>
                  <a:pt x="55" y="687"/>
                  <a:pt x="48" y="689"/>
                </a:cubicBezTo>
                <a:cubicBezTo>
                  <a:pt x="40" y="692"/>
                  <a:pt x="35" y="694"/>
                  <a:pt x="33" y="695"/>
                </a:cubicBezTo>
                <a:cubicBezTo>
                  <a:pt x="24" y="700"/>
                  <a:pt x="18" y="708"/>
                  <a:pt x="12" y="719"/>
                </a:cubicBezTo>
                <a:cubicBezTo>
                  <a:pt x="9" y="724"/>
                  <a:pt x="5" y="734"/>
                  <a:pt x="0" y="748"/>
                </a:cubicBezTo>
                <a:cubicBezTo>
                  <a:pt x="2" y="749"/>
                  <a:pt x="5" y="751"/>
                  <a:pt x="8" y="755"/>
                </a:cubicBezTo>
                <a:cubicBezTo>
                  <a:pt x="11" y="757"/>
                  <a:pt x="13" y="759"/>
                  <a:pt x="17" y="760"/>
                </a:cubicBezTo>
                <a:cubicBezTo>
                  <a:pt x="27" y="762"/>
                  <a:pt x="34" y="765"/>
                  <a:pt x="37" y="769"/>
                </a:cubicBezTo>
                <a:cubicBezTo>
                  <a:pt x="38" y="769"/>
                  <a:pt x="42" y="773"/>
                  <a:pt x="50" y="780"/>
                </a:cubicBezTo>
                <a:cubicBezTo>
                  <a:pt x="58" y="788"/>
                  <a:pt x="62" y="794"/>
                  <a:pt x="62" y="797"/>
                </a:cubicBezTo>
                <a:cubicBezTo>
                  <a:pt x="62" y="798"/>
                  <a:pt x="60" y="800"/>
                  <a:pt x="59" y="802"/>
                </a:cubicBezTo>
                <a:cubicBezTo>
                  <a:pt x="57" y="804"/>
                  <a:pt x="56" y="806"/>
                  <a:pt x="56" y="808"/>
                </a:cubicBezTo>
                <a:cubicBezTo>
                  <a:pt x="56" y="809"/>
                  <a:pt x="56" y="812"/>
                  <a:pt x="56" y="816"/>
                </a:cubicBezTo>
                <a:lnTo>
                  <a:pt x="56" y="819"/>
                </a:lnTo>
                <a:lnTo>
                  <a:pt x="59" y="827"/>
                </a:lnTo>
                <a:cubicBezTo>
                  <a:pt x="54" y="830"/>
                  <a:pt x="51" y="835"/>
                  <a:pt x="51" y="842"/>
                </a:cubicBezTo>
                <a:cubicBezTo>
                  <a:pt x="50" y="842"/>
                  <a:pt x="51" y="845"/>
                  <a:pt x="53" y="850"/>
                </a:cubicBezTo>
                <a:cubicBezTo>
                  <a:pt x="53" y="853"/>
                  <a:pt x="51" y="856"/>
                  <a:pt x="49" y="862"/>
                </a:cubicBezTo>
                <a:cubicBezTo>
                  <a:pt x="49" y="866"/>
                  <a:pt x="50" y="870"/>
                  <a:pt x="54" y="873"/>
                </a:cubicBezTo>
                <a:cubicBezTo>
                  <a:pt x="58" y="877"/>
                  <a:pt x="61" y="880"/>
                  <a:pt x="62" y="884"/>
                </a:cubicBezTo>
                <a:cubicBezTo>
                  <a:pt x="62" y="884"/>
                  <a:pt x="62" y="885"/>
                  <a:pt x="62" y="885"/>
                </a:cubicBezTo>
                <a:cubicBezTo>
                  <a:pt x="64" y="878"/>
                  <a:pt x="65" y="869"/>
                  <a:pt x="66" y="859"/>
                </a:cubicBezTo>
                <a:cubicBezTo>
                  <a:pt x="68" y="858"/>
                  <a:pt x="71" y="856"/>
                  <a:pt x="74" y="854"/>
                </a:cubicBezTo>
                <a:cubicBezTo>
                  <a:pt x="76" y="852"/>
                  <a:pt x="79" y="852"/>
                  <a:pt x="83" y="852"/>
                </a:cubicBezTo>
                <a:cubicBezTo>
                  <a:pt x="85" y="852"/>
                  <a:pt x="88" y="854"/>
                  <a:pt x="92" y="857"/>
                </a:cubicBezTo>
                <a:cubicBezTo>
                  <a:pt x="95" y="860"/>
                  <a:pt x="98" y="862"/>
                  <a:pt x="100" y="862"/>
                </a:cubicBezTo>
                <a:cubicBezTo>
                  <a:pt x="102" y="862"/>
                  <a:pt x="105" y="860"/>
                  <a:pt x="110" y="855"/>
                </a:cubicBezTo>
                <a:cubicBezTo>
                  <a:pt x="117" y="849"/>
                  <a:pt x="120" y="845"/>
                  <a:pt x="122" y="844"/>
                </a:cubicBezTo>
                <a:cubicBezTo>
                  <a:pt x="126" y="841"/>
                  <a:pt x="129" y="837"/>
                  <a:pt x="130" y="832"/>
                </a:cubicBezTo>
                <a:cubicBezTo>
                  <a:pt x="132" y="825"/>
                  <a:pt x="134" y="820"/>
                  <a:pt x="135" y="819"/>
                </a:cubicBezTo>
                <a:cubicBezTo>
                  <a:pt x="141" y="808"/>
                  <a:pt x="150" y="802"/>
                  <a:pt x="162" y="801"/>
                </a:cubicBezTo>
                <a:cubicBezTo>
                  <a:pt x="170" y="801"/>
                  <a:pt x="180" y="801"/>
                  <a:pt x="194" y="803"/>
                </a:cubicBezTo>
                <a:cubicBezTo>
                  <a:pt x="200" y="803"/>
                  <a:pt x="205" y="801"/>
                  <a:pt x="209" y="797"/>
                </a:cubicBezTo>
                <a:cubicBezTo>
                  <a:pt x="214" y="792"/>
                  <a:pt x="218" y="789"/>
                  <a:pt x="220" y="788"/>
                </a:cubicBezTo>
                <a:cubicBezTo>
                  <a:pt x="224" y="786"/>
                  <a:pt x="230" y="786"/>
                  <a:pt x="237" y="786"/>
                </a:cubicBezTo>
                <a:cubicBezTo>
                  <a:pt x="242" y="787"/>
                  <a:pt x="248" y="788"/>
                  <a:pt x="256" y="789"/>
                </a:cubicBezTo>
                <a:cubicBezTo>
                  <a:pt x="259" y="789"/>
                  <a:pt x="269" y="787"/>
                  <a:pt x="287" y="784"/>
                </a:cubicBezTo>
                <a:cubicBezTo>
                  <a:pt x="305" y="780"/>
                  <a:pt x="317" y="779"/>
                  <a:pt x="324" y="779"/>
                </a:cubicBezTo>
                <a:cubicBezTo>
                  <a:pt x="325" y="780"/>
                  <a:pt x="328" y="781"/>
                  <a:pt x="333" y="784"/>
                </a:cubicBezTo>
                <a:cubicBezTo>
                  <a:pt x="337" y="787"/>
                  <a:pt x="340" y="788"/>
                  <a:pt x="341" y="788"/>
                </a:cubicBezTo>
                <a:cubicBezTo>
                  <a:pt x="345" y="789"/>
                  <a:pt x="350" y="788"/>
                  <a:pt x="358" y="785"/>
                </a:cubicBezTo>
                <a:cubicBezTo>
                  <a:pt x="359" y="786"/>
                  <a:pt x="361" y="787"/>
                  <a:pt x="364" y="789"/>
                </a:cubicBezTo>
                <a:cubicBezTo>
                  <a:pt x="367" y="791"/>
                  <a:pt x="369" y="792"/>
                  <a:pt x="370" y="793"/>
                </a:cubicBezTo>
                <a:cubicBezTo>
                  <a:pt x="372" y="793"/>
                  <a:pt x="373" y="792"/>
                  <a:pt x="376" y="790"/>
                </a:cubicBezTo>
                <a:cubicBezTo>
                  <a:pt x="378" y="789"/>
                  <a:pt x="381" y="788"/>
                  <a:pt x="385" y="788"/>
                </a:cubicBezTo>
                <a:cubicBezTo>
                  <a:pt x="389" y="789"/>
                  <a:pt x="394" y="790"/>
                  <a:pt x="400" y="792"/>
                </a:cubicBezTo>
                <a:cubicBezTo>
                  <a:pt x="406" y="794"/>
                  <a:pt x="411" y="794"/>
                  <a:pt x="413" y="795"/>
                </a:cubicBezTo>
                <a:cubicBezTo>
                  <a:pt x="415" y="795"/>
                  <a:pt x="419" y="794"/>
                  <a:pt x="426" y="793"/>
                </a:cubicBezTo>
                <a:cubicBezTo>
                  <a:pt x="432" y="791"/>
                  <a:pt x="437" y="790"/>
                  <a:pt x="440" y="790"/>
                </a:cubicBezTo>
                <a:cubicBezTo>
                  <a:pt x="444" y="791"/>
                  <a:pt x="450" y="795"/>
                  <a:pt x="456" y="804"/>
                </a:cubicBezTo>
                <a:cubicBezTo>
                  <a:pt x="462" y="812"/>
                  <a:pt x="467" y="817"/>
                  <a:pt x="473" y="817"/>
                </a:cubicBezTo>
                <a:cubicBezTo>
                  <a:pt x="473" y="817"/>
                  <a:pt x="477" y="816"/>
                  <a:pt x="485" y="814"/>
                </a:cubicBezTo>
                <a:cubicBezTo>
                  <a:pt x="493" y="812"/>
                  <a:pt x="498" y="811"/>
                  <a:pt x="501" y="811"/>
                </a:cubicBezTo>
                <a:cubicBezTo>
                  <a:pt x="506" y="811"/>
                  <a:pt x="508" y="814"/>
                  <a:pt x="509" y="819"/>
                </a:cubicBezTo>
                <a:cubicBezTo>
                  <a:pt x="509" y="822"/>
                  <a:pt x="510" y="827"/>
                  <a:pt x="511" y="834"/>
                </a:cubicBezTo>
                <a:cubicBezTo>
                  <a:pt x="514" y="834"/>
                  <a:pt x="517" y="830"/>
                  <a:pt x="522" y="821"/>
                </a:cubicBezTo>
                <a:cubicBezTo>
                  <a:pt x="526" y="814"/>
                  <a:pt x="529" y="810"/>
                  <a:pt x="532" y="811"/>
                </a:cubicBezTo>
                <a:cubicBezTo>
                  <a:pt x="542" y="812"/>
                  <a:pt x="548" y="812"/>
                  <a:pt x="550" y="811"/>
                </a:cubicBezTo>
                <a:cubicBezTo>
                  <a:pt x="553" y="810"/>
                  <a:pt x="557" y="806"/>
                  <a:pt x="560" y="798"/>
                </a:cubicBezTo>
                <a:lnTo>
                  <a:pt x="565" y="799"/>
                </a:lnTo>
                <a:cubicBezTo>
                  <a:pt x="567" y="800"/>
                  <a:pt x="570" y="802"/>
                  <a:pt x="574" y="804"/>
                </a:cubicBezTo>
                <a:cubicBezTo>
                  <a:pt x="577" y="806"/>
                  <a:pt x="580" y="809"/>
                  <a:pt x="581" y="811"/>
                </a:cubicBezTo>
                <a:lnTo>
                  <a:pt x="588" y="812"/>
                </a:lnTo>
                <a:cubicBezTo>
                  <a:pt x="589" y="810"/>
                  <a:pt x="590" y="808"/>
                  <a:pt x="594" y="806"/>
                </a:cubicBezTo>
                <a:cubicBezTo>
                  <a:pt x="598" y="804"/>
                  <a:pt x="600" y="802"/>
                  <a:pt x="602" y="803"/>
                </a:cubicBezTo>
                <a:cubicBezTo>
                  <a:pt x="607" y="803"/>
                  <a:pt x="611" y="806"/>
                  <a:pt x="613" y="812"/>
                </a:cubicBezTo>
                <a:cubicBezTo>
                  <a:pt x="616" y="818"/>
                  <a:pt x="619" y="821"/>
                  <a:pt x="622" y="821"/>
                </a:cubicBezTo>
                <a:cubicBezTo>
                  <a:pt x="622" y="821"/>
                  <a:pt x="625" y="818"/>
                  <a:pt x="629" y="812"/>
                </a:cubicBezTo>
                <a:cubicBezTo>
                  <a:pt x="634" y="805"/>
                  <a:pt x="638" y="801"/>
                  <a:pt x="641" y="800"/>
                </a:cubicBezTo>
                <a:cubicBezTo>
                  <a:pt x="643" y="799"/>
                  <a:pt x="645" y="798"/>
                  <a:pt x="648" y="797"/>
                </a:cubicBezTo>
                <a:cubicBezTo>
                  <a:pt x="651" y="795"/>
                  <a:pt x="653" y="794"/>
                  <a:pt x="654" y="793"/>
                </a:cubicBezTo>
                <a:cubicBezTo>
                  <a:pt x="655" y="789"/>
                  <a:pt x="657" y="787"/>
                  <a:pt x="657" y="786"/>
                </a:cubicBezTo>
                <a:cubicBezTo>
                  <a:pt x="659" y="784"/>
                  <a:pt x="661" y="783"/>
                  <a:pt x="664" y="783"/>
                </a:cubicBezTo>
                <a:cubicBezTo>
                  <a:pt x="669" y="784"/>
                  <a:pt x="674" y="786"/>
                  <a:pt x="676" y="790"/>
                </a:cubicBezTo>
                <a:cubicBezTo>
                  <a:pt x="678" y="792"/>
                  <a:pt x="680" y="796"/>
                  <a:pt x="682" y="802"/>
                </a:cubicBezTo>
                <a:cubicBezTo>
                  <a:pt x="683" y="808"/>
                  <a:pt x="684" y="812"/>
                  <a:pt x="686" y="814"/>
                </a:cubicBezTo>
                <a:cubicBezTo>
                  <a:pt x="688" y="818"/>
                  <a:pt x="691" y="820"/>
                  <a:pt x="696" y="821"/>
                </a:cubicBezTo>
                <a:cubicBezTo>
                  <a:pt x="706" y="816"/>
                  <a:pt x="711" y="813"/>
                  <a:pt x="711" y="812"/>
                </a:cubicBezTo>
                <a:lnTo>
                  <a:pt x="711" y="806"/>
                </a:lnTo>
                <a:cubicBezTo>
                  <a:pt x="717" y="806"/>
                  <a:pt x="720" y="805"/>
                  <a:pt x="722" y="802"/>
                </a:cubicBezTo>
                <a:cubicBezTo>
                  <a:pt x="724" y="799"/>
                  <a:pt x="726" y="798"/>
                  <a:pt x="727" y="798"/>
                </a:cubicBezTo>
                <a:cubicBezTo>
                  <a:pt x="729" y="798"/>
                  <a:pt x="735" y="800"/>
                  <a:pt x="744" y="804"/>
                </a:cubicBezTo>
                <a:cubicBezTo>
                  <a:pt x="748" y="805"/>
                  <a:pt x="750" y="804"/>
                  <a:pt x="753" y="802"/>
                </a:cubicBezTo>
                <a:cubicBezTo>
                  <a:pt x="753" y="802"/>
                  <a:pt x="756" y="800"/>
                  <a:pt x="760" y="797"/>
                </a:cubicBezTo>
                <a:cubicBezTo>
                  <a:pt x="767" y="791"/>
                  <a:pt x="775" y="789"/>
                  <a:pt x="784" y="790"/>
                </a:cubicBezTo>
                <a:cubicBezTo>
                  <a:pt x="792" y="790"/>
                  <a:pt x="796" y="792"/>
                  <a:pt x="797" y="794"/>
                </a:cubicBezTo>
                <a:cubicBezTo>
                  <a:pt x="798" y="795"/>
                  <a:pt x="798" y="796"/>
                  <a:pt x="799" y="799"/>
                </a:cubicBezTo>
                <a:cubicBezTo>
                  <a:pt x="801" y="802"/>
                  <a:pt x="803" y="805"/>
                  <a:pt x="805" y="808"/>
                </a:cubicBezTo>
                <a:cubicBezTo>
                  <a:pt x="809" y="813"/>
                  <a:pt x="814" y="815"/>
                  <a:pt x="820" y="817"/>
                </a:cubicBezTo>
                <a:cubicBezTo>
                  <a:pt x="825" y="818"/>
                  <a:pt x="829" y="819"/>
                  <a:pt x="831" y="820"/>
                </a:cubicBezTo>
                <a:cubicBezTo>
                  <a:pt x="833" y="818"/>
                  <a:pt x="835" y="814"/>
                  <a:pt x="836" y="810"/>
                </a:cubicBezTo>
                <a:cubicBezTo>
                  <a:pt x="837" y="809"/>
                  <a:pt x="838" y="807"/>
                  <a:pt x="839" y="805"/>
                </a:cubicBezTo>
                <a:cubicBezTo>
                  <a:pt x="839" y="799"/>
                  <a:pt x="836" y="791"/>
                  <a:pt x="828" y="781"/>
                </a:cubicBezTo>
                <a:cubicBezTo>
                  <a:pt x="821" y="771"/>
                  <a:pt x="817" y="764"/>
                  <a:pt x="818" y="760"/>
                </a:cubicBezTo>
                <a:cubicBezTo>
                  <a:pt x="819" y="754"/>
                  <a:pt x="819" y="750"/>
                  <a:pt x="820" y="747"/>
                </a:cubicBezTo>
                <a:cubicBezTo>
                  <a:pt x="820" y="746"/>
                  <a:pt x="821" y="744"/>
                  <a:pt x="823" y="742"/>
                </a:cubicBezTo>
                <a:cubicBezTo>
                  <a:pt x="825" y="741"/>
                  <a:pt x="826" y="739"/>
                  <a:pt x="826" y="739"/>
                </a:cubicBezTo>
                <a:cubicBezTo>
                  <a:pt x="825" y="736"/>
                  <a:pt x="824" y="733"/>
                  <a:pt x="824" y="731"/>
                </a:cubicBezTo>
                <a:cubicBezTo>
                  <a:pt x="825" y="729"/>
                  <a:pt x="827" y="723"/>
                  <a:pt x="830" y="713"/>
                </a:cubicBezTo>
                <a:cubicBezTo>
                  <a:pt x="834" y="702"/>
                  <a:pt x="838" y="694"/>
                  <a:pt x="840" y="690"/>
                </a:cubicBezTo>
                <a:cubicBezTo>
                  <a:pt x="843" y="687"/>
                  <a:pt x="846" y="680"/>
                  <a:pt x="848" y="672"/>
                </a:cubicBezTo>
                <a:cubicBezTo>
                  <a:pt x="852" y="665"/>
                  <a:pt x="857" y="662"/>
                  <a:pt x="866" y="663"/>
                </a:cubicBezTo>
                <a:cubicBezTo>
                  <a:pt x="869" y="663"/>
                  <a:pt x="873" y="664"/>
                  <a:pt x="879" y="665"/>
                </a:cubicBezTo>
                <a:cubicBezTo>
                  <a:pt x="884" y="665"/>
                  <a:pt x="887" y="664"/>
                  <a:pt x="887" y="661"/>
                </a:cubicBezTo>
                <a:cubicBezTo>
                  <a:pt x="888" y="655"/>
                  <a:pt x="893" y="651"/>
                  <a:pt x="900" y="650"/>
                </a:cubicBezTo>
                <a:cubicBezTo>
                  <a:pt x="902" y="649"/>
                  <a:pt x="909" y="649"/>
                  <a:pt x="922" y="648"/>
                </a:cubicBezTo>
                <a:cubicBezTo>
                  <a:pt x="923" y="648"/>
                  <a:pt x="927" y="647"/>
                  <a:pt x="932" y="645"/>
                </a:cubicBezTo>
                <a:cubicBezTo>
                  <a:pt x="935" y="644"/>
                  <a:pt x="938" y="644"/>
                  <a:pt x="940" y="643"/>
                </a:cubicBezTo>
                <a:cubicBezTo>
                  <a:pt x="933" y="639"/>
                  <a:pt x="929" y="636"/>
                  <a:pt x="926" y="635"/>
                </a:cubicBezTo>
                <a:cubicBezTo>
                  <a:pt x="925" y="634"/>
                  <a:pt x="925" y="633"/>
                  <a:pt x="924" y="632"/>
                </a:cubicBezTo>
                <a:cubicBezTo>
                  <a:pt x="924" y="631"/>
                  <a:pt x="923" y="630"/>
                  <a:pt x="923" y="628"/>
                </a:cubicBezTo>
                <a:cubicBezTo>
                  <a:pt x="919" y="621"/>
                  <a:pt x="914" y="617"/>
                  <a:pt x="909" y="616"/>
                </a:cubicBezTo>
                <a:cubicBezTo>
                  <a:pt x="908" y="613"/>
                  <a:pt x="908" y="608"/>
                  <a:pt x="909" y="602"/>
                </a:cubicBezTo>
                <a:cubicBezTo>
                  <a:pt x="908" y="599"/>
                  <a:pt x="907" y="597"/>
                  <a:pt x="907" y="596"/>
                </a:cubicBezTo>
                <a:cubicBezTo>
                  <a:pt x="907" y="591"/>
                  <a:pt x="906" y="588"/>
                  <a:pt x="906" y="587"/>
                </a:cubicBezTo>
                <a:cubicBezTo>
                  <a:pt x="904" y="583"/>
                  <a:pt x="903" y="581"/>
                  <a:pt x="904" y="579"/>
                </a:cubicBezTo>
                <a:cubicBezTo>
                  <a:pt x="903" y="573"/>
                  <a:pt x="903" y="569"/>
                  <a:pt x="903" y="568"/>
                </a:cubicBezTo>
                <a:cubicBezTo>
                  <a:pt x="903" y="568"/>
                  <a:pt x="903" y="568"/>
                  <a:pt x="903" y="568"/>
                </a:cubicBezTo>
                <a:cubicBezTo>
                  <a:pt x="893" y="558"/>
                  <a:pt x="888" y="553"/>
                  <a:pt x="888" y="553"/>
                </a:cubicBezTo>
                <a:cubicBezTo>
                  <a:pt x="892" y="548"/>
                  <a:pt x="894" y="546"/>
                  <a:pt x="894" y="545"/>
                </a:cubicBezTo>
                <a:cubicBezTo>
                  <a:pt x="894" y="539"/>
                  <a:pt x="893" y="534"/>
                  <a:pt x="888" y="529"/>
                </a:cubicBezTo>
                <a:cubicBezTo>
                  <a:pt x="886" y="526"/>
                  <a:pt x="881" y="523"/>
                  <a:pt x="874" y="518"/>
                </a:cubicBezTo>
                <a:cubicBezTo>
                  <a:pt x="867" y="514"/>
                  <a:pt x="863" y="510"/>
                  <a:pt x="860" y="507"/>
                </a:cubicBezTo>
                <a:cubicBezTo>
                  <a:pt x="856" y="503"/>
                  <a:pt x="854" y="497"/>
                  <a:pt x="855" y="492"/>
                </a:cubicBezTo>
                <a:cubicBezTo>
                  <a:pt x="856" y="477"/>
                  <a:pt x="858" y="467"/>
                  <a:pt x="861" y="463"/>
                </a:cubicBezTo>
                <a:cubicBezTo>
                  <a:pt x="866" y="456"/>
                  <a:pt x="874" y="453"/>
                  <a:pt x="888" y="455"/>
                </a:cubicBezTo>
                <a:cubicBezTo>
                  <a:pt x="892" y="455"/>
                  <a:pt x="896" y="457"/>
                  <a:pt x="900" y="461"/>
                </a:cubicBezTo>
                <a:cubicBezTo>
                  <a:pt x="904" y="465"/>
                  <a:pt x="908" y="468"/>
                  <a:pt x="912" y="468"/>
                </a:cubicBezTo>
                <a:cubicBezTo>
                  <a:pt x="912" y="468"/>
                  <a:pt x="916" y="467"/>
                  <a:pt x="924" y="467"/>
                </a:cubicBezTo>
                <a:cubicBezTo>
                  <a:pt x="931" y="466"/>
                  <a:pt x="938" y="466"/>
                  <a:pt x="943" y="466"/>
                </a:cubicBezTo>
                <a:cubicBezTo>
                  <a:pt x="946" y="461"/>
                  <a:pt x="952" y="455"/>
                  <a:pt x="961" y="447"/>
                </a:cubicBezTo>
                <a:lnTo>
                  <a:pt x="962" y="448"/>
                </a:lnTo>
                <a:lnTo>
                  <a:pt x="962" y="447"/>
                </a:lnTo>
                <a:cubicBezTo>
                  <a:pt x="964" y="441"/>
                  <a:pt x="967" y="436"/>
                  <a:pt x="967" y="434"/>
                </a:cubicBezTo>
                <a:cubicBezTo>
                  <a:pt x="970" y="429"/>
                  <a:pt x="971" y="424"/>
                  <a:pt x="972" y="418"/>
                </a:cubicBezTo>
                <a:cubicBezTo>
                  <a:pt x="972" y="417"/>
                  <a:pt x="973" y="416"/>
                  <a:pt x="974" y="416"/>
                </a:cubicBezTo>
                <a:cubicBezTo>
                  <a:pt x="975" y="415"/>
                  <a:pt x="976" y="415"/>
                  <a:pt x="977" y="415"/>
                </a:cubicBezTo>
                <a:cubicBezTo>
                  <a:pt x="978" y="415"/>
                  <a:pt x="979" y="414"/>
                  <a:pt x="979" y="413"/>
                </a:cubicBezTo>
                <a:cubicBezTo>
                  <a:pt x="979" y="411"/>
                  <a:pt x="980" y="410"/>
                  <a:pt x="980" y="409"/>
                </a:cubicBezTo>
                <a:cubicBezTo>
                  <a:pt x="981" y="408"/>
                  <a:pt x="983" y="408"/>
                  <a:pt x="988" y="408"/>
                </a:cubicBezTo>
                <a:cubicBezTo>
                  <a:pt x="991" y="407"/>
                  <a:pt x="993" y="406"/>
                  <a:pt x="994" y="404"/>
                </a:cubicBezTo>
                <a:cubicBezTo>
                  <a:pt x="994" y="403"/>
                  <a:pt x="993" y="401"/>
                  <a:pt x="991" y="399"/>
                </a:cubicBezTo>
                <a:cubicBezTo>
                  <a:pt x="989" y="396"/>
                  <a:pt x="987" y="394"/>
                  <a:pt x="987" y="392"/>
                </a:cubicBezTo>
                <a:cubicBezTo>
                  <a:pt x="987" y="391"/>
                  <a:pt x="985" y="389"/>
                  <a:pt x="982" y="388"/>
                </a:cubicBezTo>
                <a:cubicBezTo>
                  <a:pt x="978" y="386"/>
                  <a:pt x="975" y="385"/>
                  <a:pt x="973" y="384"/>
                </a:cubicBezTo>
                <a:cubicBezTo>
                  <a:pt x="967" y="382"/>
                  <a:pt x="962" y="380"/>
                  <a:pt x="958" y="379"/>
                </a:cubicBezTo>
                <a:cubicBezTo>
                  <a:pt x="950" y="375"/>
                  <a:pt x="946" y="372"/>
                  <a:pt x="947" y="368"/>
                </a:cubicBezTo>
                <a:cubicBezTo>
                  <a:pt x="947" y="366"/>
                  <a:pt x="948" y="364"/>
                  <a:pt x="950" y="363"/>
                </a:cubicBezTo>
                <a:cubicBezTo>
                  <a:pt x="952" y="362"/>
                  <a:pt x="953" y="361"/>
                  <a:pt x="953" y="359"/>
                </a:cubicBezTo>
                <a:cubicBezTo>
                  <a:pt x="953" y="359"/>
                  <a:pt x="953" y="359"/>
                  <a:pt x="953" y="358"/>
                </a:cubicBezTo>
                <a:cubicBezTo>
                  <a:pt x="948" y="352"/>
                  <a:pt x="946" y="348"/>
                  <a:pt x="944" y="348"/>
                </a:cubicBezTo>
                <a:cubicBezTo>
                  <a:pt x="940" y="347"/>
                  <a:pt x="934" y="346"/>
                  <a:pt x="926" y="344"/>
                </a:cubicBezTo>
                <a:cubicBezTo>
                  <a:pt x="917" y="342"/>
                  <a:pt x="912" y="341"/>
                  <a:pt x="909" y="343"/>
                </a:cubicBezTo>
                <a:cubicBezTo>
                  <a:pt x="907" y="343"/>
                  <a:pt x="903" y="345"/>
                  <a:pt x="897" y="348"/>
                </a:cubicBezTo>
                <a:cubicBezTo>
                  <a:pt x="891" y="351"/>
                  <a:pt x="886" y="351"/>
                  <a:pt x="881" y="351"/>
                </a:cubicBezTo>
                <a:lnTo>
                  <a:pt x="875" y="350"/>
                </a:lnTo>
                <a:cubicBezTo>
                  <a:pt x="878" y="328"/>
                  <a:pt x="878" y="314"/>
                  <a:pt x="877" y="310"/>
                </a:cubicBezTo>
                <a:cubicBezTo>
                  <a:pt x="875" y="305"/>
                  <a:pt x="866" y="301"/>
                  <a:pt x="851" y="298"/>
                </a:cubicBezTo>
                <a:cubicBezTo>
                  <a:pt x="835" y="294"/>
                  <a:pt x="825" y="290"/>
                  <a:pt x="821" y="285"/>
                </a:cubicBezTo>
                <a:cubicBezTo>
                  <a:pt x="816" y="280"/>
                  <a:pt x="813" y="273"/>
                  <a:pt x="809" y="265"/>
                </a:cubicBezTo>
                <a:cubicBezTo>
                  <a:pt x="806" y="257"/>
                  <a:pt x="803" y="251"/>
                  <a:pt x="801" y="248"/>
                </a:cubicBezTo>
                <a:cubicBezTo>
                  <a:pt x="796" y="243"/>
                  <a:pt x="790" y="241"/>
                  <a:pt x="782" y="240"/>
                </a:cubicBezTo>
                <a:cubicBezTo>
                  <a:pt x="782" y="237"/>
                  <a:pt x="783" y="235"/>
                  <a:pt x="785" y="233"/>
                </a:cubicBezTo>
                <a:lnTo>
                  <a:pt x="787" y="217"/>
                </a:lnTo>
                <a:cubicBezTo>
                  <a:pt x="785" y="216"/>
                  <a:pt x="780" y="214"/>
                  <a:pt x="774" y="209"/>
                </a:cubicBezTo>
                <a:cubicBezTo>
                  <a:pt x="770" y="206"/>
                  <a:pt x="765" y="203"/>
                  <a:pt x="761" y="203"/>
                </a:cubicBezTo>
                <a:cubicBezTo>
                  <a:pt x="755" y="202"/>
                  <a:pt x="751" y="201"/>
                  <a:pt x="749" y="199"/>
                </a:cubicBezTo>
                <a:cubicBezTo>
                  <a:pt x="744" y="197"/>
                  <a:pt x="742" y="192"/>
                  <a:pt x="743" y="186"/>
                </a:cubicBezTo>
                <a:cubicBezTo>
                  <a:pt x="743" y="177"/>
                  <a:pt x="743" y="172"/>
                  <a:pt x="743" y="170"/>
                </a:cubicBezTo>
                <a:cubicBezTo>
                  <a:pt x="750" y="158"/>
                  <a:pt x="754" y="152"/>
                  <a:pt x="754" y="149"/>
                </a:cubicBezTo>
                <a:cubicBezTo>
                  <a:pt x="755" y="141"/>
                  <a:pt x="750" y="132"/>
                  <a:pt x="740" y="122"/>
                </a:cubicBezTo>
                <a:cubicBezTo>
                  <a:pt x="733" y="116"/>
                  <a:pt x="729" y="112"/>
                  <a:pt x="729" y="112"/>
                </a:cubicBezTo>
                <a:cubicBezTo>
                  <a:pt x="726" y="109"/>
                  <a:pt x="724" y="106"/>
                  <a:pt x="725" y="103"/>
                </a:cubicBezTo>
                <a:cubicBezTo>
                  <a:pt x="725" y="101"/>
                  <a:pt x="727" y="99"/>
                  <a:pt x="730" y="96"/>
                </a:cubicBezTo>
                <a:cubicBezTo>
                  <a:pt x="733" y="93"/>
                  <a:pt x="735" y="91"/>
                  <a:pt x="735" y="88"/>
                </a:cubicBezTo>
                <a:cubicBezTo>
                  <a:pt x="730" y="81"/>
                  <a:pt x="728" y="76"/>
                  <a:pt x="728" y="72"/>
                </a:cubicBezTo>
                <a:cubicBezTo>
                  <a:pt x="728" y="71"/>
                  <a:pt x="729" y="70"/>
                  <a:pt x="729" y="69"/>
                </a:cubicBezTo>
                <a:cubicBezTo>
                  <a:pt x="730" y="68"/>
                  <a:pt x="730" y="67"/>
                  <a:pt x="730" y="66"/>
                </a:cubicBezTo>
                <a:cubicBezTo>
                  <a:pt x="731" y="63"/>
                  <a:pt x="731" y="60"/>
                  <a:pt x="730" y="57"/>
                </a:cubicBezTo>
                <a:cubicBezTo>
                  <a:pt x="729" y="53"/>
                  <a:pt x="727" y="51"/>
                  <a:pt x="723" y="51"/>
                </a:cubicBezTo>
                <a:cubicBezTo>
                  <a:pt x="721" y="50"/>
                  <a:pt x="719" y="51"/>
                  <a:pt x="719" y="53"/>
                </a:cubicBezTo>
                <a:cubicBezTo>
                  <a:pt x="718" y="55"/>
                  <a:pt x="716" y="56"/>
                  <a:pt x="713" y="55"/>
                </a:cubicBezTo>
                <a:cubicBezTo>
                  <a:pt x="709" y="55"/>
                  <a:pt x="707" y="53"/>
                  <a:pt x="706" y="50"/>
                </a:cubicBezTo>
                <a:cubicBezTo>
                  <a:pt x="705" y="46"/>
                  <a:pt x="703" y="44"/>
                  <a:pt x="701" y="44"/>
                </a:cubicBezTo>
                <a:cubicBezTo>
                  <a:pt x="697" y="45"/>
                  <a:pt x="695" y="45"/>
                  <a:pt x="694" y="45"/>
                </a:cubicBezTo>
                <a:cubicBezTo>
                  <a:pt x="693" y="45"/>
                  <a:pt x="692" y="43"/>
                  <a:pt x="691" y="41"/>
                </a:cubicBezTo>
                <a:cubicBezTo>
                  <a:pt x="691" y="38"/>
                  <a:pt x="688" y="35"/>
                  <a:pt x="683" y="33"/>
                </a:cubicBezTo>
                <a:cubicBezTo>
                  <a:pt x="682" y="33"/>
                  <a:pt x="680" y="31"/>
                  <a:pt x="677" y="28"/>
                </a:cubicBezTo>
                <a:cubicBezTo>
                  <a:pt x="674" y="25"/>
                  <a:pt x="672" y="23"/>
                  <a:pt x="669" y="23"/>
                </a:cubicBezTo>
                <a:cubicBezTo>
                  <a:pt x="664" y="24"/>
                  <a:pt x="661" y="24"/>
                  <a:pt x="660" y="24"/>
                </a:cubicBezTo>
                <a:lnTo>
                  <a:pt x="660" y="2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Freeform 9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Freeform 10"/>
          <p:cNvSpPr/>
          <p:nvPr/>
        </p:nvSpPr>
        <p:spPr bwMode="auto">
          <a:xfrm>
            <a:off x="9732020" y="3062361"/>
            <a:ext cx="345880" cy="174687"/>
          </a:xfrm>
          <a:custGeom>
            <a:avLst/>
            <a:gdLst>
              <a:gd name="T0" fmla="*/ 101 w 331"/>
              <a:gd name="T1" fmla="*/ 65 h 168"/>
              <a:gd name="T2" fmla="*/ 103 w 331"/>
              <a:gd name="T3" fmla="*/ 47 h 168"/>
              <a:gd name="T4" fmla="*/ 118 w 331"/>
              <a:gd name="T5" fmla="*/ 25 h 168"/>
              <a:gd name="T6" fmla="*/ 131 w 331"/>
              <a:gd name="T7" fmla="*/ 3 h 168"/>
              <a:gd name="T8" fmla="*/ 131 w 331"/>
              <a:gd name="T9" fmla="*/ 1 h 168"/>
              <a:gd name="T10" fmla="*/ 113 w 331"/>
              <a:gd name="T11" fmla="*/ 22 h 168"/>
              <a:gd name="T12" fmla="*/ 39 w 331"/>
              <a:gd name="T13" fmla="*/ 63 h 168"/>
              <a:gd name="T14" fmla="*/ 26 w 331"/>
              <a:gd name="T15" fmla="*/ 73 h 168"/>
              <a:gd name="T16" fmla="*/ 32 w 331"/>
              <a:gd name="T17" fmla="*/ 91 h 168"/>
              <a:gd name="T18" fmla="*/ 3 w 331"/>
              <a:gd name="T19" fmla="*/ 148 h 168"/>
              <a:gd name="T20" fmla="*/ 5 w 331"/>
              <a:gd name="T21" fmla="*/ 152 h 168"/>
              <a:gd name="T22" fmla="*/ 35 w 331"/>
              <a:gd name="T23" fmla="*/ 105 h 168"/>
              <a:gd name="T24" fmla="*/ 44 w 331"/>
              <a:gd name="T25" fmla="*/ 112 h 168"/>
              <a:gd name="T26" fmla="*/ 58 w 331"/>
              <a:gd name="T27" fmla="*/ 109 h 168"/>
              <a:gd name="T28" fmla="*/ 79 w 331"/>
              <a:gd name="T29" fmla="*/ 109 h 168"/>
              <a:gd name="T30" fmla="*/ 30 w 331"/>
              <a:gd name="T31" fmla="*/ 146 h 168"/>
              <a:gd name="T32" fmla="*/ 20 w 331"/>
              <a:gd name="T33" fmla="*/ 156 h 168"/>
              <a:gd name="T34" fmla="*/ 50 w 331"/>
              <a:gd name="T35" fmla="*/ 161 h 168"/>
              <a:gd name="T36" fmla="*/ 174 w 331"/>
              <a:gd name="T37" fmla="*/ 166 h 168"/>
              <a:gd name="T38" fmla="*/ 262 w 331"/>
              <a:gd name="T39" fmla="*/ 163 h 168"/>
              <a:gd name="T40" fmla="*/ 302 w 331"/>
              <a:gd name="T41" fmla="*/ 154 h 168"/>
              <a:gd name="T42" fmla="*/ 327 w 331"/>
              <a:gd name="T43" fmla="*/ 151 h 168"/>
              <a:gd name="T44" fmla="*/ 316 w 331"/>
              <a:gd name="T45" fmla="*/ 117 h 168"/>
              <a:gd name="T46" fmla="*/ 321 w 331"/>
              <a:gd name="T47" fmla="*/ 103 h 168"/>
              <a:gd name="T48" fmla="*/ 326 w 331"/>
              <a:gd name="T49" fmla="*/ 81 h 168"/>
              <a:gd name="T50" fmla="*/ 327 w 331"/>
              <a:gd name="T51" fmla="*/ 61 h 168"/>
              <a:gd name="T52" fmla="*/ 300 w 331"/>
              <a:gd name="T53" fmla="*/ 36 h 168"/>
              <a:gd name="T54" fmla="*/ 288 w 331"/>
              <a:gd name="T55" fmla="*/ 30 h 168"/>
              <a:gd name="T56" fmla="*/ 271 w 331"/>
              <a:gd name="T57" fmla="*/ 30 h 168"/>
              <a:gd name="T58" fmla="*/ 246 w 331"/>
              <a:gd name="T59" fmla="*/ 38 h 168"/>
              <a:gd name="T60" fmla="*/ 229 w 331"/>
              <a:gd name="T61" fmla="*/ 27 h 168"/>
              <a:gd name="T62" fmla="*/ 200 w 331"/>
              <a:gd name="T63" fmla="*/ 14 h 168"/>
              <a:gd name="T64" fmla="*/ 181 w 331"/>
              <a:gd name="T65" fmla="*/ 6 h 168"/>
              <a:gd name="T66" fmla="*/ 163 w 331"/>
              <a:gd name="T67" fmla="*/ 7 h 168"/>
              <a:gd name="T68" fmla="*/ 159 w 331"/>
              <a:gd name="T69" fmla="*/ 13 h 168"/>
              <a:gd name="T70" fmla="*/ 160 w 331"/>
              <a:gd name="T71" fmla="*/ 39 h 168"/>
              <a:gd name="T72" fmla="*/ 152 w 331"/>
              <a:gd name="T73" fmla="*/ 65 h 168"/>
              <a:gd name="T74" fmla="*/ 101 w 331"/>
              <a:gd name="T75" fmla="*/ 65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1" h="168">
                <a:moveTo>
                  <a:pt x="101" y="65"/>
                </a:moveTo>
                <a:lnTo>
                  <a:pt x="101" y="65"/>
                </a:lnTo>
                <a:cubicBezTo>
                  <a:pt x="97" y="64"/>
                  <a:pt x="96" y="62"/>
                  <a:pt x="96" y="59"/>
                </a:cubicBezTo>
                <a:cubicBezTo>
                  <a:pt x="96" y="58"/>
                  <a:pt x="99" y="53"/>
                  <a:pt x="103" y="47"/>
                </a:cubicBezTo>
                <a:cubicBezTo>
                  <a:pt x="110" y="36"/>
                  <a:pt x="115" y="29"/>
                  <a:pt x="118" y="25"/>
                </a:cubicBezTo>
                <a:lnTo>
                  <a:pt x="118" y="25"/>
                </a:lnTo>
                <a:cubicBezTo>
                  <a:pt x="118" y="24"/>
                  <a:pt x="119" y="24"/>
                  <a:pt x="119" y="23"/>
                </a:cubicBezTo>
                <a:cubicBezTo>
                  <a:pt x="123" y="16"/>
                  <a:pt x="127" y="9"/>
                  <a:pt x="131" y="3"/>
                </a:cubicBezTo>
                <a:cubicBezTo>
                  <a:pt x="131" y="2"/>
                  <a:pt x="131" y="1"/>
                  <a:pt x="132" y="1"/>
                </a:cubicBezTo>
                <a:cubicBezTo>
                  <a:pt x="131" y="1"/>
                  <a:pt x="131" y="1"/>
                  <a:pt x="131" y="1"/>
                </a:cubicBezTo>
                <a:cubicBezTo>
                  <a:pt x="129" y="1"/>
                  <a:pt x="127" y="0"/>
                  <a:pt x="126" y="0"/>
                </a:cubicBezTo>
                <a:cubicBezTo>
                  <a:pt x="123" y="8"/>
                  <a:pt x="118" y="15"/>
                  <a:pt x="113" y="22"/>
                </a:cubicBezTo>
                <a:cubicBezTo>
                  <a:pt x="90" y="51"/>
                  <a:pt x="75" y="65"/>
                  <a:pt x="66" y="65"/>
                </a:cubicBezTo>
                <a:cubicBezTo>
                  <a:pt x="55" y="64"/>
                  <a:pt x="46" y="63"/>
                  <a:pt x="39" y="63"/>
                </a:cubicBezTo>
                <a:cubicBezTo>
                  <a:pt x="38" y="64"/>
                  <a:pt x="36" y="65"/>
                  <a:pt x="33" y="66"/>
                </a:cubicBezTo>
                <a:cubicBezTo>
                  <a:pt x="29" y="69"/>
                  <a:pt x="27" y="71"/>
                  <a:pt x="26" y="73"/>
                </a:cubicBezTo>
                <a:cubicBezTo>
                  <a:pt x="26" y="75"/>
                  <a:pt x="27" y="77"/>
                  <a:pt x="29" y="81"/>
                </a:cubicBezTo>
                <a:cubicBezTo>
                  <a:pt x="31" y="85"/>
                  <a:pt x="32" y="89"/>
                  <a:pt x="32" y="91"/>
                </a:cubicBezTo>
                <a:cubicBezTo>
                  <a:pt x="31" y="102"/>
                  <a:pt x="26" y="114"/>
                  <a:pt x="16" y="129"/>
                </a:cubicBezTo>
                <a:cubicBezTo>
                  <a:pt x="12" y="136"/>
                  <a:pt x="7" y="142"/>
                  <a:pt x="3" y="148"/>
                </a:cubicBezTo>
                <a:cubicBezTo>
                  <a:pt x="2" y="149"/>
                  <a:pt x="1" y="150"/>
                  <a:pt x="0" y="150"/>
                </a:cubicBezTo>
                <a:cubicBezTo>
                  <a:pt x="2" y="151"/>
                  <a:pt x="3" y="151"/>
                  <a:pt x="5" y="152"/>
                </a:cubicBezTo>
                <a:cubicBezTo>
                  <a:pt x="6" y="151"/>
                  <a:pt x="6" y="151"/>
                  <a:pt x="6" y="150"/>
                </a:cubicBezTo>
                <a:cubicBezTo>
                  <a:pt x="17" y="139"/>
                  <a:pt x="27" y="124"/>
                  <a:pt x="35" y="105"/>
                </a:cubicBezTo>
                <a:cubicBezTo>
                  <a:pt x="35" y="105"/>
                  <a:pt x="35" y="105"/>
                  <a:pt x="36" y="105"/>
                </a:cubicBezTo>
                <a:cubicBezTo>
                  <a:pt x="39" y="109"/>
                  <a:pt x="42" y="112"/>
                  <a:pt x="44" y="112"/>
                </a:cubicBezTo>
                <a:cubicBezTo>
                  <a:pt x="46" y="112"/>
                  <a:pt x="48" y="112"/>
                  <a:pt x="51" y="110"/>
                </a:cubicBezTo>
                <a:cubicBezTo>
                  <a:pt x="54" y="109"/>
                  <a:pt x="56" y="108"/>
                  <a:pt x="58" y="109"/>
                </a:cubicBezTo>
                <a:cubicBezTo>
                  <a:pt x="61" y="109"/>
                  <a:pt x="66" y="109"/>
                  <a:pt x="74" y="109"/>
                </a:cubicBezTo>
                <a:lnTo>
                  <a:pt x="79" y="109"/>
                </a:lnTo>
                <a:cubicBezTo>
                  <a:pt x="64" y="122"/>
                  <a:pt x="53" y="129"/>
                  <a:pt x="46" y="132"/>
                </a:cubicBezTo>
                <a:cubicBezTo>
                  <a:pt x="38" y="135"/>
                  <a:pt x="33" y="140"/>
                  <a:pt x="30" y="146"/>
                </a:cubicBezTo>
                <a:cubicBezTo>
                  <a:pt x="29" y="149"/>
                  <a:pt x="27" y="151"/>
                  <a:pt x="25" y="153"/>
                </a:cubicBezTo>
                <a:cubicBezTo>
                  <a:pt x="23" y="154"/>
                  <a:pt x="21" y="155"/>
                  <a:pt x="20" y="156"/>
                </a:cubicBezTo>
                <a:cubicBezTo>
                  <a:pt x="22" y="157"/>
                  <a:pt x="24" y="158"/>
                  <a:pt x="27" y="158"/>
                </a:cubicBezTo>
                <a:cubicBezTo>
                  <a:pt x="28" y="159"/>
                  <a:pt x="35" y="160"/>
                  <a:pt x="50" y="161"/>
                </a:cubicBezTo>
                <a:cubicBezTo>
                  <a:pt x="63" y="163"/>
                  <a:pt x="86" y="164"/>
                  <a:pt x="117" y="165"/>
                </a:cubicBezTo>
                <a:cubicBezTo>
                  <a:pt x="144" y="166"/>
                  <a:pt x="163" y="166"/>
                  <a:pt x="174" y="166"/>
                </a:cubicBezTo>
                <a:lnTo>
                  <a:pt x="179" y="166"/>
                </a:lnTo>
                <a:cubicBezTo>
                  <a:pt x="198" y="168"/>
                  <a:pt x="226" y="167"/>
                  <a:pt x="262" y="163"/>
                </a:cubicBezTo>
                <a:cubicBezTo>
                  <a:pt x="265" y="163"/>
                  <a:pt x="272" y="161"/>
                  <a:pt x="282" y="158"/>
                </a:cubicBezTo>
                <a:cubicBezTo>
                  <a:pt x="292" y="155"/>
                  <a:pt x="299" y="154"/>
                  <a:pt x="302" y="154"/>
                </a:cubicBezTo>
                <a:cubicBezTo>
                  <a:pt x="307" y="154"/>
                  <a:pt x="314" y="153"/>
                  <a:pt x="322" y="152"/>
                </a:cubicBezTo>
                <a:cubicBezTo>
                  <a:pt x="324" y="152"/>
                  <a:pt x="325" y="151"/>
                  <a:pt x="327" y="151"/>
                </a:cubicBezTo>
                <a:cubicBezTo>
                  <a:pt x="324" y="145"/>
                  <a:pt x="322" y="141"/>
                  <a:pt x="320" y="137"/>
                </a:cubicBezTo>
                <a:cubicBezTo>
                  <a:pt x="317" y="129"/>
                  <a:pt x="315" y="123"/>
                  <a:pt x="316" y="117"/>
                </a:cubicBezTo>
                <a:cubicBezTo>
                  <a:pt x="316" y="115"/>
                  <a:pt x="317" y="113"/>
                  <a:pt x="319" y="111"/>
                </a:cubicBezTo>
                <a:cubicBezTo>
                  <a:pt x="320" y="109"/>
                  <a:pt x="321" y="106"/>
                  <a:pt x="321" y="103"/>
                </a:cubicBezTo>
                <a:cubicBezTo>
                  <a:pt x="321" y="96"/>
                  <a:pt x="320" y="92"/>
                  <a:pt x="321" y="91"/>
                </a:cubicBezTo>
                <a:cubicBezTo>
                  <a:pt x="321" y="88"/>
                  <a:pt x="323" y="85"/>
                  <a:pt x="326" y="81"/>
                </a:cubicBezTo>
                <a:cubicBezTo>
                  <a:pt x="329" y="78"/>
                  <a:pt x="331" y="76"/>
                  <a:pt x="331" y="75"/>
                </a:cubicBezTo>
                <a:cubicBezTo>
                  <a:pt x="331" y="72"/>
                  <a:pt x="330" y="68"/>
                  <a:pt x="327" y="61"/>
                </a:cubicBezTo>
                <a:cubicBezTo>
                  <a:pt x="324" y="54"/>
                  <a:pt x="320" y="49"/>
                  <a:pt x="317" y="48"/>
                </a:cubicBezTo>
                <a:cubicBezTo>
                  <a:pt x="310" y="46"/>
                  <a:pt x="304" y="41"/>
                  <a:pt x="300" y="36"/>
                </a:cubicBezTo>
                <a:cubicBezTo>
                  <a:pt x="297" y="30"/>
                  <a:pt x="295" y="28"/>
                  <a:pt x="295" y="28"/>
                </a:cubicBezTo>
                <a:cubicBezTo>
                  <a:pt x="293" y="28"/>
                  <a:pt x="291" y="29"/>
                  <a:pt x="288" y="30"/>
                </a:cubicBezTo>
                <a:cubicBezTo>
                  <a:pt x="285" y="32"/>
                  <a:pt x="283" y="33"/>
                  <a:pt x="282" y="33"/>
                </a:cubicBezTo>
                <a:cubicBezTo>
                  <a:pt x="276" y="31"/>
                  <a:pt x="272" y="30"/>
                  <a:pt x="271" y="30"/>
                </a:cubicBezTo>
                <a:cubicBezTo>
                  <a:pt x="264" y="29"/>
                  <a:pt x="259" y="31"/>
                  <a:pt x="255" y="34"/>
                </a:cubicBezTo>
                <a:cubicBezTo>
                  <a:pt x="251" y="37"/>
                  <a:pt x="248" y="38"/>
                  <a:pt x="246" y="38"/>
                </a:cubicBezTo>
                <a:cubicBezTo>
                  <a:pt x="244" y="36"/>
                  <a:pt x="242" y="34"/>
                  <a:pt x="241" y="32"/>
                </a:cubicBezTo>
                <a:cubicBezTo>
                  <a:pt x="237" y="29"/>
                  <a:pt x="233" y="27"/>
                  <a:pt x="229" y="27"/>
                </a:cubicBezTo>
                <a:cubicBezTo>
                  <a:pt x="219" y="26"/>
                  <a:pt x="212" y="23"/>
                  <a:pt x="209" y="18"/>
                </a:cubicBezTo>
                <a:cubicBezTo>
                  <a:pt x="208" y="16"/>
                  <a:pt x="205" y="15"/>
                  <a:pt x="200" y="14"/>
                </a:cubicBezTo>
                <a:cubicBezTo>
                  <a:pt x="194" y="13"/>
                  <a:pt x="191" y="13"/>
                  <a:pt x="190" y="12"/>
                </a:cubicBezTo>
                <a:cubicBezTo>
                  <a:pt x="188" y="11"/>
                  <a:pt x="185" y="9"/>
                  <a:pt x="181" y="6"/>
                </a:cubicBezTo>
                <a:cubicBezTo>
                  <a:pt x="178" y="3"/>
                  <a:pt x="175" y="1"/>
                  <a:pt x="174" y="1"/>
                </a:cubicBezTo>
                <a:cubicBezTo>
                  <a:pt x="169" y="4"/>
                  <a:pt x="165" y="6"/>
                  <a:pt x="163" y="7"/>
                </a:cubicBezTo>
                <a:cubicBezTo>
                  <a:pt x="163" y="8"/>
                  <a:pt x="163" y="9"/>
                  <a:pt x="164" y="10"/>
                </a:cubicBezTo>
                <a:cubicBezTo>
                  <a:pt x="161" y="12"/>
                  <a:pt x="160" y="12"/>
                  <a:pt x="159" y="13"/>
                </a:cubicBezTo>
                <a:cubicBezTo>
                  <a:pt x="157" y="14"/>
                  <a:pt x="157" y="15"/>
                  <a:pt x="156" y="18"/>
                </a:cubicBezTo>
                <a:cubicBezTo>
                  <a:pt x="156" y="22"/>
                  <a:pt x="157" y="29"/>
                  <a:pt x="160" y="39"/>
                </a:cubicBezTo>
                <a:cubicBezTo>
                  <a:pt x="163" y="49"/>
                  <a:pt x="165" y="55"/>
                  <a:pt x="164" y="56"/>
                </a:cubicBezTo>
                <a:cubicBezTo>
                  <a:pt x="164" y="60"/>
                  <a:pt x="160" y="63"/>
                  <a:pt x="152" y="65"/>
                </a:cubicBezTo>
                <a:cubicBezTo>
                  <a:pt x="145" y="67"/>
                  <a:pt x="139" y="67"/>
                  <a:pt x="132" y="67"/>
                </a:cubicBezTo>
                <a:cubicBezTo>
                  <a:pt x="114" y="65"/>
                  <a:pt x="104" y="65"/>
                  <a:pt x="101" y="65"/>
                </a:cubicBezTo>
                <a:lnTo>
                  <a:pt x="101" y="6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reeform 11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 12"/>
          <p:cNvSpPr/>
          <p:nvPr/>
        </p:nvSpPr>
        <p:spPr bwMode="auto">
          <a:xfrm>
            <a:off x="6371049" y="6386648"/>
            <a:ext cx="1804513" cy="476895"/>
          </a:xfrm>
          <a:custGeom>
            <a:avLst/>
            <a:gdLst>
              <a:gd name="T0" fmla="*/ 1642 w 1728"/>
              <a:gd name="T1" fmla="*/ 444 h 456"/>
              <a:gd name="T2" fmla="*/ 1645 w 1728"/>
              <a:gd name="T3" fmla="*/ 394 h 456"/>
              <a:gd name="T4" fmla="*/ 1649 w 1728"/>
              <a:gd name="T5" fmla="*/ 319 h 456"/>
              <a:gd name="T6" fmla="*/ 1654 w 1728"/>
              <a:gd name="T7" fmla="*/ 185 h 456"/>
              <a:gd name="T8" fmla="*/ 1695 w 1728"/>
              <a:gd name="T9" fmla="*/ 158 h 456"/>
              <a:gd name="T10" fmla="*/ 1728 w 1728"/>
              <a:gd name="T11" fmla="*/ 134 h 456"/>
              <a:gd name="T12" fmla="*/ 1704 w 1728"/>
              <a:gd name="T13" fmla="*/ 114 h 456"/>
              <a:gd name="T14" fmla="*/ 1626 w 1728"/>
              <a:gd name="T15" fmla="*/ 113 h 456"/>
              <a:gd name="T16" fmla="*/ 1601 w 1728"/>
              <a:gd name="T17" fmla="*/ 105 h 456"/>
              <a:gd name="T18" fmla="*/ 1580 w 1728"/>
              <a:gd name="T19" fmla="*/ 84 h 456"/>
              <a:gd name="T20" fmla="*/ 1518 w 1728"/>
              <a:gd name="T21" fmla="*/ 58 h 456"/>
              <a:gd name="T22" fmla="*/ 1503 w 1728"/>
              <a:gd name="T23" fmla="*/ 85 h 456"/>
              <a:gd name="T24" fmla="*/ 1472 w 1728"/>
              <a:gd name="T25" fmla="*/ 90 h 456"/>
              <a:gd name="T26" fmla="*/ 1403 w 1728"/>
              <a:gd name="T27" fmla="*/ 39 h 456"/>
              <a:gd name="T28" fmla="*/ 1369 w 1728"/>
              <a:gd name="T29" fmla="*/ 68 h 456"/>
              <a:gd name="T30" fmla="*/ 1306 w 1728"/>
              <a:gd name="T31" fmla="*/ 74 h 456"/>
              <a:gd name="T32" fmla="*/ 1273 w 1728"/>
              <a:gd name="T33" fmla="*/ 80 h 456"/>
              <a:gd name="T34" fmla="*/ 1202 w 1728"/>
              <a:gd name="T35" fmla="*/ 80 h 456"/>
              <a:gd name="T36" fmla="*/ 1156 w 1728"/>
              <a:gd name="T37" fmla="*/ 35 h 456"/>
              <a:gd name="T38" fmla="*/ 1066 w 1728"/>
              <a:gd name="T39" fmla="*/ 20 h 456"/>
              <a:gd name="T40" fmla="*/ 1032 w 1728"/>
              <a:gd name="T41" fmla="*/ 10 h 456"/>
              <a:gd name="T42" fmla="*/ 952 w 1728"/>
              <a:gd name="T43" fmla="*/ 21 h 456"/>
              <a:gd name="T44" fmla="*/ 921 w 1728"/>
              <a:gd name="T45" fmla="*/ 21 h 456"/>
              <a:gd name="T46" fmla="*/ 890 w 1728"/>
              <a:gd name="T47" fmla="*/ 3 h 456"/>
              <a:gd name="T48" fmla="*/ 826 w 1728"/>
              <a:gd name="T49" fmla="*/ 31 h 456"/>
              <a:gd name="T50" fmla="*/ 778 w 1728"/>
              <a:gd name="T51" fmla="*/ 16 h 456"/>
              <a:gd name="T52" fmla="*/ 698 w 1728"/>
              <a:gd name="T53" fmla="*/ 12 h 456"/>
              <a:gd name="T54" fmla="*/ 611 w 1728"/>
              <a:gd name="T55" fmla="*/ 2 h 456"/>
              <a:gd name="T56" fmla="*/ 570 w 1728"/>
              <a:gd name="T57" fmla="*/ 14 h 456"/>
              <a:gd name="T58" fmla="*/ 536 w 1728"/>
              <a:gd name="T59" fmla="*/ 17 h 456"/>
              <a:gd name="T60" fmla="*/ 409 w 1728"/>
              <a:gd name="T61" fmla="*/ 3 h 456"/>
              <a:gd name="T62" fmla="*/ 369 w 1728"/>
              <a:gd name="T63" fmla="*/ 19 h 456"/>
              <a:gd name="T64" fmla="*/ 347 w 1728"/>
              <a:gd name="T65" fmla="*/ 18 h 456"/>
              <a:gd name="T66" fmla="*/ 281 w 1728"/>
              <a:gd name="T67" fmla="*/ 37 h 456"/>
              <a:gd name="T68" fmla="*/ 256 w 1728"/>
              <a:gd name="T69" fmla="*/ 66 h 456"/>
              <a:gd name="T70" fmla="*/ 221 w 1728"/>
              <a:gd name="T71" fmla="*/ 63 h 456"/>
              <a:gd name="T72" fmla="*/ 163 w 1728"/>
              <a:gd name="T73" fmla="*/ 73 h 456"/>
              <a:gd name="T74" fmla="*/ 115 w 1728"/>
              <a:gd name="T75" fmla="*/ 64 h 456"/>
              <a:gd name="T76" fmla="*/ 77 w 1728"/>
              <a:gd name="T77" fmla="*/ 95 h 456"/>
              <a:gd name="T78" fmla="*/ 0 w 1728"/>
              <a:gd name="T79" fmla="*/ 112 h 456"/>
              <a:gd name="T80" fmla="*/ 41 w 1728"/>
              <a:gd name="T81" fmla="*/ 127 h 456"/>
              <a:gd name="T82" fmla="*/ 106 w 1728"/>
              <a:gd name="T83" fmla="*/ 217 h 456"/>
              <a:gd name="T84" fmla="*/ 99 w 1728"/>
              <a:gd name="T85" fmla="*/ 267 h 456"/>
              <a:gd name="T86" fmla="*/ 88 w 1728"/>
              <a:gd name="T87" fmla="*/ 339 h 456"/>
              <a:gd name="T88" fmla="*/ 69 w 1728"/>
              <a:gd name="T89" fmla="*/ 418 h 456"/>
              <a:gd name="T90" fmla="*/ 66 w 1728"/>
              <a:gd name="T91" fmla="*/ 442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28" h="456">
                <a:moveTo>
                  <a:pt x="1642" y="444"/>
                </a:moveTo>
                <a:lnTo>
                  <a:pt x="1642" y="444"/>
                </a:lnTo>
                <a:lnTo>
                  <a:pt x="1656" y="429"/>
                </a:lnTo>
                <a:lnTo>
                  <a:pt x="1645" y="394"/>
                </a:lnTo>
                <a:lnTo>
                  <a:pt x="1658" y="335"/>
                </a:lnTo>
                <a:lnTo>
                  <a:pt x="1649" y="319"/>
                </a:lnTo>
                <a:lnTo>
                  <a:pt x="1680" y="194"/>
                </a:lnTo>
                <a:lnTo>
                  <a:pt x="1654" y="185"/>
                </a:lnTo>
                <a:lnTo>
                  <a:pt x="1655" y="175"/>
                </a:lnTo>
                <a:lnTo>
                  <a:pt x="1695" y="158"/>
                </a:lnTo>
                <a:lnTo>
                  <a:pt x="1701" y="147"/>
                </a:lnTo>
                <a:lnTo>
                  <a:pt x="1728" y="134"/>
                </a:lnTo>
                <a:lnTo>
                  <a:pt x="1728" y="109"/>
                </a:lnTo>
                <a:lnTo>
                  <a:pt x="1704" y="114"/>
                </a:lnTo>
                <a:lnTo>
                  <a:pt x="1671" y="100"/>
                </a:lnTo>
                <a:lnTo>
                  <a:pt x="1626" y="113"/>
                </a:lnTo>
                <a:lnTo>
                  <a:pt x="1607" y="110"/>
                </a:lnTo>
                <a:lnTo>
                  <a:pt x="1601" y="105"/>
                </a:lnTo>
                <a:lnTo>
                  <a:pt x="1602" y="89"/>
                </a:lnTo>
                <a:lnTo>
                  <a:pt x="1580" y="84"/>
                </a:lnTo>
                <a:cubicBezTo>
                  <a:pt x="1580" y="84"/>
                  <a:pt x="1551" y="63"/>
                  <a:pt x="1541" y="61"/>
                </a:cubicBezTo>
                <a:cubicBezTo>
                  <a:pt x="1531" y="60"/>
                  <a:pt x="1517" y="52"/>
                  <a:pt x="1518" y="58"/>
                </a:cubicBezTo>
                <a:cubicBezTo>
                  <a:pt x="1520" y="63"/>
                  <a:pt x="1530" y="75"/>
                  <a:pt x="1523" y="82"/>
                </a:cubicBezTo>
                <a:cubicBezTo>
                  <a:pt x="1517" y="88"/>
                  <a:pt x="1507" y="84"/>
                  <a:pt x="1503" y="85"/>
                </a:cubicBezTo>
                <a:cubicBezTo>
                  <a:pt x="1499" y="86"/>
                  <a:pt x="1485" y="88"/>
                  <a:pt x="1485" y="88"/>
                </a:cubicBezTo>
                <a:lnTo>
                  <a:pt x="1472" y="90"/>
                </a:lnTo>
                <a:lnTo>
                  <a:pt x="1429" y="63"/>
                </a:lnTo>
                <a:cubicBezTo>
                  <a:pt x="1429" y="63"/>
                  <a:pt x="1418" y="33"/>
                  <a:pt x="1403" y="39"/>
                </a:cubicBezTo>
                <a:cubicBezTo>
                  <a:pt x="1389" y="45"/>
                  <a:pt x="1382" y="53"/>
                  <a:pt x="1380" y="59"/>
                </a:cubicBezTo>
                <a:cubicBezTo>
                  <a:pt x="1377" y="64"/>
                  <a:pt x="1369" y="68"/>
                  <a:pt x="1369" y="68"/>
                </a:cubicBezTo>
                <a:lnTo>
                  <a:pt x="1331" y="77"/>
                </a:lnTo>
                <a:lnTo>
                  <a:pt x="1306" y="74"/>
                </a:lnTo>
                <a:lnTo>
                  <a:pt x="1299" y="71"/>
                </a:lnTo>
                <a:lnTo>
                  <a:pt x="1273" y="80"/>
                </a:lnTo>
                <a:cubicBezTo>
                  <a:pt x="1273" y="80"/>
                  <a:pt x="1262" y="96"/>
                  <a:pt x="1247" y="96"/>
                </a:cubicBezTo>
                <a:cubicBezTo>
                  <a:pt x="1233" y="96"/>
                  <a:pt x="1204" y="88"/>
                  <a:pt x="1202" y="80"/>
                </a:cubicBezTo>
                <a:cubicBezTo>
                  <a:pt x="1200" y="72"/>
                  <a:pt x="1209" y="70"/>
                  <a:pt x="1200" y="63"/>
                </a:cubicBezTo>
                <a:cubicBezTo>
                  <a:pt x="1190" y="56"/>
                  <a:pt x="1156" y="35"/>
                  <a:pt x="1156" y="35"/>
                </a:cubicBezTo>
                <a:lnTo>
                  <a:pt x="1147" y="35"/>
                </a:lnTo>
                <a:lnTo>
                  <a:pt x="1066" y="20"/>
                </a:lnTo>
                <a:lnTo>
                  <a:pt x="1035" y="14"/>
                </a:lnTo>
                <a:lnTo>
                  <a:pt x="1032" y="10"/>
                </a:lnTo>
                <a:cubicBezTo>
                  <a:pt x="1032" y="10"/>
                  <a:pt x="1006" y="11"/>
                  <a:pt x="1000" y="14"/>
                </a:cubicBezTo>
                <a:cubicBezTo>
                  <a:pt x="994" y="18"/>
                  <a:pt x="964" y="25"/>
                  <a:pt x="952" y="21"/>
                </a:cubicBezTo>
                <a:cubicBezTo>
                  <a:pt x="940" y="16"/>
                  <a:pt x="928" y="15"/>
                  <a:pt x="928" y="15"/>
                </a:cubicBezTo>
                <a:lnTo>
                  <a:pt x="921" y="21"/>
                </a:lnTo>
                <a:lnTo>
                  <a:pt x="909" y="19"/>
                </a:lnTo>
                <a:cubicBezTo>
                  <a:pt x="909" y="19"/>
                  <a:pt x="900" y="3"/>
                  <a:pt x="890" y="3"/>
                </a:cubicBezTo>
                <a:cubicBezTo>
                  <a:pt x="880" y="3"/>
                  <a:pt x="862" y="20"/>
                  <a:pt x="858" y="21"/>
                </a:cubicBezTo>
                <a:cubicBezTo>
                  <a:pt x="855" y="22"/>
                  <a:pt x="828" y="31"/>
                  <a:pt x="826" y="31"/>
                </a:cubicBezTo>
                <a:cubicBezTo>
                  <a:pt x="824" y="31"/>
                  <a:pt x="799" y="24"/>
                  <a:pt x="799" y="24"/>
                </a:cubicBezTo>
                <a:cubicBezTo>
                  <a:pt x="799" y="24"/>
                  <a:pt x="792" y="12"/>
                  <a:pt x="778" y="16"/>
                </a:cubicBezTo>
                <a:cubicBezTo>
                  <a:pt x="764" y="20"/>
                  <a:pt x="733" y="16"/>
                  <a:pt x="733" y="16"/>
                </a:cubicBezTo>
                <a:lnTo>
                  <a:pt x="698" y="12"/>
                </a:lnTo>
                <a:lnTo>
                  <a:pt x="669" y="10"/>
                </a:lnTo>
                <a:cubicBezTo>
                  <a:pt x="669" y="10"/>
                  <a:pt x="628" y="0"/>
                  <a:pt x="611" y="2"/>
                </a:cubicBezTo>
                <a:cubicBezTo>
                  <a:pt x="593" y="3"/>
                  <a:pt x="575" y="11"/>
                  <a:pt x="575" y="11"/>
                </a:cubicBezTo>
                <a:lnTo>
                  <a:pt x="570" y="14"/>
                </a:lnTo>
                <a:lnTo>
                  <a:pt x="549" y="20"/>
                </a:lnTo>
                <a:lnTo>
                  <a:pt x="536" y="17"/>
                </a:lnTo>
                <a:lnTo>
                  <a:pt x="450" y="13"/>
                </a:lnTo>
                <a:lnTo>
                  <a:pt x="409" y="3"/>
                </a:lnTo>
                <a:lnTo>
                  <a:pt x="381" y="10"/>
                </a:lnTo>
                <a:lnTo>
                  <a:pt x="369" y="19"/>
                </a:lnTo>
                <a:lnTo>
                  <a:pt x="357" y="25"/>
                </a:lnTo>
                <a:lnTo>
                  <a:pt x="347" y="18"/>
                </a:lnTo>
                <a:lnTo>
                  <a:pt x="328" y="22"/>
                </a:lnTo>
                <a:lnTo>
                  <a:pt x="281" y="37"/>
                </a:lnTo>
                <a:lnTo>
                  <a:pt x="264" y="54"/>
                </a:lnTo>
                <a:lnTo>
                  <a:pt x="256" y="66"/>
                </a:lnTo>
                <a:lnTo>
                  <a:pt x="239" y="70"/>
                </a:lnTo>
                <a:cubicBezTo>
                  <a:pt x="239" y="70"/>
                  <a:pt x="226" y="69"/>
                  <a:pt x="221" y="63"/>
                </a:cubicBezTo>
                <a:cubicBezTo>
                  <a:pt x="215" y="57"/>
                  <a:pt x="203" y="49"/>
                  <a:pt x="192" y="56"/>
                </a:cubicBezTo>
                <a:cubicBezTo>
                  <a:pt x="182" y="63"/>
                  <a:pt x="163" y="85"/>
                  <a:pt x="163" y="73"/>
                </a:cubicBezTo>
                <a:cubicBezTo>
                  <a:pt x="163" y="62"/>
                  <a:pt x="138" y="59"/>
                  <a:pt x="133" y="59"/>
                </a:cubicBezTo>
                <a:cubicBezTo>
                  <a:pt x="127" y="60"/>
                  <a:pt x="120" y="61"/>
                  <a:pt x="115" y="64"/>
                </a:cubicBezTo>
                <a:cubicBezTo>
                  <a:pt x="110" y="66"/>
                  <a:pt x="93" y="78"/>
                  <a:pt x="91" y="82"/>
                </a:cubicBezTo>
                <a:cubicBezTo>
                  <a:pt x="89" y="86"/>
                  <a:pt x="81" y="93"/>
                  <a:pt x="77" y="95"/>
                </a:cubicBezTo>
                <a:cubicBezTo>
                  <a:pt x="72" y="97"/>
                  <a:pt x="58" y="96"/>
                  <a:pt x="58" y="96"/>
                </a:cubicBezTo>
                <a:lnTo>
                  <a:pt x="0" y="112"/>
                </a:lnTo>
                <a:lnTo>
                  <a:pt x="16" y="120"/>
                </a:lnTo>
                <a:lnTo>
                  <a:pt x="41" y="127"/>
                </a:lnTo>
                <a:lnTo>
                  <a:pt x="61" y="159"/>
                </a:lnTo>
                <a:lnTo>
                  <a:pt x="106" y="217"/>
                </a:lnTo>
                <a:lnTo>
                  <a:pt x="83" y="232"/>
                </a:lnTo>
                <a:lnTo>
                  <a:pt x="99" y="267"/>
                </a:lnTo>
                <a:lnTo>
                  <a:pt x="82" y="280"/>
                </a:lnTo>
                <a:lnTo>
                  <a:pt x="88" y="339"/>
                </a:lnTo>
                <a:lnTo>
                  <a:pt x="58" y="402"/>
                </a:lnTo>
                <a:lnTo>
                  <a:pt x="69" y="418"/>
                </a:lnTo>
                <a:lnTo>
                  <a:pt x="61" y="456"/>
                </a:lnTo>
                <a:lnTo>
                  <a:pt x="66" y="442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Freeform 13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Freeform 14"/>
          <p:cNvSpPr/>
          <p:nvPr/>
        </p:nvSpPr>
        <p:spPr bwMode="auto">
          <a:xfrm>
            <a:off x="4880972" y="6157809"/>
            <a:ext cx="3663179" cy="693506"/>
          </a:xfrm>
          <a:custGeom>
            <a:avLst/>
            <a:gdLst>
              <a:gd name="T0" fmla="*/ 3054 w 3505"/>
              <a:gd name="T1" fmla="*/ 663 h 664"/>
              <a:gd name="T2" fmla="*/ 3054 w 3505"/>
              <a:gd name="T3" fmla="*/ 612 h 664"/>
              <a:gd name="T4" fmla="*/ 3058 w 3505"/>
              <a:gd name="T5" fmla="*/ 539 h 664"/>
              <a:gd name="T6" fmla="*/ 3064 w 3505"/>
              <a:gd name="T7" fmla="*/ 405 h 664"/>
              <a:gd name="T8" fmla="*/ 3105 w 3505"/>
              <a:gd name="T9" fmla="*/ 378 h 664"/>
              <a:gd name="T10" fmla="*/ 3137 w 3505"/>
              <a:gd name="T11" fmla="*/ 354 h 664"/>
              <a:gd name="T12" fmla="*/ 3158 w 3505"/>
              <a:gd name="T13" fmla="*/ 328 h 664"/>
              <a:gd name="T14" fmla="*/ 3175 w 3505"/>
              <a:gd name="T15" fmla="*/ 322 h 664"/>
              <a:gd name="T16" fmla="*/ 3240 w 3505"/>
              <a:gd name="T17" fmla="*/ 289 h 664"/>
              <a:gd name="T18" fmla="*/ 3328 w 3505"/>
              <a:gd name="T19" fmla="*/ 286 h 664"/>
              <a:gd name="T20" fmla="*/ 3356 w 3505"/>
              <a:gd name="T21" fmla="*/ 292 h 664"/>
              <a:gd name="T22" fmla="*/ 3374 w 3505"/>
              <a:gd name="T23" fmla="*/ 322 h 664"/>
              <a:gd name="T24" fmla="*/ 3385 w 3505"/>
              <a:gd name="T25" fmla="*/ 361 h 664"/>
              <a:gd name="T26" fmla="*/ 3384 w 3505"/>
              <a:gd name="T27" fmla="*/ 391 h 664"/>
              <a:gd name="T28" fmla="*/ 3425 w 3505"/>
              <a:gd name="T29" fmla="*/ 374 h 664"/>
              <a:gd name="T30" fmla="*/ 3475 w 3505"/>
              <a:gd name="T31" fmla="*/ 345 h 664"/>
              <a:gd name="T32" fmla="*/ 3504 w 3505"/>
              <a:gd name="T33" fmla="*/ 372 h 664"/>
              <a:gd name="T34" fmla="*/ 3463 w 3505"/>
              <a:gd name="T35" fmla="*/ 429 h 664"/>
              <a:gd name="T36" fmla="*/ 3413 w 3505"/>
              <a:gd name="T37" fmla="*/ 462 h 664"/>
              <a:gd name="T38" fmla="*/ 3419 w 3505"/>
              <a:gd name="T39" fmla="*/ 567 h 664"/>
              <a:gd name="T40" fmla="*/ 3468 w 3505"/>
              <a:gd name="T41" fmla="*/ 602 h 664"/>
              <a:gd name="T42" fmla="*/ 3468 w 3505"/>
              <a:gd name="T43" fmla="*/ 651 h 664"/>
              <a:gd name="T44" fmla="*/ 3463 w 3505"/>
              <a:gd name="T45" fmla="*/ 664 h 664"/>
              <a:gd name="T46" fmla="*/ 3417 w 3505"/>
              <a:gd name="T47" fmla="*/ 664 h 664"/>
              <a:gd name="T48" fmla="*/ 127 w 3505"/>
              <a:gd name="T49" fmla="*/ 600 h 664"/>
              <a:gd name="T50" fmla="*/ 132 w 3505"/>
              <a:gd name="T51" fmla="*/ 581 h 664"/>
              <a:gd name="T52" fmla="*/ 193 w 3505"/>
              <a:gd name="T53" fmla="*/ 529 h 664"/>
              <a:gd name="T54" fmla="*/ 265 w 3505"/>
              <a:gd name="T55" fmla="*/ 480 h 664"/>
              <a:gd name="T56" fmla="*/ 288 w 3505"/>
              <a:gd name="T57" fmla="*/ 416 h 664"/>
              <a:gd name="T58" fmla="*/ 427 w 3505"/>
              <a:gd name="T59" fmla="*/ 347 h 664"/>
              <a:gd name="T60" fmla="*/ 469 w 3505"/>
              <a:gd name="T61" fmla="*/ 337 h 664"/>
              <a:gd name="T62" fmla="*/ 565 w 3505"/>
              <a:gd name="T63" fmla="*/ 322 h 664"/>
              <a:gd name="T64" fmla="*/ 674 w 3505"/>
              <a:gd name="T65" fmla="*/ 307 h 664"/>
              <a:gd name="T66" fmla="*/ 756 w 3505"/>
              <a:gd name="T67" fmla="*/ 281 h 664"/>
              <a:gd name="T68" fmla="*/ 906 w 3505"/>
              <a:gd name="T69" fmla="*/ 126 h 664"/>
              <a:gd name="T70" fmla="*/ 1002 w 3505"/>
              <a:gd name="T71" fmla="*/ 3 h 664"/>
              <a:gd name="T72" fmla="*/ 1066 w 3505"/>
              <a:gd name="T73" fmla="*/ 9 h 664"/>
              <a:gd name="T74" fmla="*/ 1094 w 3505"/>
              <a:gd name="T75" fmla="*/ 17 h 664"/>
              <a:gd name="T76" fmla="*/ 1072 w 3505"/>
              <a:gd name="T77" fmla="*/ 90 h 664"/>
              <a:gd name="T78" fmla="*/ 1149 w 3505"/>
              <a:gd name="T79" fmla="*/ 189 h 664"/>
              <a:gd name="T80" fmla="*/ 1194 w 3505"/>
              <a:gd name="T81" fmla="*/ 203 h 664"/>
              <a:gd name="T82" fmla="*/ 1223 w 3505"/>
              <a:gd name="T83" fmla="*/ 203 h 664"/>
              <a:gd name="T84" fmla="*/ 1261 w 3505"/>
              <a:gd name="T85" fmla="*/ 221 h 664"/>
              <a:gd name="T86" fmla="*/ 1305 w 3505"/>
              <a:gd name="T87" fmla="*/ 225 h 664"/>
              <a:gd name="T88" fmla="*/ 1344 w 3505"/>
              <a:gd name="T89" fmla="*/ 241 h 664"/>
              <a:gd name="T90" fmla="*/ 1394 w 3505"/>
              <a:gd name="T91" fmla="*/ 217 h 664"/>
              <a:gd name="T92" fmla="*/ 1423 w 3505"/>
              <a:gd name="T93" fmla="*/ 284 h 664"/>
              <a:gd name="T94" fmla="*/ 1479 w 3505"/>
              <a:gd name="T95" fmla="*/ 301 h 664"/>
              <a:gd name="T96" fmla="*/ 1497 w 3505"/>
              <a:gd name="T97" fmla="*/ 329 h 664"/>
              <a:gd name="T98" fmla="*/ 1522 w 3505"/>
              <a:gd name="T99" fmla="*/ 406 h 664"/>
              <a:gd name="T100" fmla="*/ 1520 w 3505"/>
              <a:gd name="T101" fmla="*/ 454 h 664"/>
              <a:gd name="T102" fmla="*/ 1496 w 3505"/>
              <a:gd name="T103" fmla="*/ 576 h 664"/>
              <a:gd name="T104" fmla="*/ 1500 w 3505"/>
              <a:gd name="T105" fmla="*/ 628 h 664"/>
              <a:gd name="T106" fmla="*/ 1484 w 3505"/>
              <a:gd name="T107" fmla="*/ 663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05" h="664">
                <a:moveTo>
                  <a:pt x="3054" y="663"/>
                </a:moveTo>
                <a:lnTo>
                  <a:pt x="3054" y="663"/>
                </a:lnTo>
                <a:lnTo>
                  <a:pt x="3066" y="649"/>
                </a:lnTo>
                <a:lnTo>
                  <a:pt x="3054" y="612"/>
                </a:lnTo>
                <a:lnTo>
                  <a:pt x="3067" y="555"/>
                </a:lnTo>
                <a:lnTo>
                  <a:pt x="3058" y="539"/>
                </a:lnTo>
                <a:lnTo>
                  <a:pt x="3089" y="414"/>
                </a:lnTo>
                <a:lnTo>
                  <a:pt x="3064" y="405"/>
                </a:lnTo>
                <a:lnTo>
                  <a:pt x="3065" y="395"/>
                </a:lnTo>
                <a:lnTo>
                  <a:pt x="3105" y="378"/>
                </a:lnTo>
                <a:lnTo>
                  <a:pt x="3111" y="367"/>
                </a:lnTo>
                <a:lnTo>
                  <a:pt x="3137" y="354"/>
                </a:lnTo>
                <a:lnTo>
                  <a:pt x="3137" y="329"/>
                </a:lnTo>
                <a:lnTo>
                  <a:pt x="3158" y="328"/>
                </a:lnTo>
                <a:lnTo>
                  <a:pt x="3161" y="328"/>
                </a:lnTo>
                <a:cubicBezTo>
                  <a:pt x="3161" y="328"/>
                  <a:pt x="3168" y="326"/>
                  <a:pt x="3175" y="322"/>
                </a:cubicBezTo>
                <a:cubicBezTo>
                  <a:pt x="3181" y="319"/>
                  <a:pt x="3190" y="311"/>
                  <a:pt x="3199" y="301"/>
                </a:cubicBezTo>
                <a:cubicBezTo>
                  <a:pt x="3209" y="291"/>
                  <a:pt x="3229" y="291"/>
                  <a:pt x="3240" y="289"/>
                </a:cubicBezTo>
                <a:cubicBezTo>
                  <a:pt x="3251" y="287"/>
                  <a:pt x="3297" y="273"/>
                  <a:pt x="3304" y="273"/>
                </a:cubicBezTo>
                <a:cubicBezTo>
                  <a:pt x="3311" y="273"/>
                  <a:pt x="3328" y="278"/>
                  <a:pt x="3328" y="286"/>
                </a:cubicBezTo>
                <a:cubicBezTo>
                  <a:pt x="3328" y="293"/>
                  <a:pt x="3329" y="297"/>
                  <a:pt x="3332" y="294"/>
                </a:cubicBezTo>
                <a:cubicBezTo>
                  <a:pt x="3336" y="291"/>
                  <a:pt x="3356" y="292"/>
                  <a:pt x="3356" y="292"/>
                </a:cubicBezTo>
                <a:lnTo>
                  <a:pt x="3384" y="312"/>
                </a:lnTo>
                <a:lnTo>
                  <a:pt x="3374" y="322"/>
                </a:lnTo>
                <a:cubicBezTo>
                  <a:pt x="3374" y="322"/>
                  <a:pt x="3368" y="333"/>
                  <a:pt x="3369" y="337"/>
                </a:cubicBezTo>
                <a:cubicBezTo>
                  <a:pt x="3370" y="341"/>
                  <a:pt x="3379" y="354"/>
                  <a:pt x="3385" y="361"/>
                </a:cubicBezTo>
                <a:cubicBezTo>
                  <a:pt x="3392" y="369"/>
                  <a:pt x="3374" y="373"/>
                  <a:pt x="3370" y="374"/>
                </a:cubicBezTo>
                <a:cubicBezTo>
                  <a:pt x="3367" y="374"/>
                  <a:pt x="3375" y="384"/>
                  <a:pt x="3384" y="391"/>
                </a:cubicBezTo>
                <a:cubicBezTo>
                  <a:pt x="3392" y="399"/>
                  <a:pt x="3403" y="396"/>
                  <a:pt x="3412" y="391"/>
                </a:cubicBezTo>
                <a:cubicBezTo>
                  <a:pt x="3421" y="386"/>
                  <a:pt x="3421" y="380"/>
                  <a:pt x="3425" y="374"/>
                </a:cubicBezTo>
                <a:cubicBezTo>
                  <a:pt x="3429" y="367"/>
                  <a:pt x="3442" y="371"/>
                  <a:pt x="3455" y="366"/>
                </a:cubicBezTo>
                <a:cubicBezTo>
                  <a:pt x="3468" y="360"/>
                  <a:pt x="3475" y="345"/>
                  <a:pt x="3475" y="345"/>
                </a:cubicBezTo>
                <a:lnTo>
                  <a:pt x="3498" y="339"/>
                </a:lnTo>
                <a:cubicBezTo>
                  <a:pt x="3498" y="339"/>
                  <a:pt x="3503" y="364"/>
                  <a:pt x="3504" y="372"/>
                </a:cubicBezTo>
                <a:cubicBezTo>
                  <a:pt x="3505" y="381"/>
                  <a:pt x="3492" y="389"/>
                  <a:pt x="3484" y="398"/>
                </a:cubicBezTo>
                <a:cubicBezTo>
                  <a:pt x="3476" y="407"/>
                  <a:pt x="3466" y="423"/>
                  <a:pt x="3463" y="429"/>
                </a:cubicBezTo>
                <a:cubicBezTo>
                  <a:pt x="3460" y="434"/>
                  <a:pt x="3455" y="447"/>
                  <a:pt x="3452" y="450"/>
                </a:cubicBezTo>
                <a:cubicBezTo>
                  <a:pt x="3448" y="454"/>
                  <a:pt x="3430" y="455"/>
                  <a:pt x="3413" y="462"/>
                </a:cubicBezTo>
                <a:cubicBezTo>
                  <a:pt x="3395" y="469"/>
                  <a:pt x="3391" y="496"/>
                  <a:pt x="3395" y="512"/>
                </a:cubicBezTo>
                <a:cubicBezTo>
                  <a:pt x="3398" y="528"/>
                  <a:pt x="3419" y="567"/>
                  <a:pt x="3419" y="567"/>
                </a:cubicBezTo>
                <a:cubicBezTo>
                  <a:pt x="3419" y="567"/>
                  <a:pt x="3433" y="581"/>
                  <a:pt x="3437" y="591"/>
                </a:cubicBezTo>
                <a:cubicBezTo>
                  <a:pt x="3440" y="601"/>
                  <a:pt x="3459" y="599"/>
                  <a:pt x="3468" y="602"/>
                </a:cubicBezTo>
                <a:cubicBezTo>
                  <a:pt x="3477" y="605"/>
                  <a:pt x="3471" y="623"/>
                  <a:pt x="3471" y="623"/>
                </a:cubicBezTo>
                <a:lnTo>
                  <a:pt x="3468" y="651"/>
                </a:lnTo>
                <a:lnTo>
                  <a:pt x="3471" y="664"/>
                </a:lnTo>
                <a:lnTo>
                  <a:pt x="3463" y="664"/>
                </a:lnTo>
                <a:lnTo>
                  <a:pt x="3444" y="664"/>
                </a:lnTo>
                <a:lnTo>
                  <a:pt x="3417" y="664"/>
                </a:lnTo>
                <a:lnTo>
                  <a:pt x="0" y="663"/>
                </a:lnTo>
                <a:lnTo>
                  <a:pt x="127" y="600"/>
                </a:lnTo>
                <a:lnTo>
                  <a:pt x="127" y="589"/>
                </a:lnTo>
                <a:lnTo>
                  <a:pt x="132" y="581"/>
                </a:lnTo>
                <a:lnTo>
                  <a:pt x="163" y="556"/>
                </a:lnTo>
                <a:cubicBezTo>
                  <a:pt x="163" y="556"/>
                  <a:pt x="177" y="537"/>
                  <a:pt x="193" y="529"/>
                </a:cubicBezTo>
                <a:cubicBezTo>
                  <a:pt x="208" y="521"/>
                  <a:pt x="247" y="498"/>
                  <a:pt x="247" y="498"/>
                </a:cubicBezTo>
                <a:lnTo>
                  <a:pt x="265" y="480"/>
                </a:lnTo>
                <a:lnTo>
                  <a:pt x="287" y="425"/>
                </a:lnTo>
                <a:lnTo>
                  <a:pt x="288" y="416"/>
                </a:lnTo>
                <a:lnTo>
                  <a:pt x="335" y="397"/>
                </a:lnTo>
                <a:lnTo>
                  <a:pt x="427" y="347"/>
                </a:lnTo>
                <a:lnTo>
                  <a:pt x="445" y="334"/>
                </a:lnTo>
                <a:cubicBezTo>
                  <a:pt x="445" y="334"/>
                  <a:pt x="455" y="345"/>
                  <a:pt x="469" y="337"/>
                </a:cubicBezTo>
                <a:cubicBezTo>
                  <a:pt x="483" y="328"/>
                  <a:pt x="490" y="323"/>
                  <a:pt x="499" y="324"/>
                </a:cubicBezTo>
                <a:cubicBezTo>
                  <a:pt x="508" y="326"/>
                  <a:pt x="557" y="322"/>
                  <a:pt x="565" y="322"/>
                </a:cubicBezTo>
                <a:cubicBezTo>
                  <a:pt x="574" y="322"/>
                  <a:pt x="609" y="323"/>
                  <a:pt x="617" y="322"/>
                </a:cubicBezTo>
                <a:cubicBezTo>
                  <a:pt x="626" y="320"/>
                  <a:pt x="669" y="306"/>
                  <a:pt x="674" y="307"/>
                </a:cubicBezTo>
                <a:cubicBezTo>
                  <a:pt x="680" y="308"/>
                  <a:pt x="707" y="305"/>
                  <a:pt x="721" y="300"/>
                </a:cubicBezTo>
                <a:cubicBezTo>
                  <a:pt x="734" y="294"/>
                  <a:pt x="750" y="287"/>
                  <a:pt x="756" y="281"/>
                </a:cubicBezTo>
                <a:cubicBezTo>
                  <a:pt x="763" y="275"/>
                  <a:pt x="819" y="224"/>
                  <a:pt x="826" y="217"/>
                </a:cubicBezTo>
                <a:cubicBezTo>
                  <a:pt x="833" y="210"/>
                  <a:pt x="901" y="133"/>
                  <a:pt x="906" y="126"/>
                </a:cubicBezTo>
                <a:cubicBezTo>
                  <a:pt x="911" y="119"/>
                  <a:pt x="960" y="57"/>
                  <a:pt x="963" y="53"/>
                </a:cubicBezTo>
                <a:cubicBezTo>
                  <a:pt x="965" y="49"/>
                  <a:pt x="1002" y="3"/>
                  <a:pt x="1002" y="3"/>
                </a:cubicBezTo>
                <a:cubicBezTo>
                  <a:pt x="1002" y="3"/>
                  <a:pt x="1034" y="9"/>
                  <a:pt x="1042" y="11"/>
                </a:cubicBezTo>
                <a:cubicBezTo>
                  <a:pt x="1051" y="12"/>
                  <a:pt x="1065" y="10"/>
                  <a:pt x="1066" y="9"/>
                </a:cubicBezTo>
                <a:cubicBezTo>
                  <a:pt x="1067" y="8"/>
                  <a:pt x="1078" y="0"/>
                  <a:pt x="1083" y="4"/>
                </a:cubicBezTo>
                <a:cubicBezTo>
                  <a:pt x="1088" y="7"/>
                  <a:pt x="1100" y="12"/>
                  <a:pt x="1094" y="17"/>
                </a:cubicBezTo>
                <a:cubicBezTo>
                  <a:pt x="1088" y="21"/>
                  <a:pt x="1068" y="55"/>
                  <a:pt x="1069" y="56"/>
                </a:cubicBezTo>
                <a:cubicBezTo>
                  <a:pt x="1070" y="57"/>
                  <a:pt x="1069" y="86"/>
                  <a:pt x="1072" y="90"/>
                </a:cubicBezTo>
                <a:cubicBezTo>
                  <a:pt x="1075" y="95"/>
                  <a:pt x="1104" y="148"/>
                  <a:pt x="1112" y="157"/>
                </a:cubicBezTo>
                <a:cubicBezTo>
                  <a:pt x="1119" y="167"/>
                  <a:pt x="1141" y="186"/>
                  <a:pt x="1149" y="189"/>
                </a:cubicBezTo>
                <a:cubicBezTo>
                  <a:pt x="1157" y="193"/>
                  <a:pt x="1172" y="204"/>
                  <a:pt x="1178" y="205"/>
                </a:cubicBezTo>
                <a:cubicBezTo>
                  <a:pt x="1184" y="206"/>
                  <a:pt x="1194" y="203"/>
                  <a:pt x="1194" y="203"/>
                </a:cubicBezTo>
                <a:lnTo>
                  <a:pt x="1207" y="209"/>
                </a:lnTo>
                <a:cubicBezTo>
                  <a:pt x="1207" y="209"/>
                  <a:pt x="1219" y="201"/>
                  <a:pt x="1223" y="203"/>
                </a:cubicBezTo>
                <a:cubicBezTo>
                  <a:pt x="1227" y="204"/>
                  <a:pt x="1250" y="201"/>
                  <a:pt x="1249" y="206"/>
                </a:cubicBezTo>
                <a:cubicBezTo>
                  <a:pt x="1249" y="211"/>
                  <a:pt x="1251" y="225"/>
                  <a:pt x="1261" y="221"/>
                </a:cubicBezTo>
                <a:cubicBezTo>
                  <a:pt x="1271" y="216"/>
                  <a:pt x="1284" y="212"/>
                  <a:pt x="1287" y="215"/>
                </a:cubicBezTo>
                <a:cubicBezTo>
                  <a:pt x="1290" y="218"/>
                  <a:pt x="1302" y="225"/>
                  <a:pt x="1305" y="225"/>
                </a:cubicBezTo>
                <a:cubicBezTo>
                  <a:pt x="1308" y="225"/>
                  <a:pt x="1319" y="225"/>
                  <a:pt x="1321" y="232"/>
                </a:cubicBezTo>
                <a:cubicBezTo>
                  <a:pt x="1323" y="239"/>
                  <a:pt x="1335" y="241"/>
                  <a:pt x="1344" y="241"/>
                </a:cubicBezTo>
                <a:cubicBezTo>
                  <a:pt x="1353" y="242"/>
                  <a:pt x="1369" y="243"/>
                  <a:pt x="1377" y="235"/>
                </a:cubicBezTo>
                <a:cubicBezTo>
                  <a:pt x="1384" y="227"/>
                  <a:pt x="1390" y="216"/>
                  <a:pt x="1394" y="217"/>
                </a:cubicBezTo>
                <a:cubicBezTo>
                  <a:pt x="1398" y="218"/>
                  <a:pt x="1396" y="246"/>
                  <a:pt x="1398" y="250"/>
                </a:cubicBezTo>
                <a:cubicBezTo>
                  <a:pt x="1401" y="254"/>
                  <a:pt x="1415" y="281"/>
                  <a:pt x="1423" y="284"/>
                </a:cubicBezTo>
                <a:cubicBezTo>
                  <a:pt x="1432" y="287"/>
                  <a:pt x="1448" y="295"/>
                  <a:pt x="1454" y="294"/>
                </a:cubicBezTo>
                <a:cubicBezTo>
                  <a:pt x="1460" y="294"/>
                  <a:pt x="1473" y="296"/>
                  <a:pt x="1479" y="301"/>
                </a:cubicBezTo>
                <a:cubicBezTo>
                  <a:pt x="1485" y="305"/>
                  <a:pt x="1490" y="315"/>
                  <a:pt x="1490" y="315"/>
                </a:cubicBezTo>
                <a:lnTo>
                  <a:pt x="1497" y="329"/>
                </a:lnTo>
                <a:lnTo>
                  <a:pt x="1544" y="389"/>
                </a:lnTo>
                <a:lnTo>
                  <a:pt x="1522" y="406"/>
                </a:lnTo>
                <a:lnTo>
                  <a:pt x="1537" y="442"/>
                </a:lnTo>
                <a:lnTo>
                  <a:pt x="1520" y="454"/>
                </a:lnTo>
                <a:lnTo>
                  <a:pt x="1527" y="513"/>
                </a:lnTo>
                <a:lnTo>
                  <a:pt x="1496" y="576"/>
                </a:lnTo>
                <a:lnTo>
                  <a:pt x="1508" y="592"/>
                </a:lnTo>
                <a:lnTo>
                  <a:pt x="1500" y="628"/>
                </a:lnTo>
                <a:lnTo>
                  <a:pt x="1491" y="637"/>
                </a:lnTo>
                <a:lnTo>
                  <a:pt x="1484" y="663"/>
                </a:ln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 15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close/>
              </a:path>
            </a:pathLst>
          </a:custGeom>
          <a:solidFill>
            <a:srgbClr val="EEEBE9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 16"/>
          <p:cNvSpPr/>
          <p:nvPr/>
        </p:nvSpPr>
        <p:spPr bwMode="auto">
          <a:xfrm>
            <a:off x="10638644" y="4248483"/>
            <a:ext cx="490869" cy="543276"/>
          </a:xfrm>
          <a:custGeom>
            <a:avLst/>
            <a:gdLst>
              <a:gd name="T0" fmla="*/ 454 w 470"/>
              <a:gd name="T1" fmla="*/ 313 h 520"/>
              <a:gd name="T2" fmla="*/ 440 w 470"/>
              <a:gd name="T3" fmla="*/ 301 h 520"/>
              <a:gd name="T4" fmla="*/ 444 w 470"/>
              <a:gd name="T5" fmla="*/ 284 h 520"/>
              <a:gd name="T6" fmla="*/ 444 w 470"/>
              <a:gd name="T7" fmla="*/ 258 h 520"/>
              <a:gd name="T8" fmla="*/ 421 w 470"/>
              <a:gd name="T9" fmla="*/ 240 h 520"/>
              <a:gd name="T10" fmla="*/ 389 w 470"/>
              <a:gd name="T11" fmla="*/ 229 h 520"/>
              <a:gd name="T12" fmla="*/ 390 w 470"/>
              <a:gd name="T13" fmla="*/ 212 h 520"/>
              <a:gd name="T14" fmla="*/ 376 w 470"/>
              <a:gd name="T15" fmla="*/ 210 h 520"/>
              <a:gd name="T16" fmla="*/ 381 w 470"/>
              <a:gd name="T17" fmla="*/ 201 h 520"/>
              <a:gd name="T18" fmla="*/ 379 w 470"/>
              <a:gd name="T19" fmla="*/ 182 h 520"/>
              <a:gd name="T20" fmla="*/ 372 w 470"/>
              <a:gd name="T21" fmla="*/ 164 h 520"/>
              <a:gd name="T22" fmla="*/ 352 w 470"/>
              <a:gd name="T23" fmla="*/ 166 h 520"/>
              <a:gd name="T24" fmla="*/ 316 w 470"/>
              <a:gd name="T25" fmla="*/ 138 h 520"/>
              <a:gd name="T26" fmla="*/ 324 w 470"/>
              <a:gd name="T27" fmla="*/ 113 h 520"/>
              <a:gd name="T28" fmla="*/ 319 w 470"/>
              <a:gd name="T29" fmla="*/ 96 h 520"/>
              <a:gd name="T30" fmla="*/ 316 w 470"/>
              <a:gd name="T31" fmla="*/ 85 h 520"/>
              <a:gd name="T32" fmla="*/ 300 w 470"/>
              <a:gd name="T33" fmla="*/ 60 h 520"/>
              <a:gd name="T34" fmla="*/ 254 w 470"/>
              <a:gd name="T35" fmla="*/ 41 h 520"/>
              <a:gd name="T36" fmla="*/ 221 w 470"/>
              <a:gd name="T37" fmla="*/ 53 h 520"/>
              <a:gd name="T38" fmla="*/ 201 w 470"/>
              <a:gd name="T39" fmla="*/ 43 h 520"/>
              <a:gd name="T40" fmla="*/ 202 w 470"/>
              <a:gd name="T41" fmla="*/ 30 h 520"/>
              <a:gd name="T42" fmla="*/ 182 w 470"/>
              <a:gd name="T43" fmla="*/ 33 h 520"/>
              <a:gd name="T44" fmla="*/ 170 w 470"/>
              <a:gd name="T45" fmla="*/ 25 h 520"/>
              <a:gd name="T46" fmla="*/ 148 w 470"/>
              <a:gd name="T47" fmla="*/ 15 h 520"/>
              <a:gd name="T48" fmla="*/ 122 w 470"/>
              <a:gd name="T49" fmla="*/ 4 h 520"/>
              <a:gd name="T50" fmla="*/ 106 w 470"/>
              <a:gd name="T51" fmla="*/ 0 h 520"/>
              <a:gd name="T52" fmla="*/ 90 w 470"/>
              <a:gd name="T53" fmla="*/ 9 h 520"/>
              <a:gd name="T54" fmla="*/ 60 w 470"/>
              <a:gd name="T55" fmla="*/ 25 h 520"/>
              <a:gd name="T56" fmla="*/ 36 w 470"/>
              <a:gd name="T57" fmla="*/ 30 h 520"/>
              <a:gd name="T58" fmla="*/ 22 w 470"/>
              <a:gd name="T59" fmla="*/ 31 h 520"/>
              <a:gd name="T60" fmla="*/ 15 w 470"/>
              <a:gd name="T61" fmla="*/ 45 h 520"/>
              <a:gd name="T62" fmla="*/ 0 w 470"/>
              <a:gd name="T63" fmla="*/ 53 h 520"/>
              <a:gd name="T64" fmla="*/ 54 w 470"/>
              <a:gd name="T65" fmla="*/ 83 h 520"/>
              <a:gd name="T66" fmla="*/ 71 w 470"/>
              <a:gd name="T67" fmla="*/ 100 h 520"/>
              <a:gd name="T68" fmla="*/ 93 w 470"/>
              <a:gd name="T69" fmla="*/ 149 h 520"/>
              <a:gd name="T70" fmla="*/ 123 w 470"/>
              <a:gd name="T71" fmla="*/ 179 h 520"/>
              <a:gd name="T72" fmla="*/ 152 w 470"/>
              <a:gd name="T73" fmla="*/ 209 h 520"/>
              <a:gd name="T74" fmla="*/ 185 w 470"/>
              <a:gd name="T75" fmla="*/ 247 h 520"/>
              <a:gd name="T76" fmla="*/ 214 w 470"/>
              <a:gd name="T77" fmla="*/ 288 h 520"/>
              <a:gd name="T78" fmla="*/ 238 w 470"/>
              <a:gd name="T79" fmla="*/ 352 h 520"/>
              <a:gd name="T80" fmla="*/ 228 w 470"/>
              <a:gd name="T81" fmla="*/ 417 h 520"/>
              <a:gd name="T82" fmla="*/ 236 w 470"/>
              <a:gd name="T83" fmla="*/ 451 h 520"/>
              <a:gd name="T84" fmla="*/ 244 w 470"/>
              <a:gd name="T85" fmla="*/ 492 h 520"/>
              <a:gd name="T86" fmla="*/ 263 w 470"/>
              <a:gd name="T87" fmla="*/ 514 h 520"/>
              <a:gd name="T88" fmla="*/ 299 w 470"/>
              <a:gd name="T89" fmla="*/ 503 h 520"/>
              <a:gd name="T90" fmla="*/ 301 w 470"/>
              <a:gd name="T91" fmla="*/ 467 h 520"/>
              <a:gd name="T92" fmla="*/ 315 w 470"/>
              <a:gd name="T93" fmla="*/ 443 h 520"/>
              <a:gd name="T94" fmla="*/ 315 w 470"/>
              <a:gd name="T95" fmla="*/ 434 h 520"/>
              <a:gd name="T96" fmla="*/ 340 w 470"/>
              <a:gd name="T97" fmla="*/ 406 h 520"/>
              <a:gd name="T98" fmla="*/ 339 w 470"/>
              <a:gd name="T99" fmla="*/ 386 h 520"/>
              <a:gd name="T100" fmla="*/ 338 w 470"/>
              <a:gd name="T101" fmla="*/ 370 h 520"/>
              <a:gd name="T102" fmla="*/ 322 w 470"/>
              <a:gd name="T103" fmla="*/ 342 h 520"/>
              <a:gd name="T104" fmla="*/ 341 w 470"/>
              <a:gd name="T105" fmla="*/ 317 h 520"/>
              <a:gd name="T106" fmla="*/ 363 w 470"/>
              <a:gd name="T107" fmla="*/ 334 h 520"/>
              <a:gd name="T108" fmla="*/ 380 w 470"/>
              <a:gd name="T109" fmla="*/ 326 h 520"/>
              <a:gd name="T110" fmla="*/ 397 w 470"/>
              <a:gd name="T111" fmla="*/ 325 h 520"/>
              <a:gd name="T112" fmla="*/ 420 w 470"/>
              <a:gd name="T113" fmla="*/ 316 h 520"/>
              <a:gd name="T114" fmla="*/ 463 w 470"/>
              <a:gd name="T115" fmla="*/ 314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0" h="520">
                <a:moveTo>
                  <a:pt x="463" y="314"/>
                </a:moveTo>
                <a:lnTo>
                  <a:pt x="463" y="314"/>
                </a:lnTo>
                <a:cubicBezTo>
                  <a:pt x="458" y="314"/>
                  <a:pt x="455" y="313"/>
                  <a:pt x="454" y="313"/>
                </a:cubicBezTo>
                <a:cubicBezTo>
                  <a:pt x="452" y="312"/>
                  <a:pt x="451" y="309"/>
                  <a:pt x="450" y="306"/>
                </a:cubicBezTo>
                <a:cubicBezTo>
                  <a:pt x="450" y="303"/>
                  <a:pt x="448" y="301"/>
                  <a:pt x="444" y="301"/>
                </a:cubicBezTo>
                <a:cubicBezTo>
                  <a:pt x="442" y="300"/>
                  <a:pt x="441" y="301"/>
                  <a:pt x="440" y="301"/>
                </a:cubicBezTo>
                <a:cubicBezTo>
                  <a:pt x="438" y="298"/>
                  <a:pt x="437" y="296"/>
                  <a:pt x="437" y="293"/>
                </a:cubicBezTo>
                <a:cubicBezTo>
                  <a:pt x="437" y="291"/>
                  <a:pt x="439" y="289"/>
                  <a:pt x="441" y="288"/>
                </a:cubicBezTo>
                <a:cubicBezTo>
                  <a:pt x="443" y="286"/>
                  <a:pt x="444" y="285"/>
                  <a:pt x="444" y="284"/>
                </a:cubicBezTo>
                <a:cubicBezTo>
                  <a:pt x="441" y="279"/>
                  <a:pt x="439" y="277"/>
                  <a:pt x="439" y="275"/>
                </a:cubicBezTo>
                <a:cubicBezTo>
                  <a:pt x="439" y="273"/>
                  <a:pt x="440" y="270"/>
                  <a:pt x="442" y="266"/>
                </a:cubicBezTo>
                <a:cubicBezTo>
                  <a:pt x="444" y="262"/>
                  <a:pt x="444" y="259"/>
                  <a:pt x="444" y="258"/>
                </a:cubicBezTo>
                <a:cubicBezTo>
                  <a:pt x="445" y="256"/>
                  <a:pt x="442" y="252"/>
                  <a:pt x="436" y="246"/>
                </a:cubicBezTo>
                <a:cubicBezTo>
                  <a:pt x="431" y="241"/>
                  <a:pt x="427" y="238"/>
                  <a:pt x="425" y="238"/>
                </a:cubicBezTo>
                <a:cubicBezTo>
                  <a:pt x="424" y="238"/>
                  <a:pt x="423" y="238"/>
                  <a:pt x="421" y="240"/>
                </a:cubicBezTo>
                <a:cubicBezTo>
                  <a:pt x="420" y="241"/>
                  <a:pt x="418" y="242"/>
                  <a:pt x="418" y="242"/>
                </a:cubicBezTo>
                <a:cubicBezTo>
                  <a:pt x="409" y="237"/>
                  <a:pt x="404" y="234"/>
                  <a:pt x="404" y="231"/>
                </a:cubicBezTo>
                <a:cubicBezTo>
                  <a:pt x="398" y="230"/>
                  <a:pt x="393" y="230"/>
                  <a:pt x="389" y="229"/>
                </a:cubicBezTo>
                <a:cubicBezTo>
                  <a:pt x="389" y="229"/>
                  <a:pt x="389" y="228"/>
                  <a:pt x="389" y="228"/>
                </a:cubicBezTo>
                <a:cubicBezTo>
                  <a:pt x="391" y="224"/>
                  <a:pt x="392" y="222"/>
                  <a:pt x="392" y="220"/>
                </a:cubicBezTo>
                <a:cubicBezTo>
                  <a:pt x="392" y="219"/>
                  <a:pt x="392" y="216"/>
                  <a:pt x="390" y="212"/>
                </a:cubicBezTo>
                <a:cubicBezTo>
                  <a:pt x="389" y="208"/>
                  <a:pt x="388" y="206"/>
                  <a:pt x="387" y="206"/>
                </a:cubicBezTo>
                <a:cubicBezTo>
                  <a:pt x="385" y="206"/>
                  <a:pt x="384" y="207"/>
                  <a:pt x="381" y="208"/>
                </a:cubicBezTo>
                <a:cubicBezTo>
                  <a:pt x="379" y="210"/>
                  <a:pt x="378" y="210"/>
                  <a:pt x="376" y="210"/>
                </a:cubicBezTo>
                <a:cubicBezTo>
                  <a:pt x="374" y="210"/>
                  <a:pt x="373" y="210"/>
                  <a:pt x="372" y="210"/>
                </a:cubicBezTo>
                <a:cubicBezTo>
                  <a:pt x="371" y="209"/>
                  <a:pt x="371" y="208"/>
                  <a:pt x="371" y="205"/>
                </a:cubicBezTo>
                <a:cubicBezTo>
                  <a:pt x="376" y="203"/>
                  <a:pt x="379" y="202"/>
                  <a:pt x="381" y="201"/>
                </a:cubicBezTo>
                <a:cubicBezTo>
                  <a:pt x="384" y="199"/>
                  <a:pt x="385" y="196"/>
                  <a:pt x="386" y="193"/>
                </a:cubicBezTo>
                <a:cubicBezTo>
                  <a:pt x="386" y="191"/>
                  <a:pt x="385" y="189"/>
                  <a:pt x="383" y="187"/>
                </a:cubicBezTo>
                <a:cubicBezTo>
                  <a:pt x="380" y="185"/>
                  <a:pt x="379" y="184"/>
                  <a:pt x="379" y="182"/>
                </a:cubicBezTo>
                <a:cubicBezTo>
                  <a:pt x="381" y="178"/>
                  <a:pt x="382" y="175"/>
                  <a:pt x="382" y="173"/>
                </a:cubicBezTo>
                <a:cubicBezTo>
                  <a:pt x="382" y="172"/>
                  <a:pt x="381" y="170"/>
                  <a:pt x="379" y="168"/>
                </a:cubicBezTo>
                <a:cubicBezTo>
                  <a:pt x="376" y="166"/>
                  <a:pt x="374" y="165"/>
                  <a:pt x="372" y="164"/>
                </a:cubicBezTo>
                <a:cubicBezTo>
                  <a:pt x="371" y="164"/>
                  <a:pt x="369" y="166"/>
                  <a:pt x="368" y="169"/>
                </a:cubicBezTo>
                <a:cubicBezTo>
                  <a:pt x="366" y="172"/>
                  <a:pt x="364" y="173"/>
                  <a:pt x="362" y="173"/>
                </a:cubicBezTo>
                <a:cubicBezTo>
                  <a:pt x="361" y="172"/>
                  <a:pt x="357" y="170"/>
                  <a:pt x="352" y="166"/>
                </a:cubicBezTo>
                <a:cubicBezTo>
                  <a:pt x="346" y="161"/>
                  <a:pt x="343" y="157"/>
                  <a:pt x="342" y="155"/>
                </a:cubicBezTo>
                <a:cubicBezTo>
                  <a:pt x="340" y="152"/>
                  <a:pt x="335" y="149"/>
                  <a:pt x="327" y="146"/>
                </a:cubicBezTo>
                <a:cubicBezTo>
                  <a:pt x="319" y="143"/>
                  <a:pt x="315" y="141"/>
                  <a:pt x="316" y="138"/>
                </a:cubicBezTo>
                <a:cubicBezTo>
                  <a:pt x="317" y="133"/>
                  <a:pt x="317" y="129"/>
                  <a:pt x="317" y="125"/>
                </a:cubicBezTo>
                <a:cubicBezTo>
                  <a:pt x="318" y="122"/>
                  <a:pt x="319" y="120"/>
                  <a:pt x="321" y="119"/>
                </a:cubicBezTo>
                <a:cubicBezTo>
                  <a:pt x="323" y="118"/>
                  <a:pt x="324" y="115"/>
                  <a:pt x="324" y="113"/>
                </a:cubicBezTo>
                <a:cubicBezTo>
                  <a:pt x="324" y="113"/>
                  <a:pt x="323" y="111"/>
                  <a:pt x="320" y="108"/>
                </a:cubicBezTo>
                <a:cubicBezTo>
                  <a:pt x="318" y="106"/>
                  <a:pt x="317" y="103"/>
                  <a:pt x="317" y="101"/>
                </a:cubicBezTo>
                <a:cubicBezTo>
                  <a:pt x="318" y="99"/>
                  <a:pt x="318" y="97"/>
                  <a:pt x="319" y="96"/>
                </a:cubicBezTo>
                <a:lnTo>
                  <a:pt x="320" y="93"/>
                </a:lnTo>
                <a:cubicBezTo>
                  <a:pt x="316" y="92"/>
                  <a:pt x="314" y="90"/>
                  <a:pt x="314" y="88"/>
                </a:cubicBezTo>
                <a:cubicBezTo>
                  <a:pt x="315" y="87"/>
                  <a:pt x="315" y="86"/>
                  <a:pt x="316" y="85"/>
                </a:cubicBezTo>
                <a:cubicBezTo>
                  <a:pt x="317" y="84"/>
                  <a:pt x="317" y="83"/>
                  <a:pt x="317" y="81"/>
                </a:cubicBezTo>
                <a:cubicBezTo>
                  <a:pt x="318" y="77"/>
                  <a:pt x="315" y="74"/>
                  <a:pt x="310" y="70"/>
                </a:cubicBezTo>
                <a:cubicBezTo>
                  <a:pt x="304" y="66"/>
                  <a:pt x="300" y="63"/>
                  <a:pt x="300" y="60"/>
                </a:cubicBezTo>
                <a:cubicBezTo>
                  <a:pt x="299" y="61"/>
                  <a:pt x="299" y="61"/>
                  <a:pt x="299" y="61"/>
                </a:cubicBezTo>
                <a:cubicBezTo>
                  <a:pt x="292" y="66"/>
                  <a:pt x="287" y="69"/>
                  <a:pt x="285" y="69"/>
                </a:cubicBezTo>
                <a:cubicBezTo>
                  <a:pt x="282" y="69"/>
                  <a:pt x="272" y="59"/>
                  <a:pt x="254" y="41"/>
                </a:cubicBezTo>
                <a:cubicBezTo>
                  <a:pt x="247" y="41"/>
                  <a:pt x="243" y="41"/>
                  <a:pt x="242" y="41"/>
                </a:cubicBezTo>
                <a:cubicBezTo>
                  <a:pt x="234" y="40"/>
                  <a:pt x="230" y="40"/>
                  <a:pt x="229" y="40"/>
                </a:cubicBezTo>
                <a:cubicBezTo>
                  <a:pt x="228" y="41"/>
                  <a:pt x="225" y="46"/>
                  <a:pt x="221" y="53"/>
                </a:cubicBezTo>
                <a:cubicBezTo>
                  <a:pt x="214" y="47"/>
                  <a:pt x="210" y="43"/>
                  <a:pt x="208" y="43"/>
                </a:cubicBezTo>
                <a:cubicBezTo>
                  <a:pt x="206" y="44"/>
                  <a:pt x="204" y="44"/>
                  <a:pt x="203" y="44"/>
                </a:cubicBezTo>
                <a:cubicBezTo>
                  <a:pt x="202" y="43"/>
                  <a:pt x="202" y="43"/>
                  <a:pt x="201" y="43"/>
                </a:cubicBezTo>
                <a:lnTo>
                  <a:pt x="201" y="39"/>
                </a:lnTo>
                <a:cubicBezTo>
                  <a:pt x="203" y="37"/>
                  <a:pt x="203" y="35"/>
                  <a:pt x="204" y="33"/>
                </a:cubicBezTo>
                <a:cubicBezTo>
                  <a:pt x="203" y="31"/>
                  <a:pt x="202" y="30"/>
                  <a:pt x="202" y="30"/>
                </a:cubicBezTo>
                <a:cubicBezTo>
                  <a:pt x="199" y="30"/>
                  <a:pt x="196" y="31"/>
                  <a:pt x="193" y="33"/>
                </a:cubicBezTo>
                <a:cubicBezTo>
                  <a:pt x="190" y="35"/>
                  <a:pt x="188" y="36"/>
                  <a:pt x="186" y="36"/>
                </a:cubicBezTo>
                <a:cubicBezTo>
                  <a:pt x="185" y="36"/>
                  <a:pt x="184" y="35"/>
                  <a:pt x="182" y="33"/>
                </a:cubicBezTo>
                <a:cubicBezTo>
                  <a:pt x="181" y="32"/>
                  <a:pt x="179" y="31"/>
                  <a:pt x="178" y="31"/>
                </a:cubicBezTo>
                <a:cubicBezTo>
                  <a:pt x="176" y="31"/>
                  <a:pt x="175" y="31"/>
                  <a:pt x="173" y="30"/>
                </a:cubicBezTo>
                <a:cubicBezTo>
                  <a:pt x="171" y="30"/>
                  <a:pt x="170" y="28"/>
                  <a:pt x="170" y="25"/>
                </a:cubicBezTo>
                <a:cubicBezTo>
                  <a:pt x="170" y="25"/>
                  <a:pt x="171" y="24"/>
                  <a:pt x="173" y="23"/>
                </a:cubicBezTo>
                <a:cubicBezTo>
                  <a:pt x="172" y="22"/>
                  <a:pt x="167" y="22"/>
                  <a:pt x="159" y="21"/>
                </a:cubicBezTo>
                <a:cubicBezTo>
                  <a:pt x="153" y="20"/>
                  <a:pt x="150" y="18"/>
                  <a:pt x="148" y="15"/>
                </a:cubicBezTo>
                <a:cubicBezTo>
                  <a:pt x="147" y="13"/>
                  <a:pt x="144" y="11"/>
                  <a:pt x="140" y="8"/>
                </a:cubicBezTo>
                <a:cubicBezTo>
                  <a:pt x="135" y="4"/>
                  <a:pt x="131" y="2"/>
                  <a:pt x="128" y="2"/>
                </a:cubicBezTo>
                <a:cubicBezTo>
                  <a:pt x="126" y="2"/>
                  <a:pt x="124" y="2"/>
                  <a:pt x="122" y="4"/>
                </a:cubicBezTo>
                <a:cubicBezTo>
                  <a:pt x="120" y="5"/>
                  <a:pt x="118" y="6"/>
                  <a:pt x="117" y="6"/>
                </a:cubicBezTo>
                <a:cubicBezTo>
                  <a:pt x="116" y="6"/>
                  <a:pt x="113" y="5"/>
                  <a:pt x="111" y="3"/>
                </a:cubicBezTo>
                <a:cubicBezTo>
                  <a:pt x="108" y="1"/>
                  <a:pt x="107" y="0"/>
                  <a:pt x="106" y="0"/>
                </a:cubicBezTo>
                <a:cubicBezTo>
                  <a:pt x="106" y="0"/>
                  <a:pt x="104" y="1"/>
                  <a:pt x="101" y="3"/>
                </a:cubicBezTo>
                <a:cubicBezTo>
                  <a:pt x="98" y="5"/>
                  <a:pt x="96" y="6"/>
                  <a:pt x="96" y="7"/>
                </a:cubicBezTo>
                <a:cubicBezTo>
                  <a:pt x="95" y="9"/>
                  <a:pt x="93" y="9"/>
                  <a:pt x="90" y="9"/>
                </a:cubicBezTo>
                <a:cubicBezTo>
                  <a:pt x="86" y="9"/>
                  <a:pt x="83" y="9"/>
                  <a:pt x="81" y="10"/>
                </a:cubicBezTo>
                <a:cubicBezTo>
                  <a:pt x="78" y="11"/>
                  <a:pt x="75" y="14"/>
                  <a:pt x="72" y="19"/>
                </a:cubicBezTo>
                <a:cubicBezTo>
                  <a:pt x="69" y="24"/>
                  <a:pt x="65" y="26"/>
                  <a:pt x="60" y="25"/>
                </a:cubicBezTo>
                <a:cubicBezTo>
                  <a:pt x="55" y="24"/>
                  <a:pt x="52" y="23"/>
                  <a:pt x="51" y="23"/>
                </a:cubicBezTo>
                <a:cubicBezTo>
                  <a:pt x="49" y="23"/>
                  <a:pt x="46" y="24"/>
                  <a:pt x="43" y="27"/>
                </a:cubicBezTo>
                <a:cubicBezTo>
                  <a:pt x="39" y="29"/>
                  <a:pt x="37" y="30"/>
                  <a:pt x="36" y="30"/>
                </a:cubicBezTo>
                <a:cubicBezTo>
                  <a:pt x="34" y="30"/>
                  <a:pt x="33" y="29"/>
                  <a:pt x="32" y="28"/>
                </a:cubicBezTo>
                <a:cubicBezTo>
                  <a:pt x="31" y="27"/>
                  <a:pt x="30" y="26"/>
                  <a:pt x="29" y="26"/>
                </a:cubicBezTo>
                <a:cubicBezTo>
                  <a:pt x="27" y="26"/>
                  <a:pt x="25" y="28"/>
                  <a:pt x="22" y="31"/>
                </a:cubicBezTo>
                <a:cubicBezTo>
                  <a:pt x="20" y="34"/>
                  <a:pt x="19" y="37"/>
                  <a:pt x="18" y="40"/>
                </a:cubicBezTo>
                <a:cubicBezTo>
                  <a:pt x="18" y="41"/>
                  <a:pt x="18" y="42"/>
                  <a:pt x="18" y="45"/>
                </a:cubicBezTo>
                <a:cubicBezTo>
                  <a:pt x="18" y="45"/>
                  <a:pt x="17" y="45"/>
                  <a:pt x="15" y="45"/>
                </a:cubicBezTo>
                <a:cubicBezTo>
                  <a:pt x="11" y="44"/>
                  <a:pt x="9" y="43"/>
                  <a:pt x="8" y="43"/>
                </a:cubicBezTo>
                <a:cubicBezTo>
                  <a:pt x="6" y="43"/>
                  <a:pt x="4" y="44"/>
                  <a:pt x="3" y="47"/>
                </a:cubicBezTo>
                <a:cubicBezTo>
                  <a:pt x="2" y="49"/>
                  <a:pt x="1" y="51"/>
                  <a:pt x="0" y="53"/>
                </a:cubicBezTo>
                <a:cubicBezTo>
                  <a:pt x="1" y="53"/>
                  <a:pt x="4" y="53"/>
                  <a:pt x="7" y="53"/>
                </a:cubicBezTo>
                <a:cubicBezTo>
                  <a:pt x="20" y="55"/>
                  <a:pt x="31" y="58"/>
                  <a:pt x="40" y="64"/>
                </a:cubicBezTo>
                <a:cubicBezTo>
                  <a:pt x="47" y="70"/>
                  <a:pt x="52" y="76"/>
                  <a:pt x="54" y="83"/>
                </a:cubicBezTo>
                <a:cubicBezTo>
                  <a:pt x="55" y="84"/>
                  <a:pt x="55" y="84"/>
                  <a:pt x="55" y="85"/>
                </a:cubicBezTo>
                <a:cubicBezTo>
                  <a:pt x="55" y="85"/>
                  <a:pt x="56" y="86"/>
                  <a:pt x="56" y="86"/>
                </a:cubicBezTo>
                <a:cubicBezTo>
                  <a:pt x="60" y="90"/>
                  <a:pt x="65" y="95"/>
                  <a:pt x="71" y="100"/>
                </a:cubicBezTo>
                <a:cubicBezTo>
                  <a:pt x="70" y="107"/>
                  <a:pt x="73" y="114"/>
                  <a:pt x="78" y="122"/>
                </a:cubicBezTo>
                <a:cubicBezTo>
                  <a:pt x="81" y="126"/>
                  <a:pt x="83" y="130"/>
                  <a:pt x="86" y="134"/>
                </a:cubicBezTo>
                <a:cubicBezTo>
                  <a:pt x="86" y="136"/>
                  <a:pt x="88" y="141"/>
                  <a:pt x="93" y="149"/>
                </a:cubicBezTo>
                <a:cubicBezTo>
                  <a:pt x="98" y="156"/>
                  <a:pt x="101" y="161"/>
                  <a:pt x="103" y="163"/>
                </a:cubicBezTo>
                <a:cubicBezTo>
                  <a:pt x="105" y="165"/>
                  <a:pt x="108" y="166"/>
                  <a:pt x="112" y="169"/>
                </a:cubicBezTo>
                <a:cubicBezTo>
                  <a:pt x="114" y="176"/>
                  <a:pt x="117" y="180"/>
                  <a:pt x="123" y="179"/>
                </a:cubicBezTo>
                <a:cubicBezTo>
                  <a:pt x="129" y="178"/>
                  <a:pt x="133" y="179"/>
                  <a:pt x="133" y="183"/>
                </a:cubicBezTo>
                <a:cubicBezTo>
                  <a:pt x="133" y="187"/>
                  <a:pt x="135" y="191"/>
                  <a:pt x="139" y="197"/>
                </a:cubicBezTo>
                <a:cubicBezTo>
                  <a:pt x="143" y="202"/>
                  <a:pt x="148" y="206"/>
                  <a:pt x="152" y="209"/>
                </a:cubicBezTo>
                <a:cubicBezTo>
                  <a:pt x="156" y="211"/>
                  <a:pt x="158" y="216"/>
                  <a:pt x="161" y="223"/>
                </a:cubicBezTo>
                <a:cubicBezTo>
                  <a:pt x="163" y="230"/>
                  <a:pt x="166" y="235"/>
                  <a:pt x="169" y="238"/>
                </a:cubicBezTo>
                <a:cubicBezTo>
                  <a:pt x="172" y="240"/>
                  <a:pt x="177" y="243"/>
                  <a:pt x="185" y="247"/>
                </a:cubicBezTo>
                <a:cubicBezTo>
                  <a:pt x="192" y="250"/>
                  <a:pt x="197" y="253"/>
                  <a:pt x="200" y="255"/>
                </a:cubicBezTo>
                <a:cubicBezTo>
                  <a:pt x="204" y="258"/>
                  <a:pt x="206" y="264"/>
                  <a:pt x="208" y="272"/>
                </a:cubicBezTo>
                <a:cubicBezTo>
                  <a:pt x="209" y="280"/>
                  <a:pt x="211" y="285"/>
                  <a:pt x="214" y="288"/>
                </a:cubicBezTo>
                <a:cubicBezTo>
                  <a:pt x="224" y="298"/>
                  <a:pt x="230" y="307"/>
                  <a:pt x="232" y="315"/>
                </a:cubicBezTo>
                <a:cubicBezTo>
                  <a:pt x="234" y="322"/>
                  <a:pt x="236" y="328"/>
                  <a:pt x="238" y="334"/>
                </a:cubicBezTo>
                <a:cubicBezTo>
                  <a:pt x="239" y="337"/>
                  <a:pt x="239" y="343"/>
                  <a:pt x="238" y="352"/>
                </a:cubicBezTo>
                <a:cubicBezTo>
                  <a:pt x="238" y="354"/>
                  <a:pt x="236" y="364"/>
                  <a:pt x="232" y="382"/>
                </a:cubicBezTo>
                <a:cubicBezTo>
                  <a:pt x="232" y="385"/>
                  <a:pt x="232" y="391"/>
                  <a:pt x="233" y="403"/>
                </a:cubicBezTo>
                <a:cubicBezTo>
                  <a:pt x="233" y="405"/>
                  <a:pt x="231" y="410"/>
                  <a:pt x="228" y="417"/>
                </a:cubicBezTo>
                <a:cubicBezTo>
                  <a:pt x="228" y="420"/>
                  <a:pt x="230" y="425"/>
                  <a:pt x="234" y="431"/>
                </a:cubicBezTo>
                <a:cubicBezTo>
                  <a:pt x="235" y="433"/>
                  <a:pt x="236" y="436"/>
                  <a:pt x="236" y="440"/>
                </a:cubicBezTo>
                <a:cubicBezTo>
                  <a:pt x="235" y="445"/>
                  <a:pt x="236" y="449"/>
                  <a:pt x="236" y="451"/>
                </a:cubicBezTo>
                <a:cubicBezTo>
                  <a:pt x="238" y="454"/>
                  <a:pt x="240" y="460"/>
                  <a:pt x="245" y="468"/>
                </a:cubicBezTo>
                <a:cubicBezTo>
                  <a:pt x="247" y="472"/>
                  <a:pt x="248" y="477"/>
                  <a:pt x="247" y="485"/>
                </a:cubicBezTo>
                <a:cubicBezTo>
                  <a:pt x="247" y="487"/>
                  <a:pt x="246" y="489"/>
                  <a:pt x="244" y="492"/>
                </a:cubicBezTo>
                <a:cubicBezTo>
                  <a:pt x="242" y="495"/>
                  <a:pt x="241" y="497"/>
                  <a:pt x="241" y="499"/>
                </a:cubicBezTo>
                <a:cubicBezTo>
                  <a:pt x="241" y="501"/>
                  <a:pt x="247" y="508"/>
                  <a:pt x="259" y="520"/>
                </a:cubicBezTo>
                <a:cubicBezTo>
                  <a:pt x="260" y="519"/>
                  <a:pt x="262" y="517"/>
                  <a:pt x="263" y="514"/>
                </a:cubicBezTo>
                <a:cubicBezTo>
                  <a:pt x="266" y="510"/>
                  <a:pt x="269" y="508"/>
                  <a:pt x="273" y="508"/>
                </a:cubicBezTo>
                <a:cubicBezTo>
                  <a:pt x="277" y="508"/>
                  <a:pt x="282" y="508"/>
                  <a:pt x="290" y="509"/>
                </a:cubicBezTo>
                <a:cubicBezTo>
                  <a:pt x="295" y="509"/>
                  <a:pt x="298" y="507"/>
                  <a:pt x="299" y="503"/>
                </a:cubicBezTo>
                <a:cubicBezTo>
                  <a:pt x="299" y="503"/>
                  <a:pt x="296" y="494"/>
                  <a:pt x="291" y="476"/>
                </a:cubicBezTo>
                <a:cubicBezTo>
                  <a:pt x="291" y="474"/>
                  <a:pt x="293" y="473"/>
                  <a:pt x="296" y="471"/>
                </a:cubicBezTo>
                <a:cubicBezTo>
                  <a:pt x="299" y="470"/>
                  <a:pt x="301" y="468"/>
                  <a:pt x="301" y="467"/>
                </a:cubicBezTo>
                <a:cubicBezTo>
                  <a:pt x="300" y="464"/>
                  <a:pt x="300" y="462"/>
                  <a:pt x="300" y="461"/>
                </a:cubicBezTo>
                <a:cubicBezTo>
                  <a:pt x="300" y="460"/>
                  <a:pt x="303" y="458"/>
                  <a:pt x="308" y="454"/>
                </a:cubicBezTo>
                <a:cubicBezTo>
                  <a:pt x="312" y="451"/>
                  <a:pt x="315" y="447"/>
                  <a:pt x="315" y="443"/>
                </a:cubicBezTo>
                <a:cubicBezTo>
                  <a:pt x="316" y="443"/>
                  <a:pt x="316" y="442"/>
                  <a:pt x="316" y="442"/>
                </a:cubicBezTo>
                <a:cubicBezTo>
                  <a:pt x="316" y="441"/>
                  <a:pt x="316" y="440"/>
                  <a:pt x="316" y="439"/>
                </a:cubicBezTo>
                <a:cubicBezTo>
                  <a:pt x="316" y="437"/>
                  <a:pt x="316" y="436"/>
                  <a:pt x="315" y="434"/>
                </a:cubicBezTo>
                <a:cubicBezTo>
                  <a:pt x="314" y="431"/>
                  <a:pt x="314" y="427"/>
                  <a:pt x="314" y="422"/>
                </a:cubicBezTo>
                <a:cubicBezTo>
                  <a:pt x="315" y="418"/>
                  <a:pt x="319" y="414"/>
                  <a:pt x="326" y="411"/>
                </a:cubicBezTo>
                <a:cubicBezTo>
                  <a:pt x="330" y="410"/>
                  <a:pt x="334" y="408"/>
                  <a:pt x="340" y="406"/>
                </a:cubicBezTo>
                <a:cubicBezTo>
                  <a:pt x="338" y="403"/>
                  <a:pt x="337" y="401"/>
                  <a:pt x="337" y="400"/>
                </a:cubicBezTo>
                <a:cubicBezTo>
                  <a:pt x="336" y="398"/>
                  <a:pt x="335" y="395"/>
                  <a:pt x="336" y="393"/>
                </a:cubicBezTo>
                <a:cubicBezTo>
                  <a:pt x="336" y="391"/>
                  <a:pt x="337" y="389"/>
                  <a:pt x="339" y="386"/>
                </a:cubicBezTo>
                <a:cubicBezTo>
                  <a:pt x="342" y="383"/>
                  <a:pt x="343" y="381"/>
                  <a:pt x="343" y="380"/>
                </a:cubicBezTo>
                <a:cubicBezTo>
                  <a:pt x="343" y="379"/>
                  <a:pt x="342" y="378"/>
                  <a:pt x="341" y="375"/>
                </a:cubicBezTo>
                <a:cubicBezTo>
                  <a:pt x="340" y="373"/>
                  <a:pt x="338" y="371"/>
                  <a:pt x="338" y="370"/>
                </a:cubicBezTo>
                <a:cubicBezTo>
                  <a:pt x="338" y="369"/>
                  <a:pt x="334" y="367"/>
                  <a:pt x="328" y="364"/>
                </a:cubicBezTo>
                <a:cubicBezTo>
                  <a:pt x="327" y="364"/>
                  <a:pt x="325" y="360"/>
                  <a:pt x="324" y="354"/>
                </a:cubicBezTo>
                <a:cubicBezTo>
                  <a:pt x="322" y="348"/>
                  <a:pt x="322" y="344"/>
                  <a:pt x="322" y="342"/>
                </a:cubicBezTo>
                <a:cubicBezTo>
                  <a:pt x="323" y="339"/>
                  <a:pt x="324" y="337"/>
                  <a:pt x="324" y="336"/>
                </a:cubicBezTo>
                <a:cubicBezTo>
                  <a:pt x="324" y="333"/>
                  <a:pt x="328" y="329"/>
                  <a:pt x="334" y="322"/>
                </a:cubicBezTo>
                <a:cubicBezTo>
                  <a:pt x="336" y="321"/>
                  <a:pt x="338" y="319"/>
                  <a:pt x="341" y="317"/>
                </a:cubicBezTo>
                <a:cubicBezTo>
                  <a:pt x="345" y="314"/>
                  <a:pt x="348" y="313"/>
                  <a:pt x="350" y="313"/>
                </a:cubicBezTo>
                <a:cubicBezTo>
                  <a:pt x="353" y="314"/>
                  <a:pt x="356" y="317"/>
                  <a:pt x="357" y="324"/>
                </a:cubicBezTo>
                <a:cubicBezTo>
                  <a:pt x="359" y="330"/>
                  <a:pt x="360" y="334"/>
                  <a:pt x="363" y="334"/>
                </a:cubicBezTo>
                <a:cubicBezTo>
                  <a:pt x="364" y="332"/>
                  <a:pt x="365" y="330"/>
                  <a:pt x="367" y="326"/>
                </a:cubicBezTo>
                <a:cubicBezTo>
                  <a:pt x="370" y="323"/>
                  <a:pt x="372" y="321"/>
                  <a:pt x="373" y="321"/>
                </a:cubicBezTo>
                <a:cubicBezTo>
                  <a:pt x="374" y="321"/>
                  <a:pt x="376" y="323"/>
                  <a:pt x="380" y="326"/>
                </a:cubicBezTo>
                <a:cubicBezTo>
                  <a:pt x="381" y="322"/>
                  <a:pt x="382" y="320"/>
                  <a:pt x="382" y="319"/>
                </a:cubicBezTo>
                <a:cubicBezTo>
                  <a:pt x="382" y="319"/>
                  <a:pt x="384" y="319"/>
                  <a:pt x="387" y="319"/>
                </a:cubicBezTo>
                <a:cubicBezTo>
                  <a:pt x="388" y="320"/>
                  <a:pt x="392" y="321"/>
                  <a:pt x="397" y="325"/>
                </a:cubicBezTo>
                <a:cubicBezTo>
                  <a:pt x="402" y="329"/>
                  <a:pt x="406" y="331"/>
                  <a:pt x="407" y="331"/>
                </a:cubicBezTo>
                <a:cubicBezTo>
                  <a:pt x="411" y="331"/>
                  <a:pt x="414" y="329"/>
                  <a:pt x="415" y="324"/>
                </a:cubicBezTo>
                <a:cubicBezTo>
                  <a:pt x="416" y="319"/>
                  <a:pt x="418" y="316"/>
                  <a:pt x="420" y="316"/>
                </a:cubicBezTo>
                <a:cubicBezTo>
                  <a:pt x="422" y="317"/>
                  <a:pt x="427" y="321"/>
                  <a:pt x="433" y="330"/>
                </a:cubicBezTo>
                <a:cubicBezTo>
                  <a:pt x="442" y="327"/>
                  <a:pt x="454" y="324"/>
                  <a:pt x="470" y="319"/>
                </a:cubicBezTo>
                <a:cubicBezTo>
                  <a:pt x="470" y="317"/>
                  <a:pt x="468" y="315"/>
                  <a:pt x="463" y="314"/>
                </a:cubicBezTo>
                <a:lnTo>
                  <a:pt x="463" y="3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 57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 58"/>
          <p:cNvSpPr/>
          <p:nvPr/>
        </p:nvSpPr>
        <p:spPr bwMode="auto">
          <a:xfrm>
            <a:off x="7791251" y="1846542"/>
            <a:ext cx="12228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reeform 59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reeform 60"/>
          <p:cNvSpPr/>
          <p:nvPr/>
        </p:nvSpPr>
        <p:spPr bwMode="auto">
          <a:xfrm>
            <a:off x="7808720" y="1836061"/>
            <a:ext cx="20962" cy="22709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reeform 61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Freeform 62"/>
          <p:cNvSpPr/>
          <p:nvPr/>
        </p:nvSpPr>
        <p:spPr bwMode="auto">
          <a:xfrm>
            <a:off x="7724870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Freeform 63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reeform 64"/>
          <p:cNvSpPr/>
          <p:nvPr/>
        </p:nvSpPr>
        <p:spPr bwMode="auto">
          <a:xfrm>
            <a:off x="7749326" y="1968822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Freeform 65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Freeform 66"/>
          <p:cNvSpPr/>
          <p:nvPr/>
        </p:nvSpPr>
        <p:spPr bwMode="auto">
          <a:xfrm>
            <a:off x="7808720" y="1869251"/>
            <a:ext cx="8734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Freeform 67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Freeform 68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Freeform 69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reeform 70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Freeform 71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Freeform 72"/>
          <p:cNvSpPr/>
          <p:nvPr/>
        </p:nvSpPr>
        <p:spPr bwMode="auto">
          <a:xfrm>
            <a:off x="7550184" y="2047431"/>
            <a:ext cx="15722" cy="26203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Freeform 73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Freeform 74"/>
          <p:cNvSpPr/>
          <p:nvPr/>
        </p:nvSpPr>
        <p:spPr bwMode="auto">
          <a:xfrm flipH="1">
            <a:off x="7564159" y="2073634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Freeform 75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reeform 76"/>
          <p:cNvSpPr/>
          <p:nvPr/>
        </p:nvSpPr>
        <p:spPr bwMode="auto">
          <a:xfrm>
            <a:off x="7564159" y="2077128"/>
            <a:ext cx="8734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Freeform 77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Freeform 78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Freeform 79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 80"/>
          <p:cNvSpPr/>
          <p:nvPr/>
        </p:nvSpPr>
        <p:spPr bwMode="auto">
          <a:xfrm>
            <a:off x="7537956" y="2078875"/>
            <a:ext cx="13975" cy="12228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 81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Freeform 82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 83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 84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Freeform 85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 86"/>
          <p:cNvSpPr/>
          <p:nvPr/>
        </p:nvSpPr>
        <p:spPr bwMode="auto">
          <a:xfrm>
            <a:off x="7578134" y="2096344"/>
            <a:ext cx="8734" cy="8734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 87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 88"/>
          <p:cNvSpPr/>
          <p:nvPr/>
        </p:nvSpPr>
        <p:spPr bwMode="auto">
          <a:xfrm>
            <a:off x="7494284" y="2115559"/>
            <a:ext cx="17469" cy="33190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 89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Freeform 90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Freeform 91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92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 93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 94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Freeform 95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Freeform 96"/>
          <p:cNvSpPr/>
          <p:nvPr/>
        </p:nvSpPr>
        <p:spPr bwMode="auto">
          <a:xfrm>
            <a:off x="7576387" y="3579434"/>
            <a:ext cx="20962" cy="15722"/>
          </a:xfrm>
          <a:custGeom>
            <a:avLst/>
            <a:gdLst>
              <a:gd name="T0" fmla="*/ 13 w 19"/>
              <a:gd name="T1" fmla="*/ 5 h 15"/>
              <a:gd name="T2" fmla="*/ 13 w 19"/>
              <a:gd name="T3" fmla="*/ 5 h 15"/>
              <a:gd name="T4" fmla="*/ 19 w 19"/>
              <a:gd name="T5" fmla="*/ 14 h 15"/>
              <a:gd name="T6" fmla="*/ 15 w 19"/>
              <a:gd name="T7" fmla="*/ 15 h 15"/>
              <a:gd name="T8" fmla="*/ 11 w 19"/>
              <a:gd name="T9" fmla="*/ 14 h 15"/>
              <a:gd name="T10" fmla="*/ 6 w 19"/>
              <a:gd name="T11" fmla="*/ 10 h 15"/>
              <a:gd name="T12" fmla="*/ 0 w 19"/>
              <a:gd name="T13" fmla="*/ 3 h 15"/>
              <a:gd name="T14" fmla="*/ 5 w 19"/>
              <a:gd name="T15" fmla="*/ 0 h 15"/>
              <a:gd name="T16" fmla="*/ 13 w 19"/>
              <a:gd name="T17" fmla="*/ 5 h 15"/>
              <a:gd name="T18" fmla="*/ 13 w 19"/>
              <a:gd name="T19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" h="15">
                <a:moveTo>
                  <a:pt x="13" y="5"/>
                </a:moveTo>
                <a:lnTo>
                  <a:pt x="13" y="5"/>
                </a:lnTo>
                <a:cubicBezTo>
                  <a:pt x="15" y="8"/>
                  <a:pt x="17" y="10"/>
                  <a:pt x="19" y="14"/>
                </a:cubicBezTo>
                <a:cubicBezTo>
                  <a:pt x="17" y="15"/>
                  <a:pt x="16" y="15"/>
                  <a:pt x="15" y="15"/>
                </a:cubicBezTo>
                <a:cubicBezTo>
                  <a:pt x="14" y="15"/>
                  <a:pt x="13" y="15"/>
                  <a:pt x="11" y="14"/>
                </a:cubicBezTo>
                <a:cubicBezTo>
                  <a:pt x="10" y="13"/>
                  <a:pt x="8" y="12"/>
                  <a:pt x="6" y="10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5" y="0"/>
                </a:cubicBezTo>
                <a:cubicBezTo>
                  <a:pt x="8" y="1"/>
                  <a:pt x="11" y="2"/>
                  <a:pt x="13" y="5"/>
                </a:cubicBezTo>
                <a:lnTo>
                  <a:pt x="13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 97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 98"/>
          <p:cNvSpPr/>
          <p:nvPr/>
        </p:nvSpPr>
        <p:spPr bwMode="auto">
          <a:xfrm>
            <a:off x="7288154" y="3644068"/>
            <a:ext cx="52406" cy="33190"/>
          </a:xfrm>
          <a:custGeom>
            <a:avLst/>
            <a:gdLst>
              <a:gd name="T0" fmla="*/ 7 w 50"/>
              <a:gd name="T1" fmla="*/ 5 h 32"/>
              <a:gd name="T2" fmla="*/ 7 w 50"/>
              <a:gd name="T3" fmla="*/ 5 h 32"/>
              <a:gd name="T4" fmla="*/ 12 w 50"/>
              <a:gd name="T5" fmla="*/ 6 h 32"/>
              <a:gd name="T6" fmla="*/ 18 w 50"/>
              <a:gd name="T7" fmla="*/ 3 h 32"/>
              <a:gd name="T8" fmla="*/ 22 w 50"/>
              <a:gd name="T9" fmla="*/ 1 h 32"/>
              <a:gd name="T10" fmla="*/ 25 w 50"/>
              <a:gd name="T11" fmla="*/ 0 h 32"/>
              <a:gd name="T12" fmla="*/ 37 w 50"/>
              <a:gd name="T13" fmla="*/ 7 h 32"/>
              <a:gd name="T14" fmla="*/ 50 w 50"/>
              <a:gd name="T15" fmla="*/ 18 h 32"/>
              <a:gd name="T16" fmla="*/ 50 w 50"/>
              <a:gd name="T17" fmla="*/ 18 h 32"/>
              <a:gd name="T18" fmla="*/ 45 w 50"/>
              <a:gd name="T19" fmla="*/ 22 h 32"/>
              <a:gd name="T20" fmla="*/ 39 w 50"/>
              <a:gd name="T21" fmla="*/ 26 h 32"/>
              <a:gd name="T22" fmla="*/ 35 w 50"/>
              <a:gd name="T23" fmla="*/ 30 h 32"/>
              <a:gd name="T24" fmla="*/ 27 w 50"/>
              <a:gd name="T25" fmla="*/ 32 h 32"/>
              <a:gd name="T26" fmla="*/ 12 w 50"/>
              <a:gd name="T27" fmla="*/ 23 h 32"/>
              <a:gd name="T28" fmla="*/ 0 w 50"/>
              <a:gd name="T29" fmla="*/ 12 h 32"/>
              <a:gd name="T30" fmla="*/ 3 w 50"/>
              <a:gd name="T31" fmla="*/ 7 h 32"/>
              <a:gd name="T32" fmla="*/ 7 w 50"/>
              <a:gd name="T33" fmla="*/ 5 h 32"/>
              <a:gd name="T34" fmla="*/ 7 w 50"/>
              <a:gd name="T35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32">
                <a:moveTo>
                  <a:pt x="7" y="5"/>
                </a:moveTo>
                <a:lnTo>
                  <a:pt x="7" y="5"/>
                </a:lnTo>
                <a:cubicBezTo>
                  <a:pt x="8" y="5"/>
                  <a:pt x="9" y="6"/>
                  <a:pt x="12" y="6"/>
                </a:cubicBezTo>
                <a:cubicBezTo>
                  <a:pt x="14" y="6"/>
                  <a:pt x="16" y="6"/>
                  <a:pt x="18" y="3"/>
                </a:cubicBezTo>
                <a:cubicBezTo>
                  <a:pt x="19" y="2"/>
                  <a:pt x="20" y="1"/>
                  <a:pt x="22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26" y="0"/>
                  <a:pt x="31" y="3"/>
                  <a:pt x="37" y="7"/>
                </a:cubicBezTo>
                <a:cubicBezTo>
                  <a:pt x="45" y="11"/>
                  <a:pt x="49" y="15"/>
                  <a:pt x="50" y="18"/>
                </a:cubicBezTo>
                <a:lnTo>
                  <a:pt x="50" y="18"/>
                </a:lnTo>
                <a:cubicBezTo>
                  <a:pt x="50" y="21"/>
                  <a:pt x="49" y="22"/>
                  <a:pt x="45" y="22"/>
                </a:cubicBezTo>
                <a:cubicBezTo>
                  <a:pt x="41" y="22"/>
                  <a:pt x="39" y="24"/>
                  <a:pt x="39" y="26"/>
                </a:cubicBezTo>
                <a:cubicBezTo>
                  <a:pt x="40" y="27"/>
                  <a:pt x="38" y="29"/>
                  <a:pt x="35" y="30"/>
                </a:cubicBezTo>
                <a:cubicBezTo>
                  <a:pt x="32" y="32"/>
                  <a:pt x="29" y="32"/>
                  <a:pt x="27" y="32"/>
                </a:cubicBezTo>
                <a:cubicBezTo>
                  <a:pt x="26" y="32"/>
                  <a:pt x="21" y="29"/>
                  <a:pt x="12" y="23"/>
                </a:cubicBezTo>
                <a:cubicBezTo>
                  <a:pt x="4" y="16"/>
                  <a:pt x="0" y="13"/>
                  <a:pt x="0" y="12"/>
                </a:cubicBezTo>
                <a:cubicBezTo>
                  <a:pt x="0" y="10"/>
                  <a:pt x="1" y="9"/>
                  <a:pt x="3" y="7"/>
                </a:cubicBezTo>
                <a:cubicBezTo>
                  <a:pt x="5" y="6"/>
                  <a:pt x="6" y="5"/>
                  <a:pt x="7" y="5"/>
                </a:cubicBezTo>
                <a:lnTo>
                  <a:pt x="7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 99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Freeform 100"/>
          <p:cNvSpPr/>
          <p:nvPr/>
        </p:nvSpPr>
        <p:spPr bwMode="auto">
          <a:xfrm flipH="1">
            <a:off x="7340560" y="3663283"/>
            <a:ext cx="0" cy="1747"/>
          </a:xfrm>
          <a:custGeom>
            <a:avLst/>
            <a:gdLst>
              <a:gd name="T0" fmla="*/ 0 h 1"/>
              <a:gd name="T1" fmla="*/ 0 h 1"/>
              <a:gd name="T2" fmla="*/ 0 h 1"/>
              <a:gd name="T3" fmla="*/ 1 h 1"/>
              <a:gd name="T4" fmla="*/ 0 h 1"/>
              <a:gd name="T5" fmla="*/ 0 h 1"/>
              <a:gd name="T6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Freeform 101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Freeform 102"/>
          <p:cNvSpPr/>
          <p:nvPr/>
        </p:nvSpPr>
        <p:spPr bwMode="auto">
          <a:xfrm>
            <a:off x="7134429" y="3888629"/>
            <a:ext cx="26203" cy="20962"/>
          </a:xfrm>
          <a:custGeom>
            <a:avLst/>
            <a:gdLst>
              <a:gd name="T0" fmla="*/ 9 w 25"/>
              <a:gd name="T1" fmla="*/ 1 h 20"/>
              <a:gd name="T2" fmla="*/ 9 w 25"/>
              <a:gd name="T3" fmla="*/ 1 h 20"/>
              <a:gd name="T4" fmla="*/ 12 w 25"/>
              <a:gd name="T5" fmla="*/ 2 h 20"/>
              <a:gd name="T6" fmla="*/ 20 w 25"/>
              <a:gd name="T7" fmla="*/ 8 h 20"/>
              <a:gd name="T8" fmla="*/ 25 w 25"/>
              <a:gd name="T9" fmla="*/ 16 h 20"/>
              <a:gd name="T10" fmla="*/ 21 w 25"/>
              <a:gd name="T11" fmla="*/ 19 h 20"/>
              <a:gd name="T12" fmla="*/ 10 w 25"/>
              <a:gd name="T13" fmla="*/ 14 h 20"/>
              <a:gd name="T14" fmla="*/ 2 w 25"/>
              <a:gd name="T15" fmla="*/ 13 h 20"/>
              <a:gd name="T16" fmla="*/ 1 w 25"/>
              <a:gd name="T17" fmla="*/ 8 h 20"/>
              <a:gd name="T18" fmla="*/ 3 w 25"/>
              <a:gd name="T19" fmla="*/ 3 h 20"/>
              <a:gd name="T20" fmla="*/ 9 w 25"/>
              <a:gd name="T21" fmla="*/ 1 h 20"/>
              <a:gd name="T22" fmla="*/ 9 w 25"/>
              <a:gd name="T23" fmla="*/ 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0">
                <a:moveTo>
                  <a:pt x="9" y="1"/>
                </a:moveTo>
                <a:lnTo>
                  <a:pt x="9" y="1"/>
                </a:lnTo>
                <a:cubicBezTo>
                  <a:pt x="10" y="2"/>
                  <a:pt x="12" y="2"/>
                  <a:pt x="12" y="2"/>
                </a:cubicBezTo>
                <a:cubicBezTo>
                  <a:pt x="14" y="3"/>
                  <a:pt x="16" y="5"/>
                  <a:pt x="20" y="8"/>
                </a:cubicBezTo>
                <a:cubicBezTo>
                  <a:pt x="23" y="11"/>
                  <a:pt x="25" y="14"/>
                  <a:pt x="25" y="16"/>
                </a:cubicBezTo>
                <a:cubicBezTo>
                  <a:pt x="24" y="19"/>
                  <a:pt x="23" y="20"/>
                  <a:pt x="21" y="19"/>
                </a:cubicBezTo>
                <a:cubicBezTo>
                  <a:pt x="19" y="19"/>
                  <a:pt x="15" y="18"/>
                  <a:pt x="10" y="14"/>
                </a:cubicBezTo>
                <a:cubicBezTo>
                  <a:pt x="8" y="13"/>
                  <a:pt x="6" y="13"/>
                  <a:pt x="2" y="13"/>
                </a:cubicBezTo>
                <a:cubicBezTo>
                  <a:pt x="1" y="12"/>
                  <a:pt x="0" y="11"/>
                  <a:pt x="1" y="8"/>
                </a:cubicBezTo>
                <a:cubicBezTo>
                  <a:pt x="1" y="6"/>
                  <a:pt x="1" y="4"/>
                  <a:pt x="3" y="3"/>
                </a:cubicBezTo>
                <a:cubicBezTo>
                  <a:pt x="4" y="1"/>
                  <a:pt x="6" y="0"/>
                  <a:pt x="9" y="1"/>
                </a:cubicBezTo>
                <a:lnTo>
                  <a:pt x="9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 103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 104"/>
          <p:cNvSpPr/>
          <p:nvPr/>
        </p:nvSpPr>
        <p:spPr bwMode="auto">
          <a:xfrm>
            <a:off x="7094252" y="3834476"/>
            <a:ext cx="17469" cy="13975"/>
          </a:xfrm>
          <a:custGeom>
            <a:avLst/>
            <a:gdLst>
              <a:gd name="T0" fmla="*/ 17 w 17"/>
              <a:gd name="T1" fmla="*/ 8 h 13"/>
              <a:gd name="T2" fmla="*/ 17 w 17"/>
              <a:gd name="T3" fmla="*/ 8 h 13"/>
              <a:gd name="T4" fmla="*/ 14 w 17"/>
              <a:gd name="T5" fmla="*/ 11 h 13"/>
              <a:gd name="T6" fmla="*/ 9 w 17"/>
              <a:gd name="T7" fmla="*/ 13 h 13"/>
              <a:gd name="T8" fmla="*/ 3 w 17"/>
              <a:gd name="T9" fmla="*/ 10 h 13"/>
              <a:gd name="T10" fmla="*/ 0 w 17"/>
              <a:gd name="T11" fmla="*/ 6 h 13"/>
              <a:gd name="T12" fmla="*/ 16 w 17"/>
              <a:gd name="T13" fmla="*/ 0 h 13"/>
              <a:gd name="T14" fmla="*/ 17 w 17"/>
              <a:gd name="T15" fmla="*/ 8 h 13"/>
              <a:gd name="T16" fmla="*/ 17 w 17"/>
              <a:gd name="T17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13">
                <a:moveTo>
                  <a:pt x="17" y="8"/>
                </a:moveTo>
                <a:lnTo>
                  <a:pt x="17" y="8"/>
                </a:lnTo>
                <a:cubicBezTo>
                  <a:pt x="17" y="9"/>
                  <a:pt x="16" y="10"/>
                  <a:pt x="14" y="11"/>
                </a:cubicBezTo>
                <a:cubicBezTo>
                  <a:pt x="12" y="12"/>
                  <a:pt x="10" y="13"/>
                  <a:pt x="9" y="13"/>
                </a:cubicBezTo>
                <a:cubicBezTo>
                  <a:pt x="7" y="12"/>
                  <a:pt x="5" y="12"/>
                  <a:pt x="3" y="10"/>
                </a:cubicBezTo>
                <a:cubicBezTo>
                  <a:pt x="1" y="9"/>
                  <a:pt x="0" y="7"/>
                  <a:pt x="0" y="6"/>
                </a:cubicBezTo>
                <a:lnTo>
                  <a:pt x="16" y="0"/>
                </a:lnTo>
                <a:cubicBezTo>
                  <a:pt x="15" y="1"/>
                  <a:pt x="15" y="4"/>
                  <a:pt x="17" y="8"/>
                </a:cubicBezTo>
                <a:lnTo>
                  <a:pt x="17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Freeform 105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Freeform 106"/>
          <p:cNvSpPr/>
          <p:nvPr/>
        </p:nvSpPr>
        <p:spPr bwMode="auto">
          <a:xfrm>
            <a:off x="6778069" y="2676303"/>
            <a:ext cx="279499" cy="232333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Freeform 107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Freeform 108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Freeform 109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Freeform 110"/>
          <p:cNvSpPr/>
          <p:nvPr/>
        </p:nvSpPr>
        <p:spPr bwMode="auto">
          <a:xfrm>
            <a:off x="7106480" y="2896409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Freeform 111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Freeform 112"/>
          <p:cNvSpPr/>
          <p:nvPr/>
        </p:nvSpPr>
        <p:spPr bwMode="auto">
          <a:xfrm>
            <a:off x="7123948" y="2636126"/>
            <a:ext cx="26203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Freeform 113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Freeform 114"/>
          <p:cNvSpPr/>
          <p:nvPr/>
        </p:nvSpPr>
        <p:spPr bwMode="auto">
          <a:xfrm>
            <a:off x="7017389" y="2678050"/>
            <a:ext cx="12228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Freeform 115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Freeform 116"/>
          <p:cNvSpPr/>
          <p:nvPr/>
        </p:nvSpPr>
        <p:spPr bwMode="auto">
          <a:xfrm>
            <a:off x="7022630" y="2569745"/>
            <a:ext cx="47165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Freeform 117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Freeform 118"/>
          <p:cNvSpPr/>
          <p:nvPr/>
        </p:nvSpPr>
        <p:spPr bwMode="auto">
          <a:xfrm>
            <a:off x="7130936" y="2531313"/>
            <a:ext cx="8734" cy="12228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Freeform 119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Freeform 120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Freeform 121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8" name="Freeform 122"/>
          <p:cNvSpPr/>
          <p:nvPr/>
        </p:nvSpPr>
        <p:spPr bwMode="auto">
          <a:xfrm>
            <a:off x="7162379" y="2609923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Freeform 123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Freeform 124"/>
          <p:cNvSpPr/>
          <p:nvPr/>
        </p:nvSpPr>
        <p:spPr bwMode="auto">
          <a:xfrm>
            <a:off x="7162379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Freeform 125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Freeform 126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Freeform 127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Freeform 128"/>
          <p:cNvSpPr/>
          <p:nvPr/>
        </p:nvSpPr>
        <p:spPr bwMode="auto">
          <a:xfrm>
            <a:off x="7188582" y="2349639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Freeform 129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Freeform 130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8" name="Freeform 131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Freeform 132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Freeform 133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Freeform 134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Freeform 135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" name="Freeform 136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" name="Freeform 137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5" name="Freeform 138"/>
          <p:cNvSpPr/>
          <p:nvPr/>
        </p:nvSpPr>
        <p:spPr bwMode="auto">
          <a:xfrm>
            <a:off x="7094252" y="2354880"/>
            <a:ext cx="12228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Freeform 139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Freeform 140"/>
          <p:cNvSpPr/>
          <p:nvPr/>
        </p:nvSpPr>
        <p:spPr bwMode="auto">
          <a:xfrm>
            <a:off x="7055821" y="2424755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Freeform 141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Freeform 142"/>
          <p:cNvSpPr/>
          <p:nvPr/>
        </p:nvSpPr>
        <p:spPr bwMode="auto">
          <a:xfrm>
            <a:off x="7020883" y="2440476"/>
            <a:ext cx="22709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Freeform 143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1" name="Freeform 144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" name="Freeform 145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Freeform 146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" name="Freeform 147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5" name="Freeform 148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Freeform 149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7" name="Freeform 150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Freeform 151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Freeform 152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0" name="Freeform 153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1" name="Freeform 154"/>
          <p:cNvSpPr/>
          <p:nvPr/>
        </p:nvSpPr>
        <p:spPr bwMode="auto">
          <a:xfrm>
            <a:off x="7057567" y="2244827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" name="Freeform 155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3" name="Freeform 156"/>
          <p:cNvSpPr/>
          <p:nvPr/>
        </p:nvSpPr>
        <p:spPr bwMode="auto">
          <a:xfrm>
            <a:off x="7036605" y="2220371"/>
            <a:ext cx="38431" cy="26203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Freeform 157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5" name="Freeform 158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6" name="Freeform 159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Freeform 160"/>
          <p:cNvSpPr/>
          <p:nvPr/>
        </p:nvSpPr>
        <p:spPr bwMode="auto">
          <a:xfrm>
            <a:off x="7169367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161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Freeform 162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Freeform 163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Freeform 164"/>
          <p:cNvSpPr/>
          <p:nvPr/>
        </p:nvSpPr>
        <p:spPr bwMode="auto">
          <a:xfrm>
            <a:off x="7179848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Freeform 165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3" name="Freeform 166"/>
          <p:cNvSpPr/>
          <p:nvPr/>
        </p:nvSpPr>
        <p:spPr bwMode="auto">
          <a:xfrm>
            <a:off x="7176354" y="2281512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4" name="Freeform 167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Freeform 168"/>
          <p:cNvSpPr/>
          <p:nvPr/>
        </p:nvSpPr>
        <p:spPr bwMode="auto">
          <a:xfrm>
            <a:off x="7137923" y="2176700"/>
            <a:ext cx="33190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Freeform 169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Freeform 170"/>
          <p:cNvSpPr/>
          <p:nvPr/>
        </p:nvSpPr>
        <p:spPr bwMode="auto">
          <a:xfrm>
            <a:off x="7780770" y="1864010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Freeform 171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Freeform 172"/>
          <p:cNvSpPr/>
          <p:nvPr/>
        </p:nvSpPr>
        <p:spPr bwMode="auto">
          <a:xfrm>
            <a:off x="7099492" y="2106825"/>
            <a:ext cx="115293" cy="99571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0" name="Freeform 173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Freeform 174"/>
          <p:cNvSpPr/>
          <p:nvPr/>
        </p:nvSpPr>
        <p:spPr bwMode="auto">
          <a:xfrm>
            <a:off x="7094252" y="2190674"/>
            <a:ext cx="12228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2" name="Freeform 175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" name="Freeform 176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4" name="Freeform 177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5" name="Freeform 178"/>
          <p:cNvSpPr/>
          <p:nvPr/>
        </p:nvSpPr>
        <p:spPr bwMode="auto">
          <a:xfrm>
            <a:off x="7104733" y="2363614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6" name="Freeform 179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7" name="Freeform 180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Freeform 181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Freeform 182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Freeform 183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Freeform 184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185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" name="Freeform 186"/>
          <p:cNvSpPr/>
          <p:nvPr/>
        </p:nvSpPr>
        <p:spPr bwMode="auto">
          <a:xfrm>
            <a:off x="7141417" y="3464140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4" name="Freeform 187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5" name="Freeform 188"/>
          <p:cNvSpPr/>
          <p:nvPr/>
        </p:nvSpPr>
        <p:spPr bwMode="auto">
          <a:xfrm>
            <a:off x="7197317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6" name="Freeform 189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7" name="Freeform 190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8" name="Freeform 191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192"/>
          <p:cNvSpPr/>
          <p:nvPr/>
        </p:nvSpPr>
        <p:spPr bwMode="auto">
          <a:xfrm>
            <a:off x="7274179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0" name="Freeform 193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Freeform 194"/>
          <p:cNvSpPr/>
          <p:nvPr/>
        </p:nvSpPr>
        <p:spPr bwMode="auto">
          <a:xfrm>
            <a:off x="6778069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2" name="Freeform 195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Freeform 196"/>
          <p:cNvSpPr/>
          <p:nvPr/>
        </p:nvSpPr>
        <p:spPr bwMode="auto">
          <a:xfrm>
            <a:off x="7071542" y="2545288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4" name="Freeform 197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8 w 2008"/>
              <a:gd name="T1" fmla="*/ 1044 h 1381"/>
              <a:gd name="T2" fmla="*/ 1539 w 2008"/>
              <a:gd name="T3" fmla="*/ 1073 h 1381"/>
              <a:gd name="T4" fmla="*/ 1547 w 2008"/>
              <a:gd name="T5" fmla="*/ 1083 h 1381"/>
              <a:gd name="T6" fmla="*/ 2006 w 2008"/>
              <a:gd name="T7" fmla="*/ 272 h 1381"/>
              <a:gd name="T8" fmla="*/ 1858 w 2008"/>
              <a:gd name="T9" fmla="*/ 272 h 1381"/>
              <a:gd name="T10" fmla="*/ 1734 w 2008"/>
              <a:gd name="T11" fmla="*/ 278 h 1381"/>
              <a:gd name="T12" fmla="*/ 1570 w 2008"/>
              <a:gd name="T13" fmla="*/ 278 h 1381"/>
              <a:gd name="T14" fmla="*/ 1416 w 2008"/>
              <a:gd name="T15" fmla="*/ 198 h 1381"/>
              <a:gd name="T16" fmla="*/ 1293 w 2008"/>
              <a:gd name="T17" fmla="*/ 162 h 1381"/>
              <a:gd name="T18" fmla="*/ 1239 w 2008"/>
              <a:gd name="T19" fmla="*/ 31 h 1381"/>
              <a:gd name="T20" fmla="*/ 1073 w 2008"/>
              <a:gd name="T21" fmla="*/ 35 h 1381"/>
              <a:gd name="T22" fmla="*/ 926 w 2008"/>
              <a:gd name="T23" fmla="*/ 109 h 1381"/>
              <a:gd name="T24" fmla="*/ 820 w 2008"/>
              <a:gd name="T25" fmla="*/ 243 h 1381"/>
              <a:gd name="T26" fmla="*/ 673 w 2008"/>
              <a:gd name="T27" fmla="*/ 258 h 1381"/>
              <a:gd name="T28" fmla="*/ 486 w 2008"/>
              <a:gd name="T29" fmla="*/ 239 h 1381"/>
              <a:gd name="T30" fmla="*/ 195 w 2008"/>
              <a:gd name="T31" fmla="*/ 265 h 1381"/>
              <a:gd name="T32" fmla="*/ 191 w 2008"/>
              <a:gd name="T33" fmla="*/ 438 h 1381"/>
              <a:gd name="T34" fmla="*/ 80 w 2008"/>
              <a:gd name="T35" fmla="*/ 627 h 1381"/>
              <a:gd name="T36" fmla="*/ 40 w 2008"/>
              <a:gd name="T37" fmla="*/ 768 h 1381"/>
              <a:gd name="T38" fmla="*/ 56 w 2008"/>
              <a:gd name="T39" fmla="*/ 929 h 1381"/>
              <a:gd name="T40" fmla="*/ 186 w 2008"/>
              <a:gd name="T41" fmla="*/ 949 h 1381"/>
              <a:gd name="T42" fmla="*/ 395 w 2008"/>
              <a:gd name="T43" fmla="*/ 939 h 1381"/>
              <a:gd name="T44" fmla="*/ 549 w 2008"/>
              <a:gd name="T45" fmla="*/ 855 h 1381"/>
              <a:gd name="T46" fmla="*/ 659 w 2008"/>
              <a:gd name="T47" fmla="*/ 812 h 1381"/>
              <a:gd name="T48" fmla="*/ 760 w 2008"/>
              <a:gd name="T49" fmla="*/ 850 h 1381"/>
              <a:gd name="T50" fmla="*/ 858 w 2008"/>
              <a:gd name="T51" fmla="*/ 956 h 1381"/>
              <a:gd name="T52" fmla="*/ 923 w 2008"/>
              <a:gd name="T53" fmla="*/ 1030 h 1381"/>
              <a:gd name="T54" fmla="*/ 994 w 2008"/>
              <a:gd name="T55" fmla="*/ 1124 h 1381"/>
              <a:gd name="T56" fmla="*/ 853 w 2008"/>
              <a:gd name="T57" fmla="*/ 1152 h 1381"/>
              <a:gd name="T58" fmla="*/ 832 w 2008"/>
              <a:gd name="T59" fmla="*/ 1277 h 1381"/>
              <a:gd name="T60" fmla="*/ 989 w 2008"/>
              <a:gd name="T61" fmla="*/ 1336 h 1381"/>
              <a:gd name="T62" fmla="*/ 1026 w 2008"/>
              <a:gd name="T63" fmla="*/ 1222 h 1381"/>
              <a:gd name="T64" fmla="*/ 1070 w 2008"/>
              <a:gd name="T65" fmla="*/ 1122 h 1381"/>
              <a:gd name="T66" fmla="*/ 1174 w 2008"/>
              <a:gd name="T67" fmla="*/ 1047 h 1381"/>
              <a:gd name="T68" fmla="*/ 1248 w 2008"/>
              <a:gd name="T69" fmla="*/ 1037 h 1381"/>
              <a:gd name="T70" fmla="*/ 1393 w 2008"/>
              <a:gd name="T71" fmla="*/ 957 h 1381"/>
              <a:gd name="T72" fmla="*/ 1412 w 2008"/>
              <a:gd name="T73" fmla="*/ 833 h 1381"/>
              <a:gd name="T74" fmla="*/ 1545 w 2008"/>
              <a:gd name="T75" fmla="*/ 759 h 1381"/>
              <a:gd name="T76" fmla="*/ 1465 w 2008"/>
              <a:gd name="T77" fmla="*/ 831 h 1381"/>
              <a:gd name="T78" fmla="*/ 1412 w 2008"/>
              <a:gd name="T79" fmla="*/ 933 h 1381"/>
              <a:gd name="T80" fmla="*/ 1320 w 2008"/>
              <a:gd name="T81" fmla="*/ 1002 h 1381"/>
              <a:gd name="T82" fmla="*/ 1196 w 2008"/>
              <a:gd name="T83" fmla="*/ 1057 h 1381"/>
              <a:gd name="T84" fmla="*/ 1212 w 2008"/>
              <a:gd name="T85" fmla="*/ 1090 h 1381"/>
              <a:gd name="T86" fmla="*/ 1364 w 2008"/>
              <a:gd name="T87" fmla="*/ 1091 h 1381"/>
              <a:gd name="T88" fmla="*/ 1446 w 2008"/>
              <a:gd name="T89" fmla="*/ 1111 h 1381"/>
              <a:gd name="T90" fmla="*/ 1328 w 2008"/>
              <a:gd name="T91" fmla="*/ 1232 h 1381"/>
              <a:gd name="T92" fmla="*/ 1487 w 2008"/>
              <a:gd name="T93" fmla="*/ 1369 h 1381"/>
              <a:gd name="T94" fmla="*/ 1667 w 2008"/>
              <a:gd name="T95" fmla="*/ 1268 h 1381"/>
              <a:gd name="T96" fmla="*/ 1792 w 2008"/>
              <a:gd name="T97" fmla="*/ 1192 h 1381"/>
              <a:gd name="T98" fmla="*/ 1812 w 2008"/>
              <a:gd name="T99" fmla="*/ 1107 h 1381"/>
              <a:gd name="T100" fmla="*/ 1602 w 2008"/>
              <a:gd name="T101" fmla="*/ 1096 h 1381"/>
              <a:gd name="T102" fmla="*/ 1635 w 2008"/>
              <a:gd name="T103" fmla="*/ 1157 h 1381"/>
              <a:gd name="T104" fmla="*/ 1575 w 2008"/>
              <a:gd name="T105" fmla="*/ 1110 h 1381"/>
              <a:gd name="T106" fmla="*/ 1544 w 2008"/>
              <a:gd name="T107" fmla="*/ 1099 h 1381"/>
              <a:gd name="T108" fmla="*/ 1483 w 2008"/>
              <a:gd name="T109" fmla="*/ 1081 h 1381"/>
              <a:gd name="T110" fmla="*/ 1488 w 2008"/>
              <a:gd name="T111" fmla="*/ 1064 h 1381"/>
              <a:gd name="T112" fmla="*/ 1550 w 2008"/>
              <a:gd name="T113" fmla="*/ 1049 h 1381"/>
              <a:gd name="T114" fmla="*/ 1621 w 2008"/>
              <a:gd name="T115" fmla="*/ 992 h 1381"/>
              <a:gd name="T116" fmla="*/ 1715 w 2008"/>
              <a:gd name="T117" fmla="*/ 911 h 1381"/>
              <a:gd name="T118" fmla="*/ 1839 w 2008"/>
              <a:gd name="T119" fmla="*/ 835 h 1381"/>
              <a:gd name="T120" fmla="*/ 1926 w 2008"/>
              <a:gd name="T121" fmla="*/ 671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5" name="Freeform 198"/>
          <p:cNvSpPr>
            <a:spLocks noEditPoints="1"/>
          </p:cNvSpPr>
          <p:nvPr/>
        </p:nvSpPr>
        <p:spPr bwMode="auto">
          <a:xfrm>
            <a:off x="10083140" y="3401253"/>
            <a:ext cx="2099733" cy="1442912"/>
          </a:xfrm>
          <a:custGeom>
            <a:avLst/>
            <a:gdLst>
              <a:gd name="T0" fmla="*/ 1559 w 2008"/>
              <a:gd name="T1" fmla="*/ 1044 h 1381"/>
              <a:gd name="T2" fmla="*/ 1534 w 2008"/>
              <a:gd name="T3" fmla="*/ 1067 h 1381"/>
              <a:gd name="T4" fmla="*/ 1548 w 2008"/>
              <a:gd name="T5" fmla="*/ 1091 h 1381"/>
              <a:gd name="T6" fmla="*/ 1597 w 2008"/>
              <a:gd name="T7" fmla="*/ 1080 h 1381"/>
              <a:gd name="T8" fmla="*/ 1917 w 2008"/>
              <a:gd name="T9" fmla="*/ 280 h 1381"/>
              <a:gd name="T10" fmla="*/ 1784 w 2008"/>
              <a:gd name="T11" fmla="*/ 262 h 1381"/>
              <a:gd name="T12" fmla="*/ 1634 w 2008"/>
              <a:gd name="T13" fmla="*/ 253 h 1381"/>
              <a:gd name="T14" fmla="*/ 1449 w 2008"/>
              <a:gd name="T15" fmla="*/ 250 h 1381"/>
              <a:gd name="T16" fmla="*/ 1315 w 2008"/>
              <a:gd name="T17" fmla="*/ 178 h 1381"/>
              <a:gd name="T18" fmla="*/ 1294 w 2008"/>
              <a:gd name="T19" fmla="*/ 90 h 1381"/>
              <a:gd name="T20" fmla="*/ 1127 w 2008"/>
              <a:gd name="T21" fmla="*/ 23 h 1381"/>
              <a:gd name="T22" fmla="*/ 1000 w 2008"/>
              <a:gd name="T23" fmla="*/ 89 h 1381"/>
              <a:gd name="T24" fmla="*/ 891 w 2008"/>
              <a:gd name="T25" fmla="*/ 266 h 1381"/>
              <a:gd name="T26" fmla="*/ 717 w 2008"/>
              <a:gd name="T27" fmla="*/ 232 h 1381"/>
              <a:gd name="T28" fmla="*/ 569 w 2008"/>
              <a:gd name="T29" fmla="*/ 265 h 1381"/>
              <a:gd name="T30" fmla="*/ 316 w 2008"/>
              <a:gd name="T31" fmla="*/ 235 h 1381"/>
              <a:gd name="T32" fmla="*/ 131 w 2008"/>
              <a:gd name="T33" fmla="*/ 355 h 1381"/>
              <a:gd name="T34" fmla="*/ 149 w 2008"/>
              <a:gd name="T35" fmla="*/ 529 h 1381"/>
              <a:gd name="T36" fmla="*/ 78 w 2008"/>
              <a:gd name="T37" fmla="*/ 776 h 1381"/>
              <a:gd name="T38" fmla="*/ 1 w 2008"/>
              <a:gd name="T39" fmla="*/ 870 h 1381"/>
              <a:gd name="T40" fmla="*/ 147 w 2008"/>
              <a:gd name="T41" fmla="*/ 949 h 1381"/>
              <a:gd name="T42" fmla="*/ 313 w 2008"/>
              <a:gd name="T43" fmla="*/ 965 h 1381"/>
              <a:gd name="T44" fmla="*/ 520 w 2008"/>
              <a:gd name="T45" fmla="*/ 873 h 1381"/>
              <a:gd name="T46" fmla="*/ 627 w 2008"/>
              <a:gd name="T47" fmla="*/ 817 h 1381"/>
              <a:gd name="T48" fmla="*/ 735 w 2008"/>
              <a:gd name="T49" fmla="*/ 843 h 1381"/>
              <a:gd name="T50" fmla="*/ 848 w 2008"/>
              <a:gd name="T51" fmla="*/ 911 h 1381"/>
              <a:gd name="T52" fmla="*/ 902 w 2008"/>
              <a:gd name="T53" fmla="*/ 1015 h 1381"/>
              <a:gd name="T54" fmla="*/ 972 w 2008"/>
              <a:gd name="T55" fmla="*/ 1098 h 1381"/>
              <a:gd name="T56" fmla="*/ 894 w 2008"/>
              <a:gd name="T57" fmla="*/ 1144 h 1381"/>
              <a:gd name="T58" fmla="*/ 846 w 2008"/>
              <a:gd name="T59" fmla="*/ 1244 h 1381"/>
              <a:gd name="T60" fmla="*/ 867 w 2008"/>
              <a:gd name="T61" fmla="*/ 1355 h 1381"/>
              <a:gd name="T62" fmla="*/ 984 w 2008"/>
              <a:gd name="T63" fmla="*/ 1253 h 1381"/>
              <a:gd name="T64" fmla="*/ 1036 w 2008"/>
              <a:gd name="T65" fmla="*/ 1141 h 1381"/>
              <a:gd name="T66" fmla="*/ 1140 w 2008"/>
              <a:gd name="T67" fmla="*/ 1060 h 1381"/>
              <a:gd name="T68" fmla="*/ 1208 w 2008"/>
              <a:gd name="T69" fmla="*/ 993 h 1381"/>
              <a:gd name="T70" fmla="*/ 1346 w 2008"/>
              <a:gd name="T71" fmla="*/ 984 h 1381"/>
              <a:gd name="T72" fmla="*/ 1422 w 2008"/>
              <a:gd name="T73" fmla="*/ 865 h 1381"/>
              <a:gd name="T74" fmla="*/ 1504 w 2008"/>
              <a:gd name="T75" fmla="*/ 800 h 1381"/>
              <a:gd name="T76" fmla="*/ 1504 w 2008"/>
              <a:gd name="T77" fmla="*/ 808 h 1381"/>
              <a:gd name="T78" fmla="*/ 1432 w 2008"/>
              <a:gd name="T79" fmla="*/ 869 h 1381"/>
              <a:gd name="T80" fmla="*/ 1379 w 2008"/>
              <a:gd name="T81" fmla="*/ 972 h 1381"/>
              <a:gd name="T82" fmla="*/ 1254 w 2008"/>
              <a:gd name="T83" fmla="*/ 1058 h 1381"/>
              <a:gd name="T84" fmla="*/ 1232 w 2008"/>
              <a:gd name="T85" fmla="*/ 1070 h 1381"/>
              <a:gd name="T86" fmla="*/ 1268 w 2008"/>
              <a:gd name="T87" fmla="*/ 1117 h 1381"/>
              <a:gd name="T88" fmla="*/ 1428 w 2008"/>
              <a:gd name="T89" fmla="*/ 1077 h 1381"/>
              <a:gd name="T90" fmla="*/ 1395 w 2008"/>
              <a:gd name="T91" fmla="*/ 1159 h 1381"/>
              <a:gd name="T92" fmla="*/ 1481 w 2008"/>
              <a:gd name="T93" fmla="*/ 1303 h 1381"/>
              <a:gd name="T94" fmla="*/ 1617 w 2008"/>
              <a:gd name="T95" fmla="*/ 1283 h 1381"/>
              <a:gd name="T96" fmla="*/ 1760 w 2008"/>
              <a:gd name="T97" fmla="*/ 1204 h 1381"/>
              <a:gd name="T98" fmla="*/ 1828 w 2008"/>
              <a:gd name="T99" fmla="*/ 1123 h 1381"/>
              <a:gd name="T100" fmla="*/ 1707 w 2008"/>
              <a:gd name="T101" fmla="*/ 1162 h 1381"/>
              <a:gd name="T102" fmla="*/ 1656 w 2008"/>
              <a:gd name="T103" fmla="*/ 1171 h 1381"/>
              <a:gd name="T104" fmla="*/ 1586 w 2008"/>
              <a:gd name="T105" fmla="*/ 1118 h 1381"/>
              <a:gd name="T106" fmla="*/ 1563 w 2008"/>
              <a:gd name="T107" fmla="*/ 1095 h 1381"/>
              <a:gd name="T108" fmla="*/ 1503 w 2008"/>
              <a:gd name="T109" fmla="*/ 1097 h 1381"/>
              <a:gd name="T110" fmla="*/ 1444 w 2008"/>
              <a:gd name="T111" fmla="*/ 1060 h 1381"/>
              <a:gd name="T112" fmla="*/ 1532 w 2008"/>
              <a:gd name="T113" fmla="*/ 1054 h 1381"/>
              <a:gd name="T114" fmla="*/ 1607 w 2008"/>
              <a:gd name="T115" fmla="*/ 980 h 1381"/>
              <a:gd name="T116" fmla="*/ 1653 w 2008"/>
              <a:gd name="T117" fmla="*/ 963 h 1381"/>
              <a:gd name="T118" fmla="*/ 1806 w 2008"/>
              <a:gd name="T119" fmla="*/ 851 h 1381"/>
              <a:gd name="T120" fmla="*/ 1938 w 2008"/>
              <a:gd name="T121" fmla="*/ 732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8" h="1381">
                <a:moveTo>
                  <a:pt x="1568" y="1062"/>
                </a:moveTo>
                <a:lnTo>
                  <a:pt x="1568" y="1062"/>
                </a:lnTo>
                <a:cubicBezTo>
                  <a:pt x="1570" y="1064"/>
                  <a:pt x="1571" y="1065"/>
                  <a:pt x="1573" y="1065"/>
                </a:cubicBezTo>
                <a:cubicBezTo>
                  <a:pt x="1579" y="1066"/>
                  <a:pt x="1583" y="1064"/>
                  <a:pt x="1583" y="1058"/>
                </a:cubicBezTo>
                <a:cubicBezTo>
                  <a:pt x="1584" y="1055"/>
                  <a:pt x="1583" y="1054"/>
                  <a:pt x="1582" y="1053"/>
                </a:cubicBezTo>
                <a:cubicBezTo>
                  <a:pt x="1582" y="1053"/>
                  <a:pt x="1582" y="1052"/>
                  <a:pt x="1580" y="1051"/>
                </a:cubicBezTo>
                <a:lnTo>
                  <a:pt x="1576" y="1051"/>
                </a:lnTo>
                <a:cubicBezTo>
                  <a:pt x="1575" y="1051"/>
                  <a:pt x="1574" y="1051"/>
                  <a:pt x="1573" y="1052"/>
                </a:cubicBezTo>
                <a:cubicBezTo>
                  <a:pt x="1572" y="1052"/>
                  <a:pt x="1571" y="1052"/>
                  <a:pt x="1570" y="1052"/>
                </a:cubicBezTo>
                <a:cubicBezTo>
                  <a:pt x="1569" y="1053"/>
                  <a:pt x="1567" y="1054"/>
                  <a:pt x="1566" y="1054"/>
                </a:cubicBezTo>
                <a:cubicBezTo>
                  <a:pt x="1565" y="1055"/>
                  <a:pt x="1565" y="1056"/>
                  <a:pt x="1564" y="1057"/>
                </a:cubicBezTo>
                <a:cubicBezTo>
                  <a:pt x="1564" y="1058"/>
                  <a:pt x="1565" y="1058"/>
                  <a:pt x="1565" y="1059"/>
                </a:cubicBezTo>
                <a:cubicBezTo>
                  <a:pt x="1566" y="1060"/>
                  <a:pt x="1567" y="1061"/>
                  <a:pt x="1568" y="1062"/>
                </a:cubicBezTo>
                <a:lnTo>
                  <a:pt x="1568" y="1062"/>
                </a:lnTo>
                <a:close/>
                <a:moveTo>
                  <a:pt x="1567" y="1050"/>
                </a:moveTo>
                <a:lnTo>
                  <a:pt x="1567" y="1050"/>
                </a:lnTo>
                <a:cubicBezTo>
                  <a:pt x="1566" y="1049"/>
                  <a:pt x="1565" y="1047"/>
                  <a:pt x="1562" y="1046"/>
                </a:cubicBezTo>
                <a:cubicBezTo>
                  <a:pt x="1561" y="1045"/>
                  <a:pt x="1560" y="1045"/>
                  <a:pt x="1559" y="1044"/>
                </a:cubicBezTo>
                <a:lnTo>
                  <a:pt x="1558" y="1044"/>
                </a:lnTo>
                <a:cubicBezTo>
                  <a:pt x="1554" y="1047"/>
                  <a:pt x="1552" y="1048"/>
                  <a:pt x="1551" y="1050"/>
                </a:cubicBezTo>
                <a:lnTo>
                  <a:pt x="1551" y="1050"/>
                </a:lnTo>
                <a:cubicBezTo>
                  <a:pt x="1551" y="1050"/>
                  <a:pt x="1552" y="1051"/>
                  <a:pt x="1554" y="1053"/>
                </a:cubicBezTo>
                <a:cubicBezTo>
                  <a:pt x="1555" y="1054"/>
                  <a:pt x="1556" y="1054"/>
                  <a:pt x="1557" y="1054"/>
                </a:cubicBezTo>
                <a:cubicBezTo>
                  <a:pt x="1559" y="1055"/>
                  <a:pt x="1561" y="1054"/>
                  <a:pt x="1564" y="1052"/>
                </a:cubicBezTo>
                <a:cubicBezTo>
                  <a:pt x="1565" y="1052"/>
                  <a:pt x="1566" y="1051"/>
                  <a:pt x="1567" y="1050"/>
                </a:cubicBezTo>
                <a:lnTo>
                  <a:pt x="1567" y="1050"/>
                </a:lnTo>
                <a:close/>
                <a:moveTo>
                  <a:pt x="1559" y="1062"/>
                </a:moveTo>
                <a:lnTo>
                  <a:pt x="1559" y="1062"/>
                </a:lnTo>
                <a:cubicBezTo>
                  <a:pt x="1558" y="1060"/>
                  <a:pt x="1558" y="1059"/>
                  <a:pt x="1558" y="1059"/>
                </a:cubicBezTo>
                <a:cubicBezTo>
                  <a:pt x="1556" y="1058"/>
                  <a:pt x="1554" y="1057"/>
                  <a:pt x="1554" y="1056"/>
                </a:cubicBezTo>
                <a:cubicBezTo>
                  <a:pt x="1553" y="1055"/>
                  <a:pt x="1552" y="1055"/>
                  <a:pt x="1552" y="1054"/>
                </a:cubicBezTo>
                <a:cubicBezTo>
                  <a:pt x="1551" y="1054"/>
                  <a:pt x="1551" y="1054"/>
                  <a:pt x="1551" y="1054"/>
                </a:cubicBezTo>
                <a:cubicBezTo>
                  <a:pt x="1549" y="1054"/>
                  <a:pt x="1547" y="1055"/>
                  <a:pt x="1546" y="1057"/>
                </a:cubicBezTo>
                <a:cubicBezTo>
                  <a:pt x="1545" y="1059"/>
                  <a:pt x="1543" y="1060"/>
                  <a:pt x="1540" y="1060"/>
                </a:cubicBezTo>
                <a:cubicBezTo>
                  <a:pt x="1539" y="1059"/>
                  <a:pt x="1538" y="1060"/>
                  <a:pt x="1536" y="1063"/>
                </a:cubicBezTo>
                <a:cubicBezTo>
                  <a:pt x="1535" y="1065"/>
                  <a:pt x="1534" y="1066"/>
                  <a:pt x="1534" y="1067"/>
                </a:cubicBezTo>
                <a:cubicBezTo>
                  <a:pt x="1533" y="1069"/>
                  <a:pt x="1534" y="1071"/>
                  <a:pt x="1534" y="1072"/>
                </a:cubicBezTo>
                <a:cubicBezTo>
                  <a:pt x="1536" y="1074"/>
                  <a:pt x="1537" y="1074"/>
                  <a:pt x="1539" y="1073"/>
                </a:cubicBezTo>
                <a:lnTo>
                  <a:pt x="1538" y="1081"/>
                </a:lnTo>
                <a:lnTo>
                  <a:pt x="1541" y="1082"/>
                </a:lnTo>
                <a:cubicBezTo>
                  <a:pt x="1544" y="1082"/>
                  <a:pt x="1546" y="1082"/>
                  <a:pt x="1548" y="1082"/>
                </a:cubicBezTo>
                <a:cubicBezTo>
                  <a:pt x="1551" y="1081"/>
                  <a:pt x="1553" y="1081"/>
                  <a:pt x="1554" y="1079"/>
                </a:cubicBezTo>
                <a:cubicBezTo>
                  <a:pt x="1556" y="1077"/>
                  <a:pt x="1558" y="1073"/>
                  <a:pt x="1558" y="1067"/>
                </a:cubicBezTo>
                <a:cubicBezTo>
                  <a:pt x="1559" y="1065"/>
                  <a:pt x="1559" y="1063"/>
                  <a:pt x="1559" y="1062"/>
                </a:cubicBezTo>
                <a:lnTo>
                  <a:pt x="1559" y="1062"/>
                </a:lnTo>
                <a:close/>
                <a:moveTo>
                  <a:pt x="1547" y="1083"/>
                </a:moveTo>
                <a:lnTo>
                  <a:pt x="1547" y="1083"/>
                </a:lnTo>
                <a:cubicBezTo>
                  <a:pt x="1547" y="1083"/>
                  <a:pt x="1547" y="1083"/>
                  <a:pt x="1547" y="1083"/>
                </a:cubicBezTo>
                <a:cubicBezTo>
                  <a:pt x="1546" y="1083"/>
                  <a:pt x="1545" y="1083"/>
                  <a:pt x="1545" y="1084"/>
                </a:cubicBezTo>
                <a:cubicBezTo>
                  <a:pt x="1545" y="1084"/>
                  <a:pt x="1545" y="1084"/>
                  <a:pt x="1545" y="1084"/>
                </a:cubicBezTo>
                <a:cubicBezTo>
                  <a:pt x="1544" y="1085"/>
                  <a:pt x="1544" y="1085"/>
                  <a:pt x="1544" y="1085"/>
                </a:cubicBezTo>
                <a:cubicBezTo>
                  <a:pt x="1543" y="1086"/>
                  <a:pt x="1542" y="1088"/>
                  <a:pt x="1542" y="1089"/>
                </a:cubicBezTo>
                <a:cubicBezTo>
                  <a:pt x="1542" y="1091"/>
                  <a:pt x="1543" y="1091"/>
                  <a:pt x="1546" y="1092"/>
                </a:cubicBezTo>
                <a:cubicBezTo>
                  <a:pt x="1547" y="1092"/>
                  <a:pt x="1547" y="1092"/>
                  <a:pt x="1548" y="1091"/>
                </a:cubicBezTo>
                <a:cubicBezTo>
                  <a:pt x="1551" y="1091"/>
                  <a:pt x="1553" y="1089"/>
                  <a:pt x="1555" y="1086"/>
                </a:cubicBezTo>
                <a:cubicBezTo>
                  <a:pt x="1553" y="1085"/>
                  <a:pt x="1552" y="1084"/>
                  <a:pt x="1550" y="1084"/>
                </a:cubicBezTo>
                <a:cubicBezTo>
                  <a:pt x="1549" y="1083"/>
                  <a:pt x="1548" y="1083"/>
                  <a:pt x="1547" y="1083"/>
                </a:cubicBezTo>
                <a:lnTo>
                  <a:pt x="1547" y="1083"/>
                </a:lnTo>
                <a:close/>
                <a:moveTo>
                  <a:pt x="1597" y="1080"/>
                </a:moveTo>
                <a:lnTo>
                  <a:pt x="1597" y="1080"/>
                </a:lnTo>
                <a:lnTo>
                  <a:pt x="1597" y="1080"/>
                </a:lnTo>
                <a:cubicBezTo>
                  <a:pt x="1597" y="1080"/>
                  <a:pt x="1597" y="1080"/>
                  <a:pt x="1597" y="1080"/>
                </a:cubicBezTo>
                <a:lnTo>
                  <a:pt x="1597" y="1080"/>
                </a:lnTo>
                <a:close/>
                <a:moveTo>
                  <a:pt x="1591" y="1089"/>
                </a:moveTo>
                <a:lnTo>
                  <a:pt x="1591" y="1089"/>
                </a:lnTo>
                <a:lnTo>
                  <a:pt x="1593" y="1099"/>
                </a:lnTo>
                <a:cubicBezTo>
                  <a:pt x="1594" y="1098"/>
                  <a:pt x="1596" y="1097"/>
                  <a:pt x="1598" y="1095"/>
                </a:cubicBezTo>
                <a:cubicBezTo>
                  <a:pt x="1599" y="1095"/>
                  <a:pt x="1599" y="1095"/>
                  <a:pt x="1599" y="1094"/>
                </a:cubicBezTo>
                <a:cubicBezTo>
                  <a:pt x="1602" y="1093"/>
                  <a:pt x="1603" y="1091"/>
                  <a:pt x="1603" y="1090"/>
                </a:cubicBezTo>
                <a:cubicBezTo>
                  <a:pt x="1603" y="1089"/>
                  <a:pt x="1602" y="1087"/>
                  <a:pt x="1600" y="1084"/>
                </a:cubicBezTo>
                <a:cubicBezTo>
                  <a:pt x="1599" y="1083"/>
                  <a:pt x="1599" y="1082"/>
                  <a:pt x="1598" y="1082"/>
                </a:cubicBezTo>
                <a:cubicBezTo>
                  <a:pt x="1597" y="1081"/>
                  <a:pt x="1596" y="1080"/>
                  <a:pt x="1597" y="1080"/>
                </a:cubicBezTo>
                <a:cubicBezTo>
                  <a:pt x="1596" y="1080"/>
                  <a:pt x="1596" y="1080"/>
                  <a:pt x="1596" y="1080"/>
                </a:cubicBezTo>
                <a:cubicBezTo>
                  <a:pt x="1593" y="1079"/>
                  <a:pt x="1591" y="1083"/>
                  <a:pt x="1591" y="1089"/>
                </a:cubicBezTo>
                <a:lnTo>
                  <a:pt x="1591" y="1089"/>
                </a:lnTo>
                <a:close/>
                <a:moveTo>
                  <a:pt x="2008" y="275"/>
                </a:moveTo>
                <a:lnTo>
                  <a:pt x="2008" y="275"/>
                </a:lnTo>
                <a:cubicBezTo>
                  <a:pt x="2008" y="275"/>
                  <a:pt x="2007" y="270"/>
                  <a:pt x="2006" y="272"/>
                </a:cubicBezTo>
                <a:cubicBezTo>
                  <a:pt x="2006" y="274"/>
                  <a:pt x="1998" y="282"/>
                  <a:pt x="1997" y="283"/>
                </a:cubicBezTo>
                <a:cubicBezTo>
                  <a:pt x="1996" y="286"/>
                  <a:pt x="1994" y="288"/>
                  <a:pt x="1993" y="290"/>
                </a:cubicBezTo>
                <a:cubicBezTo>
                  <a:pt x="1990" y="294"/>
                  <a:pt x="1987" y="295"/>
                  <a:pt x="1985" y="295"/>
                </a:cubicBezTo>
                <a:cubicBezTo>
                  <a:pt x="1984" y="295"/>
                  <a:pt x="1983" y="294"/>
                  <a:pt x="1980" y="292"/>
                </a:cubicBezTo>
                <a:cubicBezTo>
                  <a:pt x="1978" y="290"/>
                  <a:pt x="1977" y="290"/>
                  <a:pt x="1976" y="290"/>
                </a:cubicBezTo>
                <a:cubicBezTo>
                  <a:pt x="1969" y="291"/>
                  <a:pt x="1964" y="291"/>
                  <a:pt x="1962" y="291"/>
                </a:cubicBezTo>
                <a:cubicBezTo>
                  <a:pt x="1960" y="291"/>
                  <a:pt x="1957" y="288"/>
                  <a:pt x="1953" y="283"/>
                </a:cubicBezTo>
                <a:cubicBezTo>
                  <a:pt x="1950" y="279"/>
                  <a:pt x="1946" y="276"/>
                  <a:pt x="1941" y="275"/>
                </a:cubicBezTo>
                <a:cubicBezTo>
                  <a:pt x="1938" y="276"/>
                  <a:pt x="1937" y="277"/>
                  <a:pt x="1936" y="277"/>
                </a:cubicBezTo>
                <a:cubicBezTo>
                  <a:pt x="1933" y="275"/>
                  <a:pt x="1931" y="274"/>
                  <a:pt x="1930" y="274"/>
                </a:cubicBezTo>
                <a:cubicBezTo>
                  <a:pt x="1929" y="274"/>
                  <a:pt x="1927" y="275"/>
                  <a:pt x="1924" y="277"/>
                </a:cubicBezTo>
                <a:cubicBezTo>
                  <a:pt x="1921" y="279"/>
                  <a:pt x="1919" y="280"/>
                  <a:pt x="1917" y="280"/>
                </a:cubicBezTo>
                <a:cubicBezTo>
                  <a:pt x="1913" y="279"/>
                  <a:pt x="1909" y="276"/>
                  <a:pt x="1904" y="271"/>
                </a:cubicBezTo>
                <a:cubicBezTo>
                  <a:pt x="1900" y="265"/>
                  <a:pt x="1896" y="262"/>
                  <a:pt x="1891" y="262"/>
                </a:cubicBezTo>
                <a:cubicBezTo>
                  <a:pt x="1890" y="262"/>
                  <a:pt x="1889" y="263"/>
                  <a:pt x="1888" y="265"/>
                </a:cubicBezTo>
                <a:cubicBezTo>
                  <a:pt x="1888" y="267"/>
                  <a:pt x="1887" y="269"/>
                  <a:pt x="1886" y="273"/>
                </a:cubicBezTo>
                <a:cubicBezTo>
                  <a:pt x="1883" y="280"/>
                  <a:pt x="1878" y="283"/>
                  <a:pt x="1871" y="283"/>
                </a:cubicBezTo>
                <a:cubicBezTo>
                  <a:pt x="1866" y="276"/>
                  <a:pt x="1862" y="273"/>
                  <a:pt x="1858" y="272"/>
                </a:cubicBezTo>
                <a:cubicBezTo>
                  <a:pt x="1857" y="272"/>
                  <a:pt x="1855" y="273"/>
                  <a:pt x="1854" y="274"/>
                </a:cubicBezTo>
                <a:cubicBezTo>
                  <a:pt x="1852" y="275"/>
                  <a:pt x="1851" y="275"/>
                  <a:pt x="1850" y="275"/>
                </a:cubicBezTo>
                <a:cubicBezTo>
                  <a:pt x="1846" y="275"/>
                  <a:pt x="1843" y="273"/>
                  <a:pt x="1841" y="271"/>
                </a:cubicBezTo>
                <a:cubicBezTo>
                  <a:pt x="1838" y="268"/>
                  <a:pt x="1836" y="266"/>
                  <a:pt x="1834" y="265"/>
                </a:cubicBezTo>
                <a:cubicBezTo>
                  <a:pt x="1833" y="266"/>
                  <a:pt x="1830" y="267"/>
                  <a:pt x="1825" y="270"/>
                </a:cubicBezTo>
                <a:cubicBezTo>
                  <a:pt x="1820" y="272"/>
                  <a:pt x="1817" y="273"/>
                  <a:pt x="1816" y="273"/>
                </a:cubicBezTo>
                <a:cubicBezTo>
                  <a:pt x="1813" y="270"/>
                  <a:pt x="1811" y="269"/>
                  <a:pt x="1810" y="269"/>
                </a:cubicBezTo>
                <a:cubicBezTo>
                  <a:pt x="1808" y="268"/>
                  <a:pt x="1807" y="269"/>
                  <a:pt x="1805" y="269"/>
                </a:cubicBezTo>
                <a:cubicBezTo>
                  <a:pt x="1804" y="270"/>
                  <a:pt x="1802" y="270"/>
                  <a:pt x="1801" y="270"/>
                </a:cubicBezTo>
                <a:cubicBezTo>
                  <a:pt x="1800" y="270"/>
                  <a:pt x="1798" y="268"/>
                  <a:pt x="1796" y="265"/>
                </a:cubicBezTo>
                <a:cubicBezTo>
                  <a:pt x="1793" y="262"/>
                  <a:pt x="1792" y="260"/>
                  <a:pt x="1792" y="260"/>
                </a:cubicBezTo>
                <a:cubicBezTo>
                  <a:pt x="1791" y="260"/>
                  <a:pt x="1788" y="261"/>
                  <a:pt x="1784" y="262"/>
                </a:cubicBezTo>
                <a:cubicBezTo>
                  <a:pt x="1779" y="264"/>
                  <a:pt x="1777" y="265"/>
                  <a:pt x="1777" y="266"/>
                </a:cubicBezTo>
                <a:cubicBezTo>
                  <a:pt x="1781" y="277"/>
                  <a:pt x="1783" y="284"/>
                  <a:pt x="1783" y="284"/>
                </a:cubicBezTo>
                <a:cubicBezTo>
                  <a:pt x="1782" y="286"/>
                  <a:pt x="1777" y="289"/>
                  <a:pt x="1766" y="294"/>
                </a:cubicBezTo>
                <a:cubicBezTo>
                  <a:pt x="1765" y="292"/>
                  <a:pt x="1763" y="289"/>
                  <a:pt x="1761" y="286"/>
                </a:cubicBezTo>
                <a:cubicBezTo>
                  <a:pt x="1756" y="281"/>
                  <a:pt x="1751" y="279"/>
                  <a:pt x="1746" y="278"/>
                </a:cubicBezTo>
                <a:cubicBezTo>
                  <a:pt x="1742" y="279"/>
                  <a:pt x="1739" y="279"/>
                  <a:pt x="1734" y="278"/>
                </a:cubicBezTo>
                <a:cubicBezTo>
                  <a:pt x="1729" y="278"/>
                  <a:pt x="1723" y="275"/>
                  <a:pt x="1715" y="269"/>
                </a:cubicBezTo>
                <a:cubicBezTo>
                  <a:pt x="1707" y="263"/>
                  <a:pt x="1703" y="258"/>
                  <a:pt x="1703" y="255"/>
                </a:cubicBezTo>
                <a:cubicBezTo>
                  <a:pt x="1706" y="251"/>
                  <a:pt x="1707" y="247"/>
                  <a:pt x="1707" y="245"/>
                </a:cubicBezTo>
                <a:cubicBezTo>
                  <a:pt x="1708" y="241"/>
                  <a:pt x="1706" y="239"/>
                  <a:pt x="1702" y="239"/>
                </a:cubicBezTo>
                <a:cubicBezTo>
                  <a:pt x="1695" y="239"/>
                  <a:pt x="1691" y="239"/>
                  <a:pt x="1689" y="239"/>
                </a:cubicBezTo>
                <a:cubicBezTo>
                  <a:pt x="1686" y="239"/>
                  <a:pt x="1683" y="236"/>
                  <a:pt x="1682" y="232"/>
                </a:cubicBezTo>
                <a:cubicBezTo>
                  <a:pt x="1680" y="228"/>
                  <a:pt x="1677" y="226"/>
                  <a:pt x="1674" y="226"/>
                </a:cubicBezTo>
                <a:cubicBezTo>
                  <a:pt x="1670" y="225"/>
                  <a:pt x="1666" y="227"/>
                  <a:pt x="1662" y="230"/>
                </a:cubicBezTo>
                <a:cubicBezTo>
                  <a:pt x="1661" y="232"/>
                  <a:pt x="1658" y="235"/>
                  <a:pt x="1654" y="240"/>
                </a:cubicBezTo>
                <a:cubicBezTo>
                  <a:pt x="1651" y="245"/>
                  <a:pt x="1648" y="248"/>
                  <a:pt x="1645" y="250"/>
                </a:cubicBezTo>
                <a:cubicBezTo>
                  <a:pt x="1643" y="253"/>
                  <a:pt x="1641" y="254"/>
                  <a:pt x="1640" y="255"/>
                </a:cubicBezTo>
                <a:cubicBezTo>
                  <a:pt x="1637" y="253"/>
                  <a:pt x="1635" y="253"/>
                  <a:pt x="1634" y="253"/>
                </a:cubicBezTo>
                <a:cubicBezTo>
                  <a:pt x="1630" y="254"/>
                  <a:pt x="1623" y="259"/>
                  <a:pt x="1611" y="269"/>
                </a:cubicBezTo>
                <a:cubicBezTo>
                  <a:pt x="1610" y="270"/>
                  <a:pt x="1607" y="274"/>
                  <a:pt x="1604" y="280"/>
                </a:cubicBezTo>
                <a:cubicBezTo>
                  <a:pt x="1602" y="284"/>
                  <a:pt x="1599" y="287"/>
                  <a:pt x="1596" y="286"/>
                </a:cubicBezTo>
                <a:cubicBezTo>
                  <a:pt x="1594" y="287"/>
                  <a:pt x="1593" y="287"/>
                  <a:pt x="1592" y="287"/>
                </a:cubicBezTo>
                <a:cubicBezTo>
                  <a:pt x="1590" y="287"/>
                  <a:pt x="1588" y="284"/>
                  <a:pt x="1587" y="279"/>
                </a:cubicBezTo>
                <a:lnTo>
                  <a:pt x="1570" y="278"/>
                </a:lnTo>
                <a:cubicBezTo>
                  <a:pt x="1569" y="284"/>
                  <a:pt x="1566" y="286"/>
                  <a:pt x="1561" y="286"/>
                </a:cubicBezTo>
                <a:cubicBezTo>
                  <a:pt x="1558" y="283"/>
                  <a:pt x="1555" y="280"/>
                  <a:pt x="1551" y="278"/>
                </a:cubicBezTo>
                <a:cubicBezTo>
                  <a:pt x="1543" y="272"/>
                  <a:pt x="1535" y="269"/>
                  <a:pt x="1526" y="268"/>
                </a:cubicBezTo>
                <a:cubicBezTo>
                  <a:pt x="1520" y="267"/>
                  <a:pt x="1516" y="268"/>
                  <a:pt x="1513" y="269"/>
                </a:cubicBezTo>
                <a:cubicBezTo>
                  <a:pt x="1509" y="272"/>
                  <a:pt x="1505" y="274"/>
                  <a:pt x="1500" y="276"/>
                </a:cubicBezTo>
                <a:cubicBezTo>
                  <a:pt x="1499" y="277"/>
                  <a:pt x="1497" y="281"/>
                  <a:pt x="1493" y="287"/>
                </a:cubicBezTo>
                <a:cubicBezTo>
                  <a:pt x="1489" y="293"/>
                  <a:pt x="1487" y="296"/>
                  <a:pt x="1486" y="296"/>
                </a:cubicBezTo>
                <a:cubicBezTo>
                  <a:pt x="1484" y="296"/>
                  <a:pt x="1479" y="289"/>
                  <a:pt x="1472" y="275"/>
                </a:cubicBezTo>
                <a:cubicBezTo>
                  <a:pt x="1468" y="276"/>
                  <a:pt x="1464" y="277"/>
                  <a:pt x="1461" y="278"/>
                </a:cubicBezTo>
                <a:cubicBezTo>
                  <a:pt x="1456" y="274"/>
                  <a:pt x="1453" y="271"/>
                  <a:pt x="1450" y="267"/>
                </a:cubicBezTo>
                <a:cubicBezTo>
                  <a:pt x="1446" y="262"/>
                  <a:pt x="1444" y="258"/>
                  <a:pt x="1444" y="254"/>
                </a:cubicBezTo>
                <a:cubicBezTo>
                  <a:pt x="1445" y="254"/>
                  <a:pt x="1446" y="252"/>
                  <a:pt x="1449" y="250"/>
                </a:cubicBezTo>
                <a:cubicBezTo>
                  <a:pt x="1451" y="247"/>
                  <a:pt x="1453" y="245"/>
                  <a:pt x="1453" y="244"/>
                </a:cubicBezTo>
                <a:cubicBezTo>
                  <a:pt x="1453" y="243"/>
                  <a:pt x="1450" y="239"/>
                  <a:pt x="1446" y="230"/>
                </a:cubicBezTo>
                <a:cubicBezTo>
                  <a:pt x="1445" y="229"/>
                  <a:pt x="1443" y="228"/>
                  <a:pt x="1440" y="227"/>
                </a:cubicBezTo>
                <a:cubicBezTo>
                  <a:pt x="1437" y="226"/>
                  <a:pt x="1436" y="224"/>
                  <a:pt x="1435" y="221"/>
                </a:cubicBezTo>
                <a:cubicBezTo>
                  <a:pt x="1435" y="218"/>
                  <a:pt x="1431" y="214"/>
                  <a:pt x="1425" y="207"/>
                </a:cubicBezTo>
                <a:cubicBezTo>
                  <a:pt x="1419" y="201"/>
                  <a:pt x="1416" y="198"/>
                  <a:pt x="1416" y="198"/>
                </a:cubicBezTo>
                <a:lnTo>
                  <a:pt x="1421" y="187"/>
                </a:lnTo>
                <a:cubicBezTo>
                  <a:pt x="1422" y="186"/>
                  <a:pt x="1421" y="185"/>
                  <a:pt x="1421" y="183"/>
                </a:cubicBezTo>
                <a:cubicBezTo>
                  <a:pt x="1420" y="182"/>
                  <a:pt x="1419" y="181"/>
                  <a:pt x="1418" y="181"/>
                </a:cubicBezTo>
                <a:cubicBezTo>
                  <a:pt x="1417" y="181"/>
                  <a:pt x="1414" y="182"/>
                  <a:pt x="1409" y="184"/>
                </a:cubicBezTo>
                <a:cubicBezTo>
                  <a:pt x="1405" y="187"/>
                  <a:pt x="1402" y="188"/>
                  <a:pt x="1400" y="188"/>
                </a:cubicBezTo>
                <a:cubicBezTo>
                  <a:pt x="1398" y="188"/>
                  <a:pt x="1396" y="186"/>
                  <a:pt x="1393" y="182"/>
                </a:cubicBezTo>
                <a:cubicBezTo>
                  <a:pt x="1389" y="178"/>
                  <a:pt x="1388" y="176"/>
                  <a:pt x="1388" y="176"/>
                </a:cubicBezTo>
                <a:cubicBezTo>
                  <a:pt x="1384" y="167"/>
                  <a:pt x="1381" y="162"/>
                  <a:pt x="1378" y="161"/>
                </a:cubicBezTo>
                <a:cubicBezTo>
                  <a:pt x="1374" y="161"/>
                  <a:pt x="1368" y="164"/>
                  <a:pt x="1362" y="170"/>
                </a:cubicBezTo>
                <a:cubicBezTo>
                  <a:pt x="1355" y="176"/>
                  <a:pt x="1351" y="178"/>
                  <a:pt x="1347" y="178"/>
                </a:cubicBezTo>
                <a:cubicBezTo>
                  <a:pt x="1342" y="177"/>
                  <a:pt x="1339" y="176"/>
                  <a:pt x="1336" y="175"/>
                </a:cubicBezTo>
                <a:cubicBezTo>
                  <a:pt x="1324" y="177"/>
                  <a:pt x="1317" y="178"/>
                  <a:pt x="1315" y="178"/>
                </a:cubicBezTo>
                <a:cubicBezTo>
                  <a:pt x="1311" y="177"/>
                  <a:pt x="1308" y="177"/>
                  <a:pt x="1305" y="179"/>
                </a:cubicBezTo>
                <a:cubicBezTo>
                  <a:pt x="1302" y="182"/>
                  <a:pt x="1299" y="183"/>
                  <a:pt x="1297" y="183"/>
                </a:cubicBezTo>
                <a:cubicBezTo>
                  <a:pt x="1295" y="182"/>
                  <a:pt x="1294" y="182"/>
                  <a:pt x="1293" y="182"/>
                </a:cubicBezTo>
                <a:lnTo>
                  <a:pt x="1293" y="179"/>
                </a:lnTo>
                <a:cubicBezTo>
                  <a:pt x="1295" y="178"/>
                  <a:pt x="1296" y="174"/>
                  <a:pt x="1297" y="168"/>
                </a:cubicBezTo>
                <a:cubicBezTo>
                  <a:pt x="1297" y="164"/>
                  <a:pt x="1296" y="162"/>
                  <a:pt x="1293" y="162"/>
                </a:cubicBezTo>
                <a:cubicBezTo>
                  <a:pt x="1290" y="162"/>
                  <a:pt x="1288" y="160"/>
                  <a:pt x="1288" y="156"/>
                </a:cubicBezTo>
                <a:cubicBezTo>
                  <a:pt x="1288" y="151"/>
                  <a:pt x="1287" y="146"/>
                  <a:pt x="1284" y="141"/>
                </a:cubicBezTo>
                <a:cubicBezTo>
                  <a:pt x="1282" y="137"/>
                  <a:pt x="1280" y="135"/>
                  <a:pt x="1279" y="133"/>
                </a:cubicBezTo>
                <a:cubicBezTo>
                  <a:pt x="1277" y="129"/>
                  <a:pt x="1276" y="127"/>
                  <a:pt x="1274" y="127"/>
                </a:cubicBezTo>
                <a:cubicBezTo>
                  <a:pt x="1271" y="125"/>
                  <a:pt x="1269" y="124"/>
                  <a:pt x="1267" y="123"/>
                </a:cubicBezTo>
                <a:cubicBezTo>
                  <a:pt x="1263" y="121"/>
                  <a:pt x="1261" y="119"/>
                  <a:pt x="1262" y="118"/>
                </a:cubicBezTo>
                <a:cubicBezTo>
                  <a:pt x="1262" y="116"/>
                  <a:pt x="1264" y="113"/>
                  <a:pt x="1269" y="110"/>
                </a:cubicBezTo>
                <a:cubicBezTo>
                  <a:pt x="1271" y="109"/>
                  <a:pt x="1273" y="108"/>
                  <a:pt x="1275" y="107"/>
                </a:cubicBezTo>
                <a:cubicBezTo>
                  <a:pt x="1275" y="107"/>
                  <a:pt x="1276" y="107"/>
                  <a:pt x="1276" y="107"/>
                </a:cubicBezTo>
                <a:cubicBezTo>
                  <a:pt x="1276" y="106"/>
                  <a:pt x="1276" y="106"/>
                  <a:pt x="1276" y="106"/>
                </a:cubicBezTo>
                <a:cubicBezTo>
                  <a:pt x="1277" y="103"/>
                  <a:pt x="1279" y="101"/>
                  <a:pt x="1284" y="99"/>
                </a:cubicBezTo>
                <a:cubicBezTo>
                  <a:pt x="1290" y="96"/>
                  <a:pt x="1294" y="93"/>
                  <a:pt x="1294" y="90"/>
                </a:cubicBezTo>
                <a:cubicBezTo>
                  <a:pt x="1294" y="87"/>
                  <a:pt x="1293" y="84"/>
                  <a:pt x="1291" y="82"/>
                </a:cubicBezTo>
                <a:cubicBezTo>
                  <a:pt x="1289" y="79"/>
                  <a:pt x="1288" y="77"/>
                  <a:pt x="1285" y="75"/>
                </a:cubicBezTo>
                <a:cubicBezTo>
                  <a:pt x="1284" y="73"/>
                  <a:pt x="1278" y="70"/>
                  <a:pt x="1268" y="67"/>
                </a:cubicBezTo>
                <a:cubicBezTo>
                  <a:pt x="1259" y="66"/>
                  <a:pt x="1253" y="64"/>
                  <a:pt x="1251" y="61"/>
                </a:cubicBezTo>
                <a:cubicBezTo>
                  <a:pt x="1248" y="56"/>
                  <a:pt x="1246" y="52"/>
                  <a:pt x="1244" y="49"/>
                </a:cubicBezTo>
                <a:cubicBezTo>
                  <a:pt x="1239" y="42"/>
                  <a:pt x="1237" y="36"/>
                  <a:pt x="1239" y="31"/>
                </a:cubicBezTo>
                <a:cubicBezTo>
                  <a:pt x="1241" y="25"/>
                  <a:pt x="1238" y="21"/>
                  <a:pt x="1230" y="19"/>
                </a:cubicBezTo>
                <a:cubicBezTo>
                  <a:pt x="1225" y="18"/>
                  <a:pt x="1220" y="15"/>
                  <a:pt x="1214" y="9"/>
                </a:cubicBezTo>
                <a:cubicBezTo>
                  <a:pt x="1208" y="4"/>
                  <a:pt x="1203" y="1"/>
                  <a:pt x="1197" y="0"/>
                </a:cubicBezTo>
                <a:cubicBezTo>
                  <a:pt x="1192" y="0"/>
                  <a:pt x="1188" y="2"/>
                  <a:pt x="1184" y="7"/>
                </a:cubicBezTo>
                <a:cubicBezTo>
                  <a:pt x="1181" y="12"/>
                  <a:pt x="1178" y="14"/>
                  <a:pt x="1176" y="14"/>
                </a:cubicBezTo>
                <a:cubicBezTo>
                  <a:pt x="1176" y="14"/>
                  <a:pt x="1174" y="13"/>
                  <a:pt x="1172" y="11"/>
                </a:cubicBezTo>
                <a:cubicBezTo>
                  <a:pt x="1170" y="9"/>
                  <a:pt x="1168" y="8"/>
                  <a:pt x="1167" y="8"/>
                </a:cubicBezTo>
                <a:cubicBezTo>
                  <a:pt x="1159" y="11"/>
                  <a:pt x="1154" y="12"/>
                  <a:pt x="1152" y="12"/>
                </a:cubicBezTo>
                <a:lnTo>
                  <a:pt x="1135" y="10"/>
                </a:lnTo>
                <a:cubicBezTo>
                  <a:pt x="1135" y="10"/>
                  <a:pt x="1135" y="11"/>
                  <a:pt x="1134" y="11"/>
                </a:cubicBezTo>
                <a:cubicBezTo>
                  <a:pt x="1135" y="13"/>
                  <a:pt x="1136" y="15"/>
                  <a:pt x="1137" y="16"/>
                </a:cubicBezTo>
                <a:cubicBezTo>
                  <a:pt x="1137" y="16"/>
                  <a:pt x="1134" y="18"/>
                  <a:pt x="1127" y="23"/>
                </a:cubicBezTo>
                <a:cubicBezTo>
                  <a:pt x="1120" y="27"/>
                  <a:pt x="1116" y="30"/>
                  <a:pt x="1115" y="32"/>
                </a:cubicBezTo>
                <a:cubicBezTo>
                  <a:pt x="1113" y="35"/>
                  <a:pt x="1111" y="38"/>
                  <a:pt x="1110" y="39"/>
                </a:cubicBezTo>
                <a:cubicBezTo>
                  <a:pt x="1109" y="40"/>
                  <a:pt x="1107" y="41"/>
                  <a:pt x="1104" y="40"/>
                </a:cubicBezTo>
                <a:cubicBezTo>
                  <a:pt x="1098" y="41"/>
                  <a:pt x="1094" y="41"/>
                  <a:pt x="1090" y="41"/>
                </a:cubicBezTo>
                <a:cubicBezTo>
                  <a:pt x="1087" y="41"/>
                  <a:pt x="1084" y="40"/>
                  <a:pt x="1081" y="38"/>
                </a:cubicBezTo>
                <a:cubicBezTo>
                  <a:pt x="1077" y="37"/>
                  <a:pt x="1075" y="36"/>
                  <a:pt x="1073" y="35"/>
                </a:cubicBezTo>
                <a:cubicBezTo>
                  <a:pt x="1070" y="35"/>
                  <a:pt x="1066" y="36"/>
                  <a:pt x="1062" y="37"/>
                </a:cubicBezTo>
                <a:cubicBezTo>
                  <a:pt x="1056" y="39"/>
                  <a:pt x="1052" y="40"/>
                  <a:pt x="1050" y="40"/>
                </a:cubicBezTo>
                <a:cubicBezTo>
                  <a:pt x="1051" y="45"/>
                  <a:pt x="1053" y="50"/>
                  <a:pt x="1056" y="55"/>
                </a:cubicBezTo>
                <a:cubicBezTo>
                  <a:pt x="1056" y="56"/>
                  <a:pt x="1055" y="58"/>
                  <a:pt x="1053" y="60"/>
                </a:cubicBezTo>
                <a:cubicBezTo>
                  <a:pt x="1052" y="63"/>
                  <a:pt x="1051" y="65"/>
                  <a:pt x="1050" y="67"/>
                </a:cubicBezTo>
                <a:cubicBezTo>
                  <a:pt x="1050" y="69"/>
                  <a:pt x="1050" y="71"/>
                  <a:pt x="1050" y="75"/>
                </a:cubicBezTo>
                <a:cubicBezTo>
                  <a:pt x="1050" y="78"/>
                  <a:pt x="1049" y="80"/>
                  <a:pt x="1048" y="82"/>
                </a:cubicBezTo>
                <a:cubicBezTo>
                  <a:pt x="1043" y="87"/>
                  <a:pt x="1039" y="91"/>
                  <a:pt x="1037" y="92"/>
                </a:cubicBezTo>
                <a:cubicBezTo>
                  <a:pt x="1034" y="94"/>
                  <a:pt x="1030" y="95"/>
                  <a:pt x="1027" y="95"/>
                </a:cubicBezTo>
                <a:cubicBezTo>
                  <a:pt x="1025" y="95"/>
                  <a:pt x="1022" y="95"/>
                  <a:pt x="1020" y="96"/>
                </a:cubicBezTo>
                <a:cubicBezTo>
                  <a:pt x="1017" y="97"/>
                  <a:pt x="1014" y="98"/>
                  <a:pt x="1012" y="97"/>
                </a:cubicBezTo>
                <a:cubicBezTo>
                  <a:pt x="1008" y="94"/>
                  <a:pt x="1004" y="92"/>
                  <a:pt x="1000" y="89"/>
                </a:cubicBezTo>
                <a:cubicBezTo>
                  <a:pt x="998" y="90"/>
                  <a:pt x="995" y="90"/>
                  <a:pt x="992" y="91"/>
                </a:cubicBezTo>
                <a:cubicBezTo>
                  <a:pt x="987" y="93"/>
                  <a:pt x="983" y="94"/>
                  <a:pt x="982" y="94"/>
                </a:cubicBezTo>
                <a:cubicBezTo>
                  <a:pt x="969" y="95"/>
                  <a:pt x="962" y="95"/>
                  <a:pt x="960" y="96"/>
                </a:cubicBezTo>
                <a:cubicBezTo>
                  <a:pt x="953" y="97"/>
                  <a:pt x="948" y="101"/>
                  <a:pt x="947" y="107"/>
                </a:cubicBezTo>
                <a:cubicBezTo>
                  <a:pt x="947" y="110"/>
                  <a:pt x="944" y="111"/>
                  <a:pt x="939" y="111"/>
                </a:cubicBezTo>
                <a:cubicBezTo>
                  <a:pt x="933" y="110"/>
                  <a:pt x="929" y="109"/>
                  <a:pt x="926" y="109"/>
                </a:cubicBezTo>
                <a:cubicBezTo>
                  <a:pt x="917" y="108"/>
                  <a:pt x="912" y="111"/>
                  <a:pt x="908" y="118"/>
                </a:cubicBezTo>
                <a:cubicBezTo>
                  <a:pt x="906" y="126"/>
                  <a:pt x="903" y="133"/>
                  <a:pt x="900" y="136"/>
                </a:cubicBezTo>
                <a:cubicBezTo>
                  <a:pt x="898" y="140"/>
                  <a:pt x="894" y="148"/>
                  <a:pt x="890" y="159"/>
                </a:cubicBezTo>
                <a:cubicBezTo>
                  <a:pt x="887" y="169"/>
                  <a:pt x="885" y="175"/>
                  <a:pt x="884" y="177"/>
                </a:cubicBezTo>
                <a:cubicBezTo>
                  <a:pt x="884" y="179"/>
                  <a:pt x="885" y="182"/>
                  <a:pt x="886" y="185"/>
                </a:cubicBezTo>
                <a:cubicBezTo>
                  <a:pt x="886" y="185"/>
                  <a:pt x="885" y="187"/>
                  <a:pt x="883" y="188"/>
                </a:cubicBezTo>
                <a:cubicBezTo>
                  <a:pt x="881" y="190"/>
                  <a:pt x="880" y="192"/>
                  <a:pt x="880" y="193"/>
                </a:cubicBezTo>
                <a:cubicBezTo>
                  <a:pt x="879" y="196"/>
                  <a:pt x="879" y="200"/>
                  <a:pt x="878" y="206"/>
                </a:cubicBezTo>
                <a:cubicBezTo>
                  <a:pt x="877" y="210"/>
                  <a:pt x="881" y="217"/>
                  <a:pt x="888" y="227"/>
                </a:cubicBezTo>
                <a:cubicBezTo>
                  <a:pt x="896" y="237"/>
                  <a:pt x="899" y="245"/>
                  <a:pt x="899" y="251"/>
                </a:cubicBezTo>
                <a:cubicBezTo>
                  <a:pt x="898" y="253"/>
                  <a:pt x="897" y="255"/>
                  <a:pt x="896" y="256"/>
                </a:cubicBezTo>
                <a:cubicBezTo>
                  <a:pt x="895" y="260"/>
                  <a:pt x="893" y="264"/>
                  <a:pt x="891" y="266"/>
                </a:cubicBezTo>
                <a:cubicBezTo>
                  <a:pt x="889" y="265"/>
                  <a:pt x="885" y="264"/>
                  <a:pt x="880" y="263"/>
                </a:cubicBezTo>
                <a:cubicBezTo>
                  <a:pt x="874" y="261"/>
                  <a:pt x="869" y="259"/>
                  <a:pt x="865" y="254"/>
                </a:cubicBezTo>
                <a:cubicBezTo>
                  <a:pt x="863" y="251"/>
                  <a:pt x="861" y="248"/>
                  <a:pt x="859" y="245"/>
                </a:cubicBezTo>
                <a:cubicBezTo>
                  <a:pt x="858" y="242"/>
                  <a:pt x="858" y="241"/>
                  <a:pt x="857" y="240"/>
                </a:cubicBezTo>
                <a:cubicBezTo>
                  <a:pt x="856" y="238"/>
                  <a:pt x="852" y="236"/>
                  <a:pt x="844" y="236"/>
                </a:cubicBezTo>
                <a:cubicBezTo>
                  <a:pt x="835" y="235"/>
                  <a:pt x="827" y="237"/>
                  <a:pt x="820" y="243"/>
                </a:cubicBezTo>
                <a:cubicBezTo>
                  <a:pt x="816" y="246"/>
                  <a:pt x="813" y="248"/>
                  <a:pt x="813" y="248"/>
                </a:cubicBezTo>
                <a:cubicBezTo>
                  <a:pt x="810" y="250"/>
                  <a:pt x="808" y="251"/>
                  <a:pt x="804" y="250"/>
                </a:cubicBezTo>
                <a:cubicBezTo>
                  <a:pt x="795" y="246"/>
                  <a:pt x="789" y="244"/>
                  <a:pt x="787" y="244"/>
                </a:cubicBezTo>
                <a:cubicBezTo>
                  <a:pt x="786" y="244"/>
                  <a:pt x="784" y="245"/>
                  <a:pt x="782" y="248"/>
                </a:cubicBezTo>
                <a:cubicBezTo>
                  <a:pt x="780" y="251"/>
                  <a:pt x="777" y="252"/>
                  <a:pt x="771" y="252"/>
                </a:cubicBezTo>
                <a:lnTo>
                  <a:pt x="771" y="258"/>
                </a:lnTo>
                <a:cubicBezTo>
                  <a:pt x="771" y="259"/>
                  <a:pt x="766" y="262"/>
                  <a:pt x="756" y="267"/>
                </a:cubicBezTo>
                <a:cubicBezTo>
                  <a:pt x="751" y="266"/>
                  <a:pt x="748" y="264"/>
                  <a:pt x="746" y="260"/>
                </a:cubicBezTo>
                <a:cubicBezTo>
                  <a:pt x="744" y="258"/>
                  <a:pt x="743" y="254"/>
                  <a:pt x="742" y="248"/>
                </a:cubicBezTo>
                <a:cubicBezTo>
                  <a:pt x="740" y="242"/>
                  <a:pt x="738" y="238"/>
                  <a:pt x="736" y="236"/>
                </a:cubicBezTo>
                <a:cubicBezTo>
                  <a:pt x="734" y="232"/>
                  <a:pt x="729" y="230"/>
                  <a:pt x="724" y="229"/>
                </a:cubicBezTo>
                <a:cubicBezTo>
                  <a:pt x="721" y="229"/>
                  <a:pt x="719" y="230"/>
                  <a:pt x="717" y="232"/>
                </a:cubicBezTo>
                <a:cubicBezTo>
                  <a:pt x="717" y="233"/>
                  <a:pt x="715" y="235"/>
                  <a:pt x="714" y="239"/>
                </a:cubicBezTo>
                <a:cubicBezTo>
                  <a:pt x="713" y="240"/>
                  <a:pt x="711" y="241"/>
                  <a:pt x="708" y="243"/>
                </a:cubicBezTo>
                <a:cubicBezTo>
                  <a:pt x="705" y="244"/>
                  <a:pt x="703" y="245"/>
                  <a:pt x="701" y="246"/>
                </a:cubicBezTo>
                <a:cubicBezTo>
                  <a:pt x="698" y="247"/>
                  <a:pt x="694" y="251"/>
                  <a:pt x="689" y="258"/>
                </a:cubicBezTo>
                <a:cubicBezTo>
                  <a:pt x="685" y="264"/>
                  <a:pt x="682" y="267"/>
                  <a:pt x="682" y="267"/>
                </a:cubicBezTo>
                <a:cubicBezTo>
                  <a:pt x="679" y="267"/>
                  <a:pt x="676" y="264"/>
                  <a:pt x="673" y="258"/>
                </a:cubicBezTo>
                <a:cubicBezTo>
                  <a:pt x="671" y="252"/>
                  <a:pt x="667" y="249"/>
                  <a:pt x="662" y="249"/>
                </a:cubicBezTo>
                <a:cubicBezTo>
                  <a:pt x="660" y="248"/>
                  <a:pt x="658" y="250"/>
                  <a:pt x="654" y="252"/>
                </a:cubicBezTo>
                <a:cubicBezTo>
                  <a:pt x="650" y="254"/>
                  <a:pt x="649" y="256"/>
                  <a:pt x="648" y="258"/>
                </a:cubicBezTo>
                <a:lnTo>
                  <a:pt x="641" y="257"/>
                </a:lnTo>
                <a:cubicBezTo>
                  <a:pt x="640" y="255"/>
                  <a:pt x="637" y="252"/>
                  <a:pt x="634" y="250"/>
                </a:cubicBezTo>
                <a:cubicBezTo>
                  <a:pt x="630" y="248"/>
                  <a:pt x="627" y="246"/>
                  <a:pt x="625" y="245"/>
                </a:cubicBezTo>
                <a:lnTo>
                  <a:pt x="620" y="244"/>
                </a:lnTo>
                <a:cubicBezTo>
                  <a:pt x="617" y="252"/>
                  <a:pt x="613" y="256"/>
                  <a:pt x="610" y="257"/>
                </a:cubicBezTo>
                <a:cubicBezTo>
                  <a:pt x="608" y="258"/>
                  <a:pt x="602" y="258"/>
                  <a:pt x="592" y="257"/>
                </a:cubicBezTo>
                <a:cubicBezTo>
                  <a:pt x="589" y="256"/>
                  <a:pt x="586" y="260"/>
                  <a:pt x="582" y="267"/>
                </a:cubicBezTo>
                <a:cubicBezTo>
                  <a:pt x="577" y="276"/>
                  <a:pt x="574" y="280"/>
                  <a:pt x="571" y="280"/>
                </a:cubicBezTo>
                <a:cubicBezTo>
                  <a:pt x="570" y="273"/>
                  <a:pt x="569" y="268"/>
                  <a:pt x="569" y="265"/>
                </a:cubicBezTo>
                <a:cubicBezTo>
                  <a:pt x="568" y="260"/>
                  <a:pt x="566" y="257"/>
                  <a:pt x="561" y="257"/>
                </a:cubicBezTo>
                <a:cubicBezTo>
                  <a:pt x="558" y="257"/>
                  <a:pt x="553" y="258"/>
                  <a:pt x="545" y="260"/>
                </a:cubicBezTo>
                <a:cubicBezTo>
                  <a:pt x="537" y="262"/>
                  <a:pt x="533" y="263"/>
                  <a:pt x="533" y="263"/>
                </a:cubicBezTo>
                <a:cubicBezTo>
                  <a:pt x="527" y="263"/>
                  <a:pt x="522" y="258"/>
                  <a:pt x="516" y="250"/>
                </a:cubicBezTo>
                <a:cubicBezTo>
                  <a:pt x="510" y="241"/>
                  <a:pt x="504" y="237"/>
                  <a:pt x="500" y="236"/>
                </a:cubicBezTo>
                <a:cubicBezTo>
                  <a:pt x="497" y="236"/>
                  <a:pt x="492" y="237"/>
                  <a:pt x="486" y="239"/>
                </a:cubicBezTo>
                <a:cubicBezTo>
                  <a:pt x="479" y="240"/>
                  <a:pt x="475" y="241"/>
                  <a:pt x="473" y="241"/>
                </a:cubicBezTo>
                <a:cubicBezTo>
                  <a:pt x="471" y="240"/>
                  <a:pt x="466" y="240"/>
                  <a:pt x="460" y="238"/>
                </a:cubicBezTo>
                <a:cubicBezTo>
                  <a:pt x="454" y="236"/>
                  <a:pt x="449" y="235"/>
                  <a:pt x="445" y="234"/>
                </a:cubicBezTo>
                <a:cubicBezTo>
                  <a:pt x="441" y="234"/>
                  <a:pt x="438" y="235"/>
                  <a:pt x="436" y="236"/>
                </a:cubicBezTo>
                <a:cubicBezTo>
                  <a:pt x="433" y="238"/>
                  <a:pt x="432" y="239"/>
                  <a:pt x="430" y="239"/>
                </a:cubicBezTo>
                <a:cubicBezTo>
                  <a:pt x="429" y="238"/>
                  <a:pt x="427" y="237"/>
                  <a:pt x="424" y="235"/>
                </a:cubicBezTo>
                <a:cubicBezTo>
                  <a:pt x="421" y="233"/>
                  <a:pt x="419" y="232"/>
                  <a:pt x="418" y="231"/>
                </a:cubicBezTo>
                <a:cubicBezTo>
                  <a:pt x="410" y="234"/>
                  <a:pt x="405" y="235"/>
                  <a:pt x="401" y="234"/>
                </a:cubicBezTo>
                <a:cubicBezTo>
                  <a:pt x="400" y="234"/>
                  <a:pt x="397" y="233"/>
                  <a:pt x="393" y="230"/>
                </a:cubicBezTo>
                <a:cubicBezTo>
                  <a:pt x="388" y="227"/>
                  <a:pt x="385" y="226"/>
                  <a:pt x="384" y="225"/>
                </a:cubicBezTo>
                <a:cubicBezTo>
                  <a:pt x="377" y="225"/>
                  <a:pt x="365" y="226"/>
                  <a:pt x="347" y="230"/>
                </a:cubicBezTo>
                <a:cubicBezTo>
                  <a:pt x="329" y="233"/>
                  <a:pt x="319" y="235"/>
                  <a:pt x="316" y="235"/>
                </a:cubicBezTo>
                <a:cubicBezTo>
                  <a:pt x="308" y="234"/>
                  <a:pt x="302" y="233"/>
                  <a:pt x="297" y="232"/>
                </a:cubicBezTo>
                <a:cubicBezTo>
                  <a:pt x="290" y="232"/>
                  <a:pt x="284" y="232"/>
                  <a:pt x="280" y="234"/>
                </a:cubicBezTo>
                <a:cubicBezTo>
                  <a:pt x="278" y="235"/>
                  <a:pt x="274" y="238"/>
                  <a:pt x="269" y="243"/>
                </a:cubicBezTo>
                <a:cubicBezTo>
                  <a:pt x="265" y="247"/>
                  <a:pt x="260" y="249"/>
                  <a:pt x="254" y="249"/>
                </a:cubicBezTo>
                <a:cubicBezTo>
                  <a:pt x="240" y="247"/>
                  <a:pt x="230" y="247"/>
                  <a:pt x="222" y="247"/>
                </a:cubicBezTo>
                <a:cubicBezTo>
                  <a:pt x="210" y="248"/>
                  <a:pt x="201" y="254"/>
                  <a:pt x="195" y="265"/>
                </a:cubicBezTo>
                <a:cubicBezTo>
                  <a:pt x="194" y="266"/>
                  <a:pt x="192" y="271"/>
                  <a:pt x="190" y="278"/>
                </a:cubicBezTo>
                <a:cubicBezTo>
                  <a:pt x="189" y="283"/>
                  <a:pt x="186" y="287"/>
                  <a:pt x="182" y="290"/>
                </a:cubicBezTo>
                <a:cubicBezTo>
                  <a:pt x="180" y="291"/>
                  <a:pt x="177" y="295"/>
                  <a:pt x="170" y="301"/>
                </a:cubicBezTo>
                <a:cubicBezTo>
                  <a:pt x="165" y="306"/>
                  <a:pt x="162" y="308"/>
                  <a:pt x="160" y="308"/>
                </a:cubicBezTo>
                <a:cubicBezTo>
                  <a:pt x="158" y="308"/>
                  <a:pt x="155" y="306"/>
                  <a:pt x="152" y="303"/>
                </a:cubicBezTo>
                <a:cubicBezTo>
                  <a:pt x="148" y="300"/>
                  <a:pt x="145" y="298"/>
                  <a:pt x="143" y="298"/>
                </a:cubicBezTo>
                <a:cubicBezTo>
                  <a:pt x="139" y="298"/>
                  <a:pt x="136" y="298"/>
                  <a:pt x="134" y="300"/>
                </a:cubicBezTo>
                <a:cubicBezTo>
                  <a:pt x="131" y="302"/>
                  <a:pt x="128" y="304"/>
                  <a:pt x="126" y="305"/>
                </a:cubicBezTo>
                <a:cubicBezTo>
                  <a:pt x="125" y="315"/>
                  <a:pt x="124" y="324"/>
                  <a:pt x="122" y="331"/>
                </a:cubicBezTo>
                <a:cubicBezTo>
                  <a:pt x="122" y="333"/>
                  <a:pt x="123" y="335"/>
                  <a:pt x="125" y="336"/>
                </a:cubicBezTo>
                <a:cubicBezTo>
                  <a:pt x="126" y="337"/>
                  <a:pt x="127" y="339"/>
                  <a:pt x="129" y="341"/>
                </a:cubicBezTo>
                <a:cubicBezTo>
                  <a:pt x="132" y="343"/>
                  <a:pt x="132" y="348"/>
                  <a:pt x="131" y="355"/>
                </a:cubicBezTo>
                <a:cubicBezTo>
                  <a:pt x="131" y="356"/>
                  <a:pt x="130" y="357"/>
                  <a:pt x="129" y="358"/>
                </a:cubicBezTo>
                <a:cubicBezTo>
                  <a:pt x="128" y="359"/>
                  <a:pt x="128" y="360"/>
                  <a:pt x="127" y="360"/>
                </a:cubicBezTo>
                <a:cubicBezTo>
                  <a:pt x="127" y="363"/>
                  <a:pt x="132" y="369"/>
                  <a:pt x="141" y="377"/>
                </a:cubicBezTo>
                <a:cubicBezTo>
                  <a:pt x="146" y="381"/>
                  <a:pt x="151" y="385"/>
                  <a:pt x="156" y="389"/>
                </a:cubicBezTo>
                <a:cubicBezTo>
                  <a:pt x="155" y="399"/>
                  <a:pt x="159" y="409"/>
                  <a:pt x="168" y="418"/>
                </a:cubicBezTo>
                <a:cubicBezTo>
                  <a:pt x="173" y="424"/>
                  <a:pt x="180" y="430"/>
                  <a:pt x="191" y="438"/>
                </a:cubicBezTo>
                <a:cubicBezTo>
                  <a:pt x="185" y="442"/>
                  <a:pt x="180" y="444"/>
                  <a:pt x="175" y="442"/>
                </a:cubicBezTo>
                <a:cubicBezTo>
                  <a:pt x="175" y="443"/>
                  <a:pt x="174" y="445"/>
                  <a:pt x="173" y="445"/>
                </a:cubicBezTo>
                <a:cubicBezTo>
                  <a:pt x="172" y="446"/>
                  <a:pt x="172" y="447"/>
                  <a:pt x="172" y="448"/>
                </a:cubicBezTo>
                <a:cubicBezTo>
                  <a:pt x="171" y="450"/>
                  <a:pt x="173" y="452"/>
                  <a:pt x="175" y="455"/>
                </a:cubicBezTo>
                <a:cubicBezTo>
                  <a:pt x="177" y="457"/>
                  <a:pt x="180" y="460"/>
                  <a:pt x="184" y="463"/>
                </a:cubicBezTo>
                <a:cubicBezTo>
                  <a:pt x="192" y="472"/>
                  <a:pt x="195" y="481"/>
                  <a:pt x="194" y="492"/>
                </a:cubicBezTo>
                <a:cubicBezTo>
                  <a:pt x="194" y="494"/>
                  <a:pt x="192" y="496"/>
                  <a:pt x="189" y="498"/>
                </a:cubicBezTo>
                <a:cubicBezTo>
                  <a:pt x="187" y="500"/>
                  <a:pt x="185" y="502"/>
                  <a:pt x="185" y="504"/>
                </a:cubicBezTo>
                <a:cubicBezTo>
                  <a:pt x="185" y="505"/>
                  <a:pt x="185" y="507"/>
                  <a:pt x="186" y="512"/>
                </a:cubicBezTo>
                <a:cubicBezTo>
                  <a:pt x="186" y="514"/>
                  <a:pt x="184" y="515"/>
                  <a:pt x="180" y="516"/>
                </a:cubicBezTo>
                <a:lnTo>
                  <a:pt x="168" y="518"/>
                </a:lnTo>
                <a:cubicBezTo>
                  <a:pt x="156" y="520"/>
                  <a:pt x="150" y="524"/>
                  <a:pt x="149" y="529"/>
                </a:cubicBezTo>
                <a:cubicBezTo>
                  <a:pt x="149" y="531"/>
                  <a:pt x="150" y="533"/>
                  <a:pt x="151" y="537"/>
                </a:cubicBezTo>
                <a:cubicBezTo>
                  <a:pt x="151" y="540"/>
                  <a:pt x="147" y="543"/>
                  <a:pt x="140" y="547"/>
                </a:cubicBezTo>
                <a:cubicBezTo>
                  <a:pt x="133" y="552"/>
                  <a:pt x="129" y="554"/>
                  <a:pt x="129" y="555"/>
                </a:cubicBezTo>
                <a:cubicBezTo>
                  <a:pt x="123" y="565"/>
                  <a:pt x="118" y="572"/>
                  <a:pt x="113" y="577"/>
                </a:cubicBezTo>
                <a:cubicBezTo>
                  <a:pt x="107" y="584"/>
                  <a:pt x="102" y="591"/>
                  <a:pt x="97" y="597"/>
                </a:cubicBezTo>
                <a:cubicBezTo>
                  <a:pt x="87" y="610"/>
                  <a:pt x="81" y="620"/>
                  <a:pt x="80" y="627"/>
                </a:cubicBezTo>
                <a:cubicBezTo>
                  <a:pt x="75" y="631"/>
                  <a:pt x="72" y="635"/>
                  <a:pt x="70" y="637"/>
                </a:cubicBezTo>
                <a:cubicBezTo>
                  <a:pt x="67" y="645"/>
                  <a:pt x="64" y="651"/>
                  <a:pt x="60" y="653"/>
                </a:cubicBezTo>
                <a:cubicBezTo>
                  <a:pt x="58" y="655"/>
                  <a:pt x="56" y="658"/>
                  <a:pt x="55" y="662"/>
                </a:cubicBezTo>
                <a:cubicBezTo>
                  <a:pt x="54" y="669"/>
                  <a:pt x="53" y="672"/>
                  <a:pt x="53" y="672"/>
                </a:cubicBezTo>
                <a:cubicBezTo>
                  <a:pt x="52" y="674"/>
                  <a:pt x="50" y="676"/>
                  <a:pt x="46" y="680"/>
                </a:cubicBezTo>
                <a:cubicBezTo>
                  <a:pt x="43" y="683"/>
                  <a:pt x="41" y="685"/>
                  <a:pt x="41" y="688"/>
                </a:cubicBezTo>
                <a:cubicBezTo>
                  <a:pt x="41" y="688"/>
                  <a:pt x="44" y="694"/>
                  <a:pt x="50" y="706"/>
                </a:cubicBezTo>
                <a:cubicBezTo>
                  <a:pt x="56" y="719"/>
                  <a:pt x="59" y="730"/>
                  <a:pt x="58" y="739"/>
                </a:cubicBezTo>
                <a:cubicBezTo>
                  <a:pt x="58" y="741"/>
                  <a:pt x="57" y="743"/>
                  <a:pt x="55" y="746"/>
                </a:cubicBezTo>
                <a:cubicBezTo>
                  <a:pt x="55" y="748"/>
                  <a:pt x="60" y="752"/>
                  <a:pt x="71" y="757"/>
                </a:cubicBezTo>
                <a:cubicBezTo>
                  <a:pt x="73" y="758"/>
                  <a:pt x="75" y="760"/>
                  <a:pt x="76" y="765"/>
                </a:cubicBezTo>
                <a:cubicBezTo>
                  <a:pt x="78" y="769"/>
                  <a:pt x="78" y="773"/>
                  <a:pt x="78" y="776"/>
                </a:cubicBezTo>
                <a:cubicBezTo>
                  <a:pt x="78" y="777"/>
                  <a:pt x="77" y="778"/>
                  <a:pt x="77" y="778"/>
                </a:cubicBezTo>
                <a:lnTo>
                  <a:pt x="73" y="778"/>
                </a:lnTo>
                <a:cubicBezTo>
                  <a:pt x="71" y="774"/>
                  <a:pt x="68" y="772"/>
                  <a:pt x="65" y="772"/>
                </a:cubicBezTo>
                <a:cubicBezTo>
                  <a:pt x="64" y="772"/>
                  <a:pt x="62" y="772"/>
                  <a:pt x="60" y="773"/>
                </a:cubicBezTo>
                <a:cubicBezTo>
                  <a:pt x="58" y="774"/>
                  <a:pt x="57" y="774"/>
                  <a:pt x="56" y="774"/>
                </a:cubicBezTo>
                <a:cubicBezTo>
                  <a:pt x="50" y="771"/>
                  <a:pt x="45" y="769"/>
                  <a:pt x="40" y="768"/>
                </a:cubicBezTo>
                <a:cubicBezTo>
                  <a:pt x="40" y="768"/>
                  <a:pt x="40" y="768"/>
                  <a:pt x="40" y="769"/>
                </a:cubicBezTo>
                <a:cubicBezTo>
                  <a:pt x="39" y="769"/>
                  <a:pt x="39" y="768"/>
                  <a:pt x="39" y="768"/>
                </a:cubicBezTo>
                <a:cubicBezTo>
                  <a:pt x="39" y="771"/>
                  <a:pt x="39" y="774"/>
                  <a:pt x="39" y="777"/>
                </a:cubicBezTo>
                <a:cubicBezTo>
                  <a:pt x="39" y="780"/>
                  <a:pt x="38" y="782"/>
                  <a:pt x="36" y="784"/>
                </a:cubicBezTo>
                <a:cubicBezTo>
                  <a:pt x="34" y="785"/>
                  <a:pt x="33" y="786"/>
                  <a:pt x="31" y="787"/>
                </a:cubicBezTo>
                <a:cubicBezTo>
                  <a:pt x="27" y="791"/>
                  <a:pt x="24" y="798"/>
                  <a:pt x="23" y="810"/>
                </a:cubicBezTo>
                <a:cubicBezTo>
                  <a:pt x="22" y="811"/>
                  <a:pt x="22" y="816"/>
                  <a:pt x="22" y="825"/>
                </a:cubicBezTo>
                <a:cubicBezTo>
                  <a:pt x="22" y="832"/>
                  <a:pt x="18" y="839"/>
                  <a:pt x="12" y="845"/>
                </a:cubicBezTo>
                <a:cubicBezTo>
                  <a:pt x="6" y="851"/>
                  <a:pt x="3" y="854"/>
                  <a:pt x="3" y="856"/>
                </a:cubicBezTo>
                <a:cubicBezTo>
                  <a:pt x="3" y="857"/>
                  <a:pt x="3" y="860"/>
                  <a:pt x="4" y="863"/>
                </a:cubicBezTo>
                <a:cubicBezTo>
                  <a:pt x="4" y="865"/>
                  <a:pt x="3" y="866"/>
                  <a:pt x="2" y="867"/>
                </a:cubicBezTo>
                <a:cubicBezTo>
                  <a:pt x="1" y="868"/>
                  <a:pt x="1" y="869"/>
                  <a:pt x="1" y="870"/>
                </a:cubicBezTo>
                <a:cubicBezTo>
                  <a:pt x="0" y="873"/>
                  <a:pt x="1" y="879"/>
                  <a:pt x="1" y="887"/>
                </a:cubicBezTo>
                <a:cubicBezTo>
                  <a:pt x="1" y="887"/>
                  <a:pt x="1" y="888"/>
                  <a:pt x="1" y="889"/>
                </a:cubicBezTo>
                <a:cubicBezTo>
                  <a:pt x="10" y="892"/>
                  <a:pt x="17" y="898"/>
                  <a:pt x="22" y="905"/>
                </a:cubicBezTo>
                <a:cubicBezTo>
                  <a:pt x="24" y="909"/>
                  <a:pt x="27" y="912"/>
                  <a:pt x="28" y="913"/>
                </a:cubicBezTo>
                <a:cubicBezTo>
                  <a:pt x="31" y="916"/>
                  <a:pt x="35" y="917"/>
                  <a:pt x="41" y="918"/>
                </a:cubicBezTo>
                <a:cubicBezTo>
                  <a:pt x="47" y="918"/>
                  <a:pt x="52" y="922"/>
                  <a:pt x="56" y="929"/>
                </a:cubicBezTo>
                <a:cubicBezTo>
                  <a:pt x="59" y="936"/>
                  <a:pt x="63" y="940"/>
                  <a:pt x="68" y="940"/>
                </a:cubicBezTo>
                <a:cubicBezTo>
                  <a:pt x="69" y="941"/>
                  <a:pt x="74" y="940"/>
                  <a:pt x="81" y="940"/>
                </a:cubicBezTo>
                <a:cubicBezTo>
                  <a:pt x="85" y="940"/>
                  <a:pt x="88" y="943"/>
                  <a:pt x="90" y="949"/>
                </a:cubicBezTo>
                <a:cubicBezTo>
                  <a:pt x="91" y="955"/>
                  <a:pt x="93" y="960"/>
                  <a:pt x="94" y="962"/>
                </a:cubicBezTo>
                <a:cubicBezTo>
                  <a:pt x="97" y="959"/>
                  <a:pt x="98" y="958"/>
                  <a:pt x="99" y="957"/>
                </a:cubicBezTo>
                <a:cubicBezTo>
                  <a:pt x="100" y="957"/>
                  <a:pt x="103" y="956"/>
                  <a:pt x="106" y="957"/>
                </a:cubicBezTo>
                <a:cubicBezTo>
                  <a:pt x="109" y="957"/>
                  <a:pt x="112" y="957"/>
                  <a:pt x="113" y="956"/>
                </a:cubicBezTo>
                <a:cubicBezTo>
                  <a:pt x="116" y="955"/>
                  <a:pt x="118" y="950"/>
                  <a:pt x="119" y="941"/>
                </a:cubicBezTo>
                <a:cubicBezTo>
                  <a:pt x="119" y="940"/>
                  <a:pt x="121" y="939"/>
                  <a:pt x="125" y="938"/>
                </a:cubicBezTo>
                <a:cubicBezTo>
                  <a:pt x="128" y="936"/>
                  <a:pt x="131" y="936"/>
                  <a:pt x="132" y="936"/>
                </a:cubicBezTo>
                <a:cubicBezTo>
                  <a:pt x="135" y="936"/>
                  <a:pt x="137" y="938"/>
                  <a:pt x="140" y="942"/>
                </a:cubicBezTo>
                <a:cubicBezTo>
                  <a:pt x="143" y="946"/>
                  <a:pt x="145" y="948"/>
                  <a:pt x="147" y="949"/>
                </a:cubicBezTo>
                <a:cubicBezTo>
                  <a:pt x="149" y="950"/>
                  <a:pt x="153" y="951"/>
                  <a:pt x="157" y="952"/>
                </a:cubicBezTo>
                <a:cubicBezTo>
                  <a:pt x="162" y="952"/>
                  <a:pt x="165" y="953"/>
                  <a:pt x="167" y="954"/>
                </a:cubicBezTo>
                <a:cubicBezTo>
                  <a:pt x="168" y="954"/>
                  <a:pt x="168" y="952"/>
                  <a:pt x="170" y="951"/>
                </a:cubicBezTo>
                <a:cubicBezTo>
                  <a:pt x="171" y="949"/>
                  <a:pt x="173" y="948"/>
                  <a:pt x="174" y="948"/>
                </a:cubicBezTo>
                <a:cubicBezTo>
                  <a:pt x="175" y="949"/>
                  <a:pt x="177" y="949"/>
                  <a:pt x="181" y="951"/>
                </a:cubicBezTo>
                <a:cubicBezTo>
                  <a:pt x="182" y="951"/>
                  <a:pt x="184" y="950"/>
                  <a:pt x="186" y="949"/>
                </a:cubicBezTo>
                <a:cubicBezTo>
                  <a:pt x="188" y="949"/>
                  <a:pt x="190" y="948"/>
                  <a:pt x="191" y="949"/>
                </a:cubicBezTo>
                <a:cubicBezTo>
                  <a:pt x="192" y="949"/>
                  <a:pt x="199" y="951"/>
                  <a:pt x="211" y="955"/>
                </a:cubicBezTo>
                <a:cubicBezTo>
                  <a:pt x="213" y="955"/>
                  <a:pt x="215" y="955"/>
                  <a:pt x="218" y="953"/>
                </a:cubicBezTo>
                <a:cubicBezTo>
                  <a:pt x="221" y="952"/>
                  <a:pt x="223" y="951"/>
                  <a:pt x="224" y="951"/>
                </a:cubicBezTo>
                <a:cubicBezTo>
                  <a:pt x="226" y="952"/>
                  <a:pt x="228" y="952"/>
                  <a:pt x="230" y="954"/>
                </a:cubicBezTo>
                <a:cubicBezTo>
                  <a:pt x="232" y="955"/>
                  <a:pt x="235" y="956"/>
                  <a:pt x="238" y="956"/>
                </a:cubicBezTo>
                <a:cubicBezTo>
                  <a:pt x="240" y="957"/>
                  <a:pt x="245" y="958"/>
                  <a:pt x="253" y="961"/>
                </a:cubicBezTo>
                <a:cubicBezTo>
                  <a:pt x="256" y="961"/>
                  <a:pt x="261" y="958"/>
                  <a:pt x="267" y="953"/>
                </a:cubicBezTo>
                <a:cubicBezTo>
                  <a:pt x="274" y="947"/>
                  <a:pt x="281" y="944"/>
                  <a:pt x="287" y="945"/>
                </a:cubicBezTo>
                <a:cubicBezTo>
                  <a:pt x="294" y="946"/>
                  <a:pt x="299" y="948"/>
                  <a:pt x="303" y="953"/>
                </a:cubicBezTo>
                <a:cubicBezTo>
                  <a:pt x="304" y="955"/>
                  <a:pt x="305" y="958"/>
                  <a:pt x="306" y="961"/>
                </a:cubicBezTo>
                <a:cubicBezTo>
                  <a:pt x="307" y="964"/>
                  <a:pt x="309" y="965"/>
                  <a:pt x="313" y="965"/>
                </a:cubicBezTo>
                <a:cubicBezTo>
                  <a:pt x="319" y="965"/>
                  <a:pt x="325" y="968"/>
                  <a:pt x="331" y="974"/>
                </a:cubicBezTo>
                <a:cubicBezTo>
                  <a:pt x="333" y="977"/>
                  <a:pt x="336" y="981"/>
                  <a:pt x="338" y="984"/>
                </a:cubicBezTo>
                <a:cubicBezTo>
                  <a:pt x="342" y="984"/>
                  <a:pt x="346" y="983"/>
                  <a:pt x="352" y="980"/>
                </a:cubicBezTo>
                <a:cubicBezTo>
                  <a:pt x="359" y="977"/>
                  <a:pt x="363" y="974"/>
                  <a:pt x="364" y="970"/>
                </a:cubicBezTo>
                <a:cubicBezTo>
                  <a:pt x="368" y="959"/>
                  <a:pt x="373" y="950"/>
                  <a:pt x="380" y="944"/>
                </a:cubicBezTo>
                <a:cubicBezTo>
                  <a:pt x="383" y="942"/>
                  <a:pt x="388" y="940"/>
                  <a:pt x="395" y="939"/>
                </a:cubicBezTo>
                <a:cubicBezTo>
                  <a:pt x="398" y="938"/>
                  <a:pt x="403" y="937"/>
                  <a:pt x="410" y="936"/>
                </a:cubicBezTo>
                <a:cubicBezTo>
                  <a:pt x="410" y="936"/>
                  <a:pt x="416" y="935"/>
                  <a:pt x="426" y="934"/>
                </a:cubicBezTo>
                <a:cubicBezTo>
                  <a:pt x="433" y="934"/>
                  <a:pt x="437" y="932"/>
                  <a:pt x="439" y="929"/>
                </a:cubicBezTo>
                <a:cubicBezTo>
                  <a:pt x="441" y="925"/>
                  <a:pt x="446" y="923"/>
                  <a:pt x="452" y="922"/>
                </a:cubicBezTo>
                <a:cubicBezTo>
                  <a:pt x="456" y="921"/>
                  <a:pt x="462" y="921"/>
                  <a:pt x="469" y="920"/>
                </a:cubicBezTo>
                <a:cubicBezTo>
                  <a:pt x="475" y="919"/>
                  <a:pt x="479" y="917"/>
                  <a:pt x="481" y="914"/>
                </a:cubicBezTo>
                <a:cubicBezTo>
                  <a:pt x="486" y="907"/>
                  <a:pt x="489" y="902"/>
                  <a:pt x="490" y="900"/>
                </a:cubicBezTo>
                <a:cubicBezTo>
                  <a:pt x="492" y="895"/>
                  <a:pt x="494" y="889"/>
                  <a:pt x="495" y="884"/>
                </a:cubicBezTo>
                <a:cubicBezTo>
                  <a:pt x="495" y="881"/>
                  <a:pt x="497" y="879"/>
                  <a:pt x="499" y="878"/>
                </a:cubicBezTo>
                <a:cubicBezTo>
                  <a:pt x="503" y="878"/>
                  <a:pt x="506" y="878"/>
                  <a:pt x="507" y="877"/>
                </a:cubicBezTo>
                <a:cubicBezTo>
                  <a:pt x="509" y="875"/>
                  <a:pt x="511" y="873"/>
                  <a:pt x="511" y="872"/>
                </a:cubicBezTo>
                <a:cubicBezTo>
                  <a:pt x="513" y="872"/>
                  <a:pt x="516" y="873"/>
                  <a:pt x="520" y="873"/>
                </a:cubicBezTo>
                <a:cubicBezTo>
                  <a:pt x="525" y="872"/>
                  <a:pt x="528" y="869"/>
                  <a:pt x="529" y="864"/>
                </a:cubicBezTo>
                <a:cubicBezTo>
                  <a:pt x="530" y="864"/>
                  <a:pt x="530" y="864"/>
                  <a:pt x="531" y="863"/>
                </a:cubicBezTo>
                <a:cubicBezTo>
                  <a:pt x="532" y="861"/>
                  <a:pt x="533" y="859"/>
                  <a:pt x="533" y="857"/>
                </a:cubicBezTo>
                <a:cubicBezTo>
                  <a:pt x="535" y="854"/>
                  <a:pt x="537" y="853"/>
                  <a:pt x="539" y="853"/>
                </a:cubicBezTo>
                <a:cubicBezTo>
                  <a:pt x="540" y="853"/>
                  <a:pt x="542" y="854"/>
                  <a:pt x="546" y="855"/>
                </a:cubicBezTo>
                <a:cubicBezTo>
                  <a:pt x="548" y="855"/>
                  <a:pt x="549" y="855"/>
                  <a:pt x="549" y="855"/>
                </a:cubicBezTo>
                <a:cubicBezTo>
                  <a:pt x="549" y="852"/>
                  <a:pt x="549" y="851"/>
                  <a:pt x="549" y="850"/>
                </a:cubicBezTo>
                <a:cubicBezTo>
                  <a:pt x="550" y="847"/>
                  <a:pt x="551" y="844"/>
                  <a:pt x="553" y="841"/>
                </a:cubicBezTo>
                <a:cubicBezTo>
                  <a:pt x="556" y="838"/>
                  <a:pt x="558" y="836"/>
                  <a:pt x="560" y="836"/>
                </a:cubicBezTo>
                <a:cubicBezTo>
                  <a:pt x="561" y="836"/>
                  <a:pt x="562" y="837"/>
                  <a:pt x="563" y="838"/>
                </a:cubicBezTo>
                <a:cubicBezTo>
                  <a:pt x="564" y="839"/>
                  <a:pt x="565" y="840"/>
                  <a:pt x="567" y="840"/>
                </a:cubicBezTo>
                <a:cubicBezTo>
                  <a:pt x="568" y="840"/>
                  <a:pt x="570" y="839"/>
                  <a:pt x="574" y="837"/>
                </a:cubicBezTo>
                <a:cubicBezTo>
                  <a:pt x="577" y="834"/>
                  <a:pt x="580" y="833"/>
                  <a:pt x="582" y="833"/>
                </a:cubicBezTo>
                <a:cubicBezTo>
                  <a:pt x="583" y="833"/>
                  <a:pt x="586" y="834"/>
                  <a:pt x="591" y="835"/>
                </a:cubicBezTo>
                <a:cubicBezTo>
                  <a:pt x="596" y="836"/>
                  <a:pt x="600" y="834"/>
                  <a:pt x="603" y="829"/>
                </a:cubicBezTo>
                <a:cubicBezTo>
                  <a:pt x="606" y="824"/>
                  <a:pt x="609" y="821"/>
                  <a:pt x="612" y="820"/>
                </a:cubicBezTo>
                <a:cubicBezTo>
                  <a:pt x="614" y="819"/>
                  <a:pt x="617" y="819"/>
                  <a:pt x="621" y="819"/>
                </a:cubicBezTo>
                <a:cubicBezTo>
                  <a:pt x="624" y="819"/>
                  <a:pt x="626" y="819"/>
                  <a:pt x="627" y="817"/>
                </a:cubicBezTo>
                <a:cubicBezTo>
                  <a:pt x="627" y="816"/>
                  <a:pt x="629" y="815"/>
                  <a:pt x="632" y="813"/>
                </a:cubicBezTo>
                <a:cubicBezTo>
                  <a:pt x="635" y="811"/>
                  <a:pt x="637" y="810"/>
                  <a:pt x="637" y="810"/>
                </a:cubicBezTo>
                <a:cubicBezTo>
                  <a:pt x="638" y="810"/>
                  <a:pt x="639" y="811"/>
                  <a:pt x="642" y="813"/>
                </a:cubicBezTo>
                <a:cubicBezTo>
                  <a:pt x="644" y="815"/>
                  <a:pt x="647" y="816"/>
                  <a:pt x="648" y="816"/>
                </a:cubicBezTo>
                <a:cubicBezTo>
                  <a:pt x="649" y="816"/>
                  <a:pt x="651" y="815"/>
                  <a:pt x="653" y="814"/>
                </a:cubicBezTo>
                <a:cubicBezTo>
                  <a:pt x="655" y="812"/>
                  <a:pt x="657" y="812"/>
                  <a:pt x="659" y="812"/>
                </a:cubicBezTo>
                <a:cubicBezTo>
                  <a:pt x="662" y="812"/>
                  <a:pt x="666" y="814"/>
                  <a:pt x="671" y="818"/>
                </a:cubicBezTo>
                <a:cubicBezTo>
                  <a:pt x="675" y="821"/>
                  <a:pt x="678" y="823"/>
                  <a:pt x="679" y="825"/>
                </a:cubicBezTo>
                <a:cubicBezTo>
                  <a:pt x="681" y="828"/>
                  <a:pt x="684" y="830"/>
                  <a:pt x="690" y="831"/>
                </a:cubicBezTo>
                <a:cubicBezTo>
                  <a:pt x="698" y="832"/>
                  <a:pt x="703" y="832"/>
                  <a:pt x="704" y="833"/>
                </a:cubicBezTo>
                <a:cubicBezTo>
                  <a:pt x="702" y="834"/>
                  <a:pt x="701" y="835"/>
                  <a:pt x="701" y="835"/>
                </a:cubicBezTo>
                <a:cubicBezTo>
                  <a:pt x="701" y="838"/>
                  <a:pt x="702" y="839"/>
                  <a:pt x="704" y="840"/>
                </a:cubicBezTo>
                <a:cubicBezTo>
                  <a:pt x="706" y="841"/>
                  <a:pt x="707" y="841"/>
                  <a:pt x="709" y="841"/>
                </a:cubicBezTo>
                <a:cubicBezTo>
                  <a:pt x="710" y="841"/>
                  <a:pt x="712" y="842"/>
                  <a:pt x="713" y="843"/>
                </a:cubicBezTo>
                <a:cubicBezTo>
                  <a:pt x="715" y="845"/>
                  <a:pt x="716" y="846"/>
                  <a:pt x="717" y="846"/>
                </a:cubicBezTo>
                <a:cubicBezTo>
                  <a:pt x="719" y="846"/>
                  <a:pt x="721" y="845"/>
                  <a:pt x="724" y="843"/>
                </a:cubicBezTo>
                <a:cubicBezTo>
                  <a:pt x="727" y="841"/>
                  <a:pt x="730" y="840"/>
                  <a:pt x="733" y="840"/>
                </a:cubicBezTo>
                <a:cubicBezTo>
                  <a:pt x="733" y="840"/>
                  <a:pt x="734" y="841"/>
                  <a:pt x="735" y="843"/>
                </a:cubicBezTo>
                <a:cubicBezTo>
                  <a:pt x="734" y="845"/>
                  <a:pt x="734" y="847"/>
                  <a:pt x="732" y="849"/>
                </a:cubicBezTo>
                <a:lnTo>
                  <a:pt x="732" y="853"/>
                </a:lnTo>
                <a:cubicBezTo>
                  <a:pt x="733" y="853"/>
                  <a:pt x="733" y="853"/>
                  <a:pt x="734" y="854"/>
                </a:cubicBezTo>
                <a:cubicBezTo>
                  <a:pt x="735" y="854"/>
                  <a:pt x="737" y="853"/>
                  <a:pt x="739" y="853"/>
                </a:cubicBezTo>
                <a:cubicBezTo>
                  <a:pt x="741" y="853"/>
                  <a:pt x="745" y="857"/>
                  <a:pt x="752" y="863"/>
                </a:cubicBezTo>
                <a:cubicBezTo>
                  <a:pt x="756" y="856"/>
                  <a:pt x="759" y="851"/>
                  <a:pt x="760" y="850"/>
                </a:cubicBezTo>
                <a:cubicBezTo>
                  <a:pt x="761" y="850"/>
                  <a:pt x="765" y="850"/>
                  <a:pt x="773" y="851"/>
                </a:cubicBezTo>
                <a:cubicBezTo>
                  <a:pt x="774" y="851"/>
                  <a:pt x="778" y="851"/>
                  <a:pt x="785" y="851"/>
                </a:cubicBezTo>
                <a:cubicBezTo>
                  <a:pt x="803" y="869"/>
                  <a:pt x="813" y="879"/>
                  <a:pt x="816" y="879"/>
                </a:cubicBezTo>
                <a:cubicBezTo>
                  <a:pt x="818" y="879"/>
                  <a:pt x="823" y="876"/>
                  <a:pt x="830" y="871"/>
                </a:cubicBezTo>
                <a:cubicBezTo>
                  <a:pt x="830" y="871"/>
                  <a:pt x="830" y="871"/>
                  <a:pt x="831" y="870"/>
                </a:cubicBezTo>
                <a:cubicBezTo>
                  <a:pt x="831" y="873"/>
                  <a:pt x="835" y="876"/>
                  <a:pt x="841" y="880"/>
                </a:cubicBezTo>
                <a:cubicBezTo>
                  <a:pt x="846" y="884"/>
                  <a:pt x="849" y="887"/>
                  <a:pt x="848" y="891"/>
                </a:cubicBezTo>
                <a:cubicBezTo>
                  <a:pt x="848" y="893"/>
                  <a:pt x="848" y="894"/>
                  <a:pt x="847" y="895"/>
                </a:cubicBezTo>
                <a:cubicBezTo>
                  <a:pt x="846" y="896"/>
                  <a:pt x="846" y="897"/>
                  <a:pt x="845" y="898"/>
                </a:cubicBezTo>
                <a:cubicBezTo>
                  <a:pt x="845" y="900"/>
                  <a:pt x="847" y="902"/>
                  <a:pt x="851" y="903"/>
                </a:cubicBezTo>
                <a:lnTo>
                  <a:pt x="850" y="906"/>
                </a:lnTo>
                <a:cubicBezTo>
                  <a:pt x="849" y="907"/>
                  <a:pt x="849" y="909"/>
                  <a:pt x="848" y="911"/>
                </a:cubicBezTo>
                <a:cubicBezTo>
                  <a:pt x="848" y="913"/>
                  <a:pt x="849" y="916"/>
                  <a:pt x="851" y="918"/>
                </a:cubicBezTo>
                <a:cubicBezTo>
                  <a:pt x="854" y="921"/>
                  <a:pt x="855" y="923"/>
                  <a:pt x="855" y="923"/>
                </a:cubicBezTo>
                <a:cubicBezTo>
                  <a:pt x="855" y="925"/>
                  <a:pt x="854" y="928"/>
                  <a:pt x="852" y="929"/>
                </a:cubicBezTo>
                <a:cubicBezTo>
                  <a:pt x="850" y="930"/>
                  <a:pt x="849" y="932"/>
                  <a:pt x="848" y="935"/>
                </a:cubicBezTo>
                <a:cubicBezTo>
                  <a:pt x="848" y="939"/>
                  <a:pt x="848" y="943"/>
                  <a:pt x="847" y="948"/>
                </a:cubicBezTo>
                <a:cubicBezTo>
                  <a:pt x="846" y="951"/>
                  <a:pt x="850" y="953"/>
                  <a:pt x="858" y="956"/>
                </a:cubicBezTo>
                <a:cubicBezTo>
                  <a:pt x="866" y="959"/>
                  <a:pt x="871" y="962"/>
                  <a:pt x="873" y="965"/>
                </a:cubicBezTo>
                <a:cubicBezTo>
                  <a:pt x="874" y="967"/>
                  <a:pt x="877" y="971"/>
                  <a:pt x="883" y="976"/>
                </a:cubicBezTo>
                <a:cubicBezTo>
                  <a:pt x="888" y="980"/>
                  <a:pt x="892" y="982"/>
                  <a:pt x="893" y="983"/>
                </a:cubicBezTo>
                <a:cubicBezTo>
                  <a:pt x="895" y="983"/>
                  <a:pt x="897" y="982"/>
                  <a:pt x="899" y="979"/>
                </a:cubicBezTo>
                <a:cubicBezTo>
                  <a:pt x="900" y="976"/>
                  <a:pt x="902" y="974"/>
                  <a:pt x="903" y="974"/>
                </a:cubicBezTo>
                <a:cubicBezTo>
                  <a:pt x="905" y="975"/>
                  <a:pt x="907" y="976"/>
                  <a:pt x="910" y="978"/>
                </a:cubicBezTo>
                <a:cubicBezTo>
                  <a:pt x="912" y="980"/>
                  <a:pt x="913" y="982"/>
                  <a:pt x="913" y="983"/>
                </a:cubicBezTo>
                <a:cubicBezTo>
                  <a:pt x="913" y="985"/>
                  <a:pt x="912" y="988"/>
                  <a:pt x="910" y="992"/>
                </a:cubicBezTo>
                <a:cubicBezTo>
                  <a:pt x="910" y="994"/>
                  <a:pt x="911" y="995"/>
                  <a:pt x="914" y="997"/>
                </a:cubicBezTo>
                <a:cubicBezTo>
                  <a:pt x="916" y="999"/>
                  <a:pt x="917" y="1001"/>
                  <a:pt x="917" y="1003"/>
                </a:cubicBezTo>
                <a:cubicBezTo>
                  <a:pt x="916" y="1006"/>
                  <a:pt x="915" y="1009"/>
                  <a:pt x="912" y="1011"/>
                </a:cubicBezTo>
                <a:cubicBezTo>
                  <a:pt x="910" y="1012"/>
                  <a:pt x="907" y="1013"/>
                  <a:pt x="902" y="1015"/>
                </a:cubicBezTo>
                <a:cubicBezTo>
                  <a:pt x="902" y="1018"/>
                  <a:pt x="902" y="1019"/>
                  <a:pt x="903" y="1020"/>
                </a:cubicBezTo>
                <a:cubicBezTo>
                  <a:pt x="904" y="1020"/>
                  <a:pt x="905" y="1020"/>
                  <a:pt x="907" y="1020"/>
                </a:cubicBezTo>
                <a:cubicBezTo>
                  <a:pt x="909" y="1020"/>
                  <a:pt x="910" y="1020"/>
                  <a:pt x="912" y="1018"/>
                </a:cubicBezTo>
                <a:cubicBezTo>
                  <a:pt x="915" y="1017"/>
                  <a:pt x="916" y="1016"/>
                  <a:pt x="918" y="1016"/>
                </a:cubicBezTo>
                <a:cubicBezTo>
                  <a:pt x="919" y="1016"/>
                  <a:pt x="920" y="1018"/>
                  <a:pt x="921" y="1022"/>
                </a:cubicBezTo>
                <a:cubicBezTo>
                  <a:pt x="923" y="1026"/>
                  <a:pt x="923" y="1029"/>
                  <a:pt x="923" y="1030"/>
                </a:cubicBezTo>
                <a:cubicBezTo>
                  <a:pt x="923" y="1032"/>
                  <a:pt x="922" y="1034"/>
                  <a:pt x="920" y="1038"/>
                </a:cubicBezTo>
                <a:cubicBezTo>
                  <a:pt x="920" y="1038"/>
                  <a:pt x="920" y="1039"/>
                  <a:pt x="920" y="1039"/>
                </a:cubicBezTo>
                <a:cubicBezTo>
                  <a:pt x="924" y="1040"/>
                  <a:pt x="929" y="1040"/>
                  <a:pt x="935" y="1041"/>
                </a:cubicBezTo>
                <a:cubicBezTo>
                  <a:pt x="935" y="1043"/>
                  <a:pt x="940" y="1047"/>
                  <a:pt x="949" y="1052"/>
                </a:cubicBezTo>
                <a:cubicBezTo>
                  <a:pt x="949" y="1052"/>
                  <a:pt x="951" y="1051"/>
                  <a:pt x="952" y="1050"/>
                </a:cubicBezTo>
                <a:cubicBezTo>
                  <a:pt x="954" y="1048"/>
                  <a:pt x="955" y="1048"/>
                  <a:pt x="956" y="1048"/>
                </a:cubicBezTo>
                <a:cubicBezTo>
                  <a:pt x="958" y="1048"/>
                  <a:pt x="962" y="1051"/>
                  <a:pt x="967" y="1056"/>
                </a:cubicBezTo>
                <a:cubicBezTo>
                  <a:pt x="973" y="1062"/>
                  <a:pt x="976" y="1066"/>
                  <a:pt x="975" y="1068"/>
                </a:cubicBezTo>
                <a:cubicBezTo>
                  <a:pt x="975" y="1069"/>
                  <a:pt x="975" y="1072"/>
                  <a:pt x="973" y="1076"/>
                </a:cubicBezTo>
                <a:cubicBezTo>
                  <a:pt x="971" y="1080"/>
                  <a:pt x="970" y="1083"/>
                  <a:pt x="970" y="1085"/>
                </a:cubicBezTo>
                <a:cubicBezTo>
                  <a:pt x="970" y="1087"/>
                  <a:pt x="972" y="1089"/>
                  <a:pt x="975" y="1094"/>
                </a:cubicBezTo>
                <a:cubicBezTo>
                  <a:pt x="975" y="1095"/>
                  <a:pt x="974" y="1096"/>
                  <a:pt x="972" y="1098"/>
                </a:cubicBezTo>
                <a:cubicBezTo>
                  <a:pt x="970" y="1099"/>
                  <a:pt x="968" y="1101"/>
                  <a:pt x="968" y="1103"/>
                </a:cubicBezTo>
                <a:cubicBezTo>
                  <a:pt x="968" y="1106"/>
                  <a:pt x="969" y="1108"/>
                  <a:pt x="971" y="1111"/>
                </a:cubicBezTo>
                <a:cubicBezTo>
                  <a:pt x="972" y="1111"/>
                  <a:pt x="973" y="1110"/>
                  <a:pt x="975" y="1111"/>
                </a:cubicBezTo>
                <a:cubicBezTo>
                  <a:pt x="979" y="1111"/>
                  <a:pt x="981" y="1113"/>
                  <a:pt x="981" y="1116"/>
                </a:cubicBezTo>
                <a:cubicBezTo>
                  <a:pt x="982" y="1119"/>
                  <a:pt x="983" y="1122"/>
                  <a:pt x="985" y="1123"/>
                </a:cubicBezTo>
                <a:cubicBezTo>
                  <a:pt x="986" y="1123"/>
                  <a:pt x="989" y="1124"/>
                  <a:pt x="994" y="1124"/>
                </a:cubicBezTo>
                <a:cubicBezTo>
                  <a:pt x="999" y="1125"/>
                  <a:pt x="1001" y="1127"/>
                  <a:pt x="1001" y="1129"/>
                </a:cubicBezTo>
                <a:cubicBezTo>
                  <a:pt x="985" y="1134"/>
                  <a:pt x="973" y="1137"/>
                  <a:pt x="964" y="1140"/>
                </a:cubicBezTo>
                <a:cubicBezTo>
                  <a:pt x="958" y="1131"/>
                  <a:pt x="953" y="1127"/>
                  <a:pt x="951" y="1126"/>
                </a:cubicBezTo>
                <a:cubicBezTo>
                  <a:pt x="949" y="1126"/>
                  <a:pt x="947" y="1129"/>
                  <a:pt x="946" y="1134"/>
                </a:cubicBezTo>
                <a:cubicBezTo>
                  <a:pt x="945" y="1139"/>
                  <a:pt x="942" y="1141"/>
                  <a:pt x="938" y="1141"/>
                </a:cubicBezTo>
                <a:cubicBezTo>
                  <a:pt x="937" y="1141"/>
                  <a:pt x="933" y="1139"/>
                  <a:pt x="928" y="1135"/>
                </a:cubicBezTo>
                <a:cubicBezTo>
                  <a:pt x="923" y="1131"/>
                  <a:pt x="919" y="1130"/>
                  <a:pt x="918" y="1129"/>
                </a:cubicBezTo>
                <a:cubicBezTo>
                  <a:pt x="915" y="1129"/>
                  <a:pt x="913" y="1129"/>
                  <a:pt x="913" y="1129"/>
                </a:cubicBezTo>
                <a:cubicBezTo>
                  <a:pt x="912" y="1130"/>
                  <a:pt x="912" y="1132"/>
                  <a:pt x="911" y="1136"/>
                </a:cubicBezTo>
                <a:cubicBezTo>
                  <a:pt x="907" y="1133"/>
                  <a:pt x="905" y="1131"/>
                  <a:pt x="904" y="1131"/>
                </a:cubicBezTo>
                <a:cubicBezTo>
                  <a:pt x="903" y="1131"/>
                  <a:pt x="901" y="1133"/>
                  <a:pt x="898" y="1136"/>
                </a:cubicBezTo>
                <a:cubicBezTo>
                  <a:pt x="896" y="1140"/>
                  <a:pt x="895" y="1142"/>
                  <a:pt x="894" y="1144"/>
                </a:cubicBezTo>
                <a:cubicBezTo>
                  <a:pt x="891" y="1144"/>
                  <a:pt x="890" y="1140"/>
                  <a:pt x="888" y="1134"/>
                </a:cubicBezTo>
                <a:cubicBezTo>
                  <a:pt x="887" y="1127"/>
                  <a:pt x="884" y="1124"/>
                  <a:pt x="881" y="1123"/>
                </a:cubicBezTo>
                <a:cubicBezTo>
                  <a:pt x="879" y="1123"/>
                  <a:pt x="876" y="1124"/>
                  <a:pt x="872" y="1127"/>
                </a:cubicBezTo>
                <a:cubicBezTo>
                  <a:pt x="869" y="1129"/>
                  <a:pt x="867" y="1131"/>
                  <a:pt x="865" y="1132"/>
                </a:cubicBezTo>
                <a:cubicBezTo>
                  <a:pt x="859" y="1139"/>
                  <a:pt x="855" y="1143"/>
                  <a:pt x="855" y="1146"/>
                </a:cubicBezTo>
                <a:cubicBezTo>
                  <a:pt x="855" y="1147"/>
                  <a:pt x="854" y="1149"/>
                  <a:pt x="853" y="1152"/>
                </a:cubicBezTo>
                <a:cubicBezTo>
                  <a:pt x="853" y="1154"/>
                  <a:pt x="853" y="1158"/>
                  <a:pt x="855" y="1164"/>
                </a:cubicBezTo>
                <a:cubicBezTo>
                  <a:pt x="856" y="1170"/>
                  <a:pt x="858" y="1174"/>
                  <a:pt x="859" y="1174"/>
                </a:cubicBezTo>
                <a:cubicBezTo>
                  <a:pt x="865" y="1177"/>
                  <a:pt x="869" y="1179"/>
                  <a:pt x="869" y="1180"/>
                </a:cubicBezTo>
                <a:cubicBezTo>
                  <a:pt x="869" y="1181"/>
                  <a:pt x="871" y="1183"/>
                  <a:pt x="872" y="1185"/>
                </a:cubicBezTo>
                <a:cubicBezTo>
                  <a:pt x="873" y="1188"/>
                  <a:pt x="874" y="1189"/>
                  <a:pt x="874" y="1190"/>
                </a:cubicBezTo>
                <a:cubicBezTo>
                  <a:pt x="874" y="1191"/>
                  <a:pt x="873" y="1193"/>
                  <a:pt x="870" y="1196"/>
                </a:cubicBezTo>
                <a:cubicBezTo>
                  <a:pt x="868" y="1199"/>
                  <a:pt x="867" y="1201"/>
                  <a:pt x="867" y="1203"/>
                </a:cubicBezTo>
                <a:cubicBezTo>
                  <a:pt x="866" y="1205"/>
                  <a:pt x="867" y="1208"/>
                  <a:pt x="868" y="1210"/>
                </a:cubicBezTo>
                <a:cubicBezTo>
                  <a:pt x="868" y="1211"/>
                  <a:pt x="869" y="1213"/>
                  <a:pt x="871" y="1216"/>
                </a:cubicBezTo>
                <a:cubicBezTo>
                  <a:pt x="865" y="1218"/>
                  <a:pt x="861" y="1220"/>
                  <a:pt x="857" y="1221"/>
                </a:cubicBezTo>
                <a:cubicBezTo>
                  <a:pt x="850" y="1224"/>
                  <a:pt x="846" y="1228"/>
                  <a:pt x="845" y="1232"/>
                </a:cubicBezTo>
                <a:cubicBezTo>
                  <a:pt x="845" y="1237"/>
                  <a:pt x="845" y="1241"/>
                  <a:pt x="846" y="1244"/>
                </a:cubicBezTo>
                <a:cubicBezTo>
                  <a:pt x="847" y="1246"/>
                  <a:pt x="847" y="1247"/>
                  <a:pt x="847" y="1249"/>
                </a:cubicBezTo>
                <a:cubicBezTo>
                  <a:pt x="847" y="1250"/>
                  <a:pt x="847" y="1251"/>
                  <a:pt x="847" y="1252"/>
                </a:cubicBezTo>
                <a:cubicBezTo>
                  <a:pt x="847" y="1252"/>
                  <a:pt x="847" y="1253"/>
                  <a:pt x="846" y="1253"/>
                </a:cubicBezTo>
                <a:cubicBezTo>
                  <a:pt x="846" y="1257"/>
                  <a:pt x="843" y="1261"/>
                  <a:pt x="839" y="1264"/>
                </a:cubicBezTo>
                <a:cubicBezTo>
                  <a:pt x="834" y="1268"/>
                  <a:pt x="831" y="1270"/>
                  <a:pt x="831" y="1271"/>
                </a:cubicBezTo>
                <a:cubicBezTo>
                  <a:pt x="831" y="1272"/>
                  <a:pt x="831" y="1274"/>
                  <a:pt x="832" y="1277"/>
                </a:cubicBezTo>
                <a:cubicBezTo>
                  <a:pt x="832" y="1278"/>
                  <a:pt x="830" y="1280"/>
                  <a:pt x="827" y="1281"/>
                </a:cubicBezTo>
                <a:cubicBezTo>
                  <a:pt x="824" y="1283"/>
                  <a:pt x="822" y="1284"/>
                  <a:pt x="822" y="1286"/>
                </a:cubicBezTo>
                <a:cubicBezTo>
                  <a:pt x="827" y="1304"/>
                  <a:pt x="830" y="1313"/>
                  <a:pt x="830" y="1313"/>
                </a:cubicBezTo>
                <a:cubicBezTo>
                  <a:pt x="829" y="1317"/>
                  <a:pt x="826" y="1319"/>
                  <a:pt x="821" y="1319"/>
                </a:cubicBezTo>
                <a:cubicBezTo>
                  <a:pt x="813" y="1318"/>
                  <a:pt x="808" y="1318"/>
                  <a:pt x="804" y="1318"/>
                </a:cubicBezTo>
                <a:cubicBezTo>
                  <a:pt x="800" y="1318"/>
                  <a:pt x="797" y="1320"/>
                  <a:pt x="794" y="1324"/>
                </a:cubicBezTo>
                <a:cubicBezTo>
                  <a:pt x="793" y="1327"/>
                  <a:pt x="791" y="1329"/>
                  <a:pt x="790" y="1330"/>
                </a:cubicBezTo>
                <a:cubicBezTo>
                  <a:pt x="792" y="1332"/>
                  <a:pt x="793" y="1333"/>
                  <a:pt x="795" y="1335"/>
                </a:cubicBezTo>
                <a:cubicBezTo>
                  <a:pt x="810" y="1350"/>
                  <a:pt x="819" y="1357"/>
                  <a:pt x="821" y="1357"/>
                </a:cubicBezTo>
                <a:cubicBezTo>
                  <a:pt x="823" y="1358"/>
                  <a:pt x="830" y="1358"/>
                  <a:pt x="841" y="1358"/>
                </a:cubicBezTo>
                <a:cubicBezTo>
                  <a:pt x="846" y="1358"/>
                  <a:pt x="852" y="1360"/>
                  <a:pt x="859" y="1363"/>
                </a:cubicBezTo>
                <a:cubicBezTo>
                  <a:pt x="862" y="1363"/>
                  <a:pt x="864" y="1360"/>
                  <a:pt x="867" y="1355"/>
                </a:cubicBezTo>
                <a:cubicBezTo>
                  <a:pt x="869" y="1350"/>
                  <a:pt x="871" y="1347"/>
                  <a:pt x="874" y="1347"/>
                </a:cubicBezTo>
                <a:cubicBezTo>
                  <a:pt x="880" y="1348"/>
                  <a:pt x="886" y="1346"/>
                  <a:pt x="891" y="1342"/>
                </a:cubicBezTo>
                <a:cubicBezTo>
                  <a:pt x="894" y="1339"/>
                  <a:pt x="899" y="1334"/>
                  <a:pt x="905" y="1327"/>
                </a:cubicBezTo>
                <a:cubicBezTo>
                  <a:pt x="919" y="1313"/>
                  <a:pt x="939" y="1307"/>
                  <a:pt x="965" y="1310"/>
                </a:cubicBezTo>
                <a:cubicBezTo>
                  <a:pt x="973" y="1310"/>
                  <a:pt x="979" y="1314"/>
                  <a:pt x="983" y="1321"/>
                </a:cubicBezTo>
                <a:cubicBezTo>
                  <a:pt x="985" y="1323"/>
                  <a:pt x="986" y="1328"/>
                  <a:pt x="989" y="1336"/>
                </a:cubicBezTo>
                <a:cubicBezTo>
                  <a:pt x="992" y="1334"/>
                  <a:pt x="993" y="1333"/>
                  <a:pt x="993" y="1332"/>
                </a:cubicBezTo>
                <a:cubicBezTo>
                  <a:pt x="991" y="1326"/>
                  <a:pt x="990" y="1323"/>
                  <a:pt x="990" y="1322"/>
                </a:cubicBezTo>
                <a:cubicBezTo>
                  <a:pt x="990" y="1315"/>
                  <a:pt x="990" y="1311"/>
                  <a:pt x="989" y="1310"/>
                </a:cubicBezTo>
                <a:cubicBezTo>
                  <a:pt x="986" y="1305"/>
                  <a:pt x="981" y="1300"/>
                  <a:pt x="974" y="1295"/>
                </a:cubicBezTo>
                <a:cubicBezTo>
                  <a:pt x="966" y="1289"/>
                  <a:pt x="961" y="1275"/>
                  <a:pt x="958" y="1251"/>
                </a:cubicBezTo>
                <a:lnTo>
                  <a:pt x="960" y="1251"/>
                </a:lnTo>
                <a:cubicBezTo>
                  <a:pt x="961" y="1253"/>
                  <a:pt x="964" y="1256"/>
                  <a:pt x="968" y="1262"/>
                </a:cubicBezTo>
                <a:cubicBezTo>
                  <a:pt x="972" y="1267"/>
                  <a:pt x="976" y="1270"/>
                  <a:pt x="981" y="1270"/>
                </a:cubicBezTo>
                <a:cubicBezTo>
                  <a:pt x="984" y="1271"/>
                  <a:pt x="986" y="1270"/>
                  <a:pt x="989" y="1269"/>
                </a:cubicBezTo>
                <a:cubicBezTo>
                  <a:pt x="992" y="1267"/>
                  <a:pt x="993" y="1265"/>
                  <a:pt x="993" y="1261"/>
                </a:cubicBezTo>
                <a:cubicBezTo>
                  <a:pt x="993" y="1261"/>
                  <a:pt x="992" y="1260"/>
                  <a:pt x="989" y="1258"/>
                </a:cubicBezTo>
                <a:cubicBezTo>
                  <a:pt x="986" y="1256"/>
                  <a:pt x="984" y="1254"/>
                  <a:pt x="984" y="1253"/>
                </a:cubicBezTo>
                <a:cubicBezTo>
                  <a:pt x="988" y="1252"/>
                  <a:pt x="991" y="1249"/>
                  <a:pt x="994" y="1244"/>
                </a:cubicBezTo>
                <a:cubicBezTo>
                  <a:pt x="996" y="1239"/>
                  <a:pt x="998" y="1235"/>
                  <a:pt x="999" y="1232"/>
                </a:cubicBezTo>
                <a:cubicBezTo>
                  <a:pt x="1000" y="1231"/>
                  <a:pt x="1002" y="1230"/>
                  <a:pt x="1005" y="1231"/>
                </a:cubicBezTo>
                <a:cubicBezTo>
                  <a:pt x="1008" y="1232"/>
                  <a:pt x="1010" y="1231"/>
                  <a:pt x="1011" y="1230"/>
                </a:cubicBezTo>
                <a:cubicBezTo>
                  <a:pt x="1011" y="1230"/>
                  <a:pt x="1013" y="1226"/>
                  <a:pt x="1016" y="1218"/>
                </a:cubicBezTo>
                <a:cubicBezTo>
                  <a:pt x="1018" y="1220"/>
                  <a:pt x="1021" y="1221"/>
                  <a:pt x="1026" y="1222"/>
                </a:cubicBezTo>
                <a:cubicBezTo>
                  <a:pt x="1026" y="1221"/>
                  <a:pt x="1030" y="1218"/>
                  <a:pt x="1036" y="1213"/>
                </a:cubicBezTo>
                <a:cubicBezTo>
                  <a:pt x="1037" y="1212"/>
                  <a:pt x="1038" y="1207"/>
                  <a:pt x="1041" y="1198"/>
                </a:cubicBezTo>
                <a:cubicBezTo>
                  <a:pt x="1042" y="1194"/>
                  <a:pt x="1044" y="1189"/>
                  <a:pt x="1047" y="1185"/>
                </a:cubicBezTo>
                <a:cubicBezTo>
                  <a:pt x="1051" y="1179"/>
                  <a:pt x="1054" y="1174"/>
                  <a:pt x="1055" y="1171"/>
                </a:cubicBezTo>
                <a:cubicBezTo>
                  <a:pt x="1047" y="1168"/>
                  <a:pt x="1042" y="1165"/>
                  <a:pt x="1040" y="1161"/>
                </a:cubicBezTo>
                <a:cubicBezTo>
                  <a:pt x="1039" y="1157"/>
                  <a:pt x="1037" y="1154"/>
                  <a:pt x="1035" y="1152"/>
                </a:cubicBezTo>
                <a:cubicBezTo>
                  <a:pt x="1032" y="1150"/>
                  <a:pt x="1030" y="1148"/>
                  <a:pt x="1027" y="1148"/>
                </a:cubicBezTo>
                <a:cubicBezTo>
                  <a:pt x="1022" y="1148"/>
                  <a:pt x="1018" y="1146"/>
                  <a:pt x="1013" y="1144"/>
                </a:cubicBezTo>
                <a:cubicBezTo>
                  <a:pt x="1007" y="1141"/>
                  <a:pt x="1004" y="1137"/>
                  <a:pt x="1004" y="1132"/>
                </a:cubicBezTo>
                <a:cubicBezTo>
                  <a:pt x="1004" y="1131"/>
                  <a:pt x="1006" y="1129"/>
                  <a:pt x="1008" y="1128"/>
                </a:cubicBezTo>
                <a:cubicBezTo>
                  <a:pt x="1010" y="1126"/>
                  <a:pt x="1013" y="1126"/>
                  <a:pt x="1014" y="1126"/>
                </a:cubicBezTo>
                <a:cubicBezTo>
                  <a:pt x="1017" y="1126"/>
                  <a:pt x="1024" y="1131"/>
                  <a:pt x="1036" y="1141"/>
                </a:cubicBezTo>
                <a:cubicBezTo>
                  <a:pt x="1037" y="1143"/>
                  <a:pt x="1039" y="1144"/>
                  <a:pt x="1040" y="1145"/>
                </a:cubicBezTo>
                <a:cubicBezTo>
                  <a:pt x="1048" y="1152"/>
                  <a:pt x="1055" y="1155"/>
                  <a:pt x="1060" y="1157"/>
                </a:cubicBezTo>
                <a:cubicBezTo>
                  <a:pt x="1060" y="1157"/>
                  <a:pt x="1060" y="1157"/>
                  <a:pt x="1061" y="1157"/>
                </a:cubicBezTo>
                <a:cubicBezTo>
                  <a:pt x="1062" y="1155"/>
                  <a:pt x="1064" y="1151"/>
                  <a:pt x="1068" y="1144"/>
                </a:cubicBezTo>
                <a:cubicBezTo>
                  <a:pt x="1072" y="1135"/>
                  <a:pt x="1074" y="1130"/>
                  <a:pt x="1074" y="1127"/>
                </a:cubicBezTo>
                <a:cubicBezTo>
                  <a:pt x="1074" y="1127"/>
                  <a:pt x="1073" y="1125"/>
                  <a:pt x="1070" y="1122"/>
                </a:cubicBezTo>
                <a:lnTo>
                  <a:pt x="1075" y="1119"/>
                </a:lnTo>
                <a:cubicBezTo>
                  <a:pt x="1077" y="1118"/>
                  <a:pt x="1078" y="1116"/>
                  <a:pt x="1078" y="1116"/>
                </a:cubicBezTo>
                <a:cubicBezTo>
                  <a:pt x="1080" y="1109"/>
                  <a:pt x="1082" y="1105"/>
                  <a:pt x="1082" y="1104"/>
                </a:cubicBezTo>
                <a:cubicBezTo>
                  <a:pt x="1082" y="1103"/>
                  <a:pt x="1081" y="1101"/>
                  <a:pt x="1079" y="1098"/>
                </a:cubicBezTo>
                <a:cubicBezTo>
                  <a:pt x="1076" y="1095"/>
                  <a:pt x="1076" y="1091"/>
                  <a:pt x="1076" y="1086"/>
                </a:cubicBezTo>
                <a:cubicBezTo>
                  <a:pt x="1077" y="1083"/>
                  <a:pt x="1079" y="1081"/>
                  <a:pt x="1085" y="1079"/>
                </a:cubicBezTo>
                <a:cubicBezTo>
                  <a:pt x="1091" y="1077"/>
                  <a:pt x="1095" y="1076"/>
                  <a:pt x="1095" y="1076"/>
                </a:cubicBezTo>
                <a:cubicBezTo>
                  <a:pt x="1096" y="1075"/>
                  <a:pt x="1099" y="1072"/>
                  <a:pt x="1104" y="1067"/>
                </a:cubicBezTo>
                <a:cubicBezTo>
                  <a:pt x="1106" y="1065"/>
                  <a:pt x="1108" y="1063"/>
                  <a:pt x="1110" y="1062"/>
                </a:cubicBezTo>
                <a:cubicBezTo>
                  <a:pt x="1111" y="1062"/>
                  <a:pt x="1111" y="1062"/>
                  <a:pt x="1112" y="1062"/>
                </a:cubicBezTo>
                <a:cubicBezTo>
                  <a:pt x="1114" y="1061"/>
                  <a:pt x="1116" y="1061"/>
                  <a:pt x="1118" y="1061"/>
                </a:cubicBezTo>
                <a:cubicBezTo>
                  <a:pt x="1123" y="1060"/>
                  <a:pt x="1131" y="1060"/>
                  <a:pt x="1140" y="1060"/>
                </a:cubicBezTo>
                <a:cubicBezTo>
                  <a:pt x="1142" y="1060"/>
                  <a:pt x="1146" y="1058"/>
                  <a:pt x="1150" y="1052"/>
                </a:cubicBezTo>
                <a:cubicBezTo>
                  <a:pt x="1155" y="1046"/>
                  <a:pt x="1158" y="1042"/>
                  <a:pt x="1159" y="1041"/>
                </a:cubicBezTo>
                <a:cubicBezTo>
                  <a:pt x="1160" y="1042"/>
                  <a:pt x="1160" y="1044"/>
                  <a:pt x="1160" y="1045"/>
                </a:cubicBezTo>
                <a:cubicBezTo>
                  <a:pt x="1160" y="1046"/>
                  <a:pt x="1159" y="1047"/>
                  <a:pt x="1159" y="1047"/>
                </a:cubicBezTo>
                <a:cubicBezTo>
                  <a:pt x="1158" y="1050"/>
                  <a:pt x="1160" y="1052"/>
                  <a:pt x="1164" y="1052"/>
                </a:cubicBezTo>
                <a:cubicBezTo>
                  <a:pt x="1166" y="1053"/>
                  <a:pt x="1170" y="1051"/>
                  <a:pt x="1174" y="1047"/>
                </a:cubicBezTo>
                <a:cubicBezTo>
                  <a:pt x="1179" y="1043"/>
                  <a:pt x="1183" y="1042"/>
                  <a:pt x="1189" y="1042"/>
                </a:cubicBezTo>
                <a:cubicBezTo>
                  <a:pt x="1190" y="1043"/>
                  <a:pt x="1193" y="1044"/>
                  <a:pt x="1199" y="1045"/>
                </a:cubicBezTo>
                <a:cubicBezTo>
                  <a:pt x="1202" y="1046"/>
                  <a:pt x="1204" y="1045"/>
                  <a:pt x="1207" y="1043"/>
                </a:cubicBezTo>
                <a:cubicBezTo>
                  <a:pt x="1210" y="1040"/>
                  <a:pt x="1211" y="1037"/>
                  <a:pt x="1212" y="1034"/>
                </a:cubicBezTo>
                <a:cubicBezTo>
                  <a:pt x="1212" y="1030"/>
                  <a:pt x="1210" y="1026"/>
                  <a:pt x="1205" y="1022"/>
                </a:cubicBezTo>
                <a:cubicBezTo>
                  <a:pt x="1201" y="1019"/>
                  <a:pt x="1199" y="1015"/>
                  <a:pt x="1199" y="1012"/>
                </a:cubicBezTo>
                <a:cubicBezTo>
                  <a:pt x="1198" y="1011"/>
                  <a:pt x="1198" y="1011"/>
                  <a:pt x="1198" y="1010"/>
                </a:cubicBezTo>
                <a:cubicBezTo>
                  <a:pt x="1199" y="1008"/>
                  <a:pt x="1200" y="1006"/>
                  <a:pt x="1202" y="1004"/>
                </a:cubicBezTo>
                <a:cubicBezTo>
                  <a:pt x="1203" y="1002"/>
                  <a:pt x="1205" y="1001"/>
                  <a:pt x="1205" y="1000"/>
                </a:cubicBezTo>
                <a:cubicBezTo>
                  <a:pt x="1205" y="995"/>
                  <a:pt x="1205" y="993"/>
                  <a:pt x="1204" y="991"/>
                </a:cubicBezTo>
                <a:cubicBezTo>
                  <a:pt x="1202" y="989"/>
                  <a:pt x="1200" y="986"/>
                  <a:pt x="1198" y="983"/>
                </a:cubicBezTo>
                <a:cubicBezTo>
                  <a:pt x="1205" y="986"/>
                  <a:pt x="1208" y="989"/>
                  <a:pt x="1208" y="993"/>
                </a:cubicBezTo>
                <a:cubicBezTo>
                  <a:pt x="1208" y="996"/>
                  <a:pt x="1205" y="1002"/>
                  <a:pt x="1201" y="1011"/>
                </a:cubicBezTo>
                <a:cubicBezTo>
                  <a:pt x="1201" y="1013"/>
                  <a:pt x="1205" y="1018"/>
                  <a:pt x="1214" y="1026"/>
                </a:cubicBezTo>
                <a:cubicBezTo>
                  <a:pt x="1223" y="1034"/>
                  <a:pt x="1227" y="1038"/>
                  <a:pt x="1228" y="1038"/>
                </a:cubicBezTo>
                <a:cubicBezTo>
                  <a:pt x="1229" y="1038"/>
                  <a:pt x="1231" y="1038"/>
                  <a:pt x="1234" y="1038"/>
                </a:cubicBezTo>
                <a:cubicBezTo>
                  <a:pt x="1236" y="1038"/>
                  <a:pt x="1238" y="1041"/>
                  <a:pt x="1239" y="1046"/>
                </a:cubicBezTo>
                <a:cubicBezTo>
                  <a:pt x="1244" y="1040"/>
                  <a:pt x="1247" y="1036"/>
                  <a:pt x="1248" y="1037"/>
                </a:cubicBezTo>
                <a:cubicBezTo>
                  <a:pt x="1249" y="1037"/>
                  <a:pt x="1252" y="1038"/>
                  <a:pt x="1255" y="1039"/>
                </a:cubicBezTo>
                <a:cubicBezTo>
                  <a:pt x="1258" y="1041"/>
                  <a:pt x="1261" y="1042"/>
                  <a:pt x="1263" y="1042"/>
                </a:cubicBezTo>
                <a:cubicBezTo>
                  <a:pt x="1266" y="1042"/>
                  <a:pt x="1269" y="1041"/>
                  <a:pt x="1271" y="1039"/>
                </a:cubicBezTo>
                <a:cubicBezTo>
                  <a:pt x="1272" y="1038"/>
                  <a:pt x="1274" y="1036"/>
                  <a:pt x="1276" y="1033"/>
                </a:cubicBezTo>
                <a:cubicBezTo>
                  <a:pt x="1279" y="1031"/>
                  <a:pt x="1283" y="1027"/>
                  <a:pt x="1289" y="1021"/>
                </a:cubicBezTo>
                <a:cubicBezTo>
                  <a:pt x="1292" y="1019"/>
                  <a:pt x="1297" y="1015"/>
                  <a:pt x="1303" y="1011"/>
                </a:cubicBezTo>
                <a:cubicBezTo>
                  <a:pt x="1305" y="1010"/>
                  <a:pt x="1306" y="1009"/>
                  <a:pt x="1307" y="1009"/>
                </a:cubicBezTo>
                <a:cubicBezTo>
                  <a:pt x="1312" y="1005"/>
                  <a:pt x="1316" y="1003"/>
                  <a:pt x="1318" y="1001"/>
                </a:cubicBezTo>
                <a:cubicBezTo>
                  <a:pt x="1318" y="1001"/>
                  <a:pt x="1320" y="999"/>
                  <a:pt x="1322" y="995"/>
                </a:cubicBezTo>
                <a:cubicBezTo>
                  <a:pt x="1324" y="993"/>
                  <a:pt x="1327" y="991"/>
                  <a:pt x="1329" y="990"/>
                </a:cubicBezTo>
                <a:cubicBezTo>
                  <a:pt x="1331" y="989"/>
                  <a:pt x="1333" y="989"/>
                  <a:pt x="1337" y="988"/>
                </a:cubicBezTo>
                <a:cubicBezTo>
                  <a:pt x="1341" y="987"/>
                  <a:pt x="1344" y="986"/>
                  <a:pt x="1346" y="984"/>
                </a:cubicBezTo>
                <a:cubicBezTo>
                  <a:pt x="1348" y="982"/>
                  <a:pt x="1350" y="980"/>
                  <a:pt x="1353" y="977"/>
                </a:cubicBezTo>
                <a:cubicBezTo>
                  <a:pt x="1355" y="976"/>
                  <a:pt x="1358" y="975"/>
                  <a:pt x="1362" y="976"/>
                </a:cubicBezTo>
                <a:cubicBezTo>
                  <a:pt x="1365" y="976"/>
                  <a:pt x="1368" y="975"/>
                  <a:pt x="1370" y="973"/>
                </a:cubicBezTo>
                <a:cubicBezTo>
                  <a:pt x="1372" y="972"/>
                  <a:pt x="1375" y="970"/>
                  <a:pt x="1378" y="967"/>
                </a:cubicBezTo>
                <a:cubicBezTo>
                  <a:pt x="1380" y="964"/>
                  <a:pt x="1382" y="962"/>
                  <a:pt x="1384" y="960"/>
                </a:cubicBezTo>
                <a:cubicBezTo>
                  <a:pt x="1386" y="959"/>
                  <a:pt x="1389" y="958"/>
                  <a:pt x="1393" y="957"/>
                </a:cubicBezTo>
                <a:cubicBezTo>
                  <a:pt x="1396" y="957"/>
                  <a:pt x="1398" y="956"/>
                  <a:pt x="1399" y="955"/>
                </a:cubicBezTo>
                <a:cubicBezTo>
                  <a:pt x="1401" y="952"/>
                  <a:pt x="1403" y="948"/>
                  <a:pt x="1403" y="942"/>
                </a:cubicBezTo>
                <a:cubicBezTo>
                  <a:pt x="1404" y="940"/>
                  <a:pt x="1403" y="938"/>
                  <a:pt x="1403" y="936"/>
                </a:cubicBezTo>
                <a:cubicBezTo>
                  <a:pt x="1403" y="935"/>
                  <a:pt x="1402" y="933"/>
                  <a:pt x="1401" y="931"/>
                </a:cubicBezTo>
                <a:cubicBezTo>
                  <a:pt x="1399" y="927"/>
                  <a:pt x="1398" y="925"/>
                  <a:pt x="1398" y="924"/>
                </a:cubicBezTo>
                <a:cubicBezTo>
                  <a:pt x="1407" y="912"/>
                  <a:pt x="1412" y="905"/>
                  <a:pt x="1412" y="903"/>
                </a:cubicBezTo>
                <a:cubicBezTo>
                  <a:pt x="1412" y="901"/>
                  <a:pt x="1411" y="899"/>
                  <a:pt x="1408" y="895"/>
                </a:cubicBezTo>
                <a:cubicBezTo>
                  <a:pt x="1409" y="894"/>
                  <a:pt x="1410" y="894"/>
                  <a:pt x="1413" y="892"/>
                </a:cubicBezTo>
                <a:cubicBezTo>
                  <a:pt x="1415" y="891"/>
                  <a:pt x="1417" y="889"/>
                  <a:pt x="1418" y="886"/>
                </a:cubicBezTo>
                <a:cubicBezTo>
                  <a:pt x="1418" y="886"/>
                  <a:pt x="1419" y="883"/>
                  <a:pt x="1422" y="878"/>
                </a:cubicBezTo>
                <a:cubicBezTo>
                  <a:pt x="1423" y="875"/>
                  <a:pt x="1424" y="872"/>
                  <a:pt x="1424" y="870"/>
                </a:cubicBezTo>
                <a:cubicBezTo>
                  <a:pt x="1424" y="868"/>
                  <a:pt x="1424" y="867"/>
                  <a:pt x="1422" y="865"/>
                </a:cubicBezTo>
                <a:cubicBezTo>
                  <a:pt x="1421" y="864"/>
                  <a:pt x="1420" y="862"/>
                  <a:pt x="1421" y="860"/>
                </a:cubicBezTo>
                <a:cubicBezTo>
                  <a:pt x="1421" y="858"/>
                  <a:pt x="1422" y="856"/>
                  <a:pt x="1424" y="854"/>
                </a:cubicBezTo>
                <a:lnTo>
                  <a:pt x="1424" y="851"/>
                </a:lnTo>
                <a:cubicBezTo>
                  <a:pt x="1423" y="851"/>
                  <a:pt x="1422" y="850"/>
                  <a:pt x="1421" y="850"/>
                </a:cubicBezTo>
                <a:cubicBezTo>
                  <a:pt x="1420" y="849"/>
                  <a:pt x="1419" y="847"/>
                  <a:pt x="1417" y="844"/>
                </a:cubicBezTo>
                <a:cubicBezTo>
                  <a:pt x="1414" y="837"/>
                  <a:pt x="1412" y="833"/>
                  <a:pt x="1412" y="833"/>
                </a:cubicBezTo>
                <a:cubicBezTo>
                  <a:pt x="1412" y="831"/>
                  <a:pt x="1414" y="828"/>
                  <a:pt x="1417" y="825"/>
                </a:cubicBezTo>
                <a:cubicBezTo>
                  <a:pt x="1421" y="822"/>
                  <a:pt x="1425" y="821"/>
                  <a:pt x="1428" y="821"/>
                </a:cubicBezTo>
                <a:cubicBezTo>
                  <a:pt x="1429" y="821"/>
                  <a:pt x="1432" y="822"/>
                  <a:pt x="1436" y="824"/>
                </a:cubicBezTo>
                <a:cubicBezTo>
                  <a:pt x="1445" y="820"/>
                  <a:pt x="1449" y="819"/>
                  <a:pt x="1449" y="818"/>
                </a:cubicBezTo>
                <a:cubicBezTo>
                  <a:pt x="1449" y="818"/>
                  <a:pt x="1448" y="816"/>
                  <a:pt x="1445" y="811"/>
                </a:cubicBezTo>
                <a:cubicBezTo>
                  <a:pt x="1445" y="810"/>
                  <a:pt x="1446" y="810"/>
                  <a:pt x="1446" y="810"/>
                </a:cubicBezTo>
                <a:lnTo>
                  <a:pt x="1459" y="811"/>
                </a:lnTo>
                <a:cubicBezTo>
                  <a:pt x="1461" y="813"/>
                  <a:pt x="1462" y="814"/>
                  <a:pt x="1462" y="814"/>
                </a:cubicBezTo>
                <a:cubicBezTo>
                  <a:pt x="1464" y="814"/>
                  <a:pt x="1465" y="813"/>
                  <a:pt x="1467" y="811"/>
                </a:cubicBezTo>
                <a:cubicBezTo>
                  <a:pt x="1468" y="810"/>
                  <a:pt x="1469" y="809"/>
                  <a:pt x="1472" y="806"/>
                </a:cubicBezTo>
                <a:cubicBezTo>
                  <a:pt x="1478" y="801"/>
                  <a:pt x="1485" y="798"/>
                  <a:pt x="1491" y="799"/>
                </a:cubicBezTo>
                <a:cubicBezTo>
                  <a:pt x="1497" y="800"/>
                  <a:pt x="1501" y="800"/>
                  <a:pt x="1504" y="800"/>
                </a:cubicBezTo>
                <a:cubicBezTo>
                  <a:pt x="1507" y="800"/>
                  <a:pt x="1508" y="800"/>
                  <a:pt x="1508" y="800"/>
                </a:cubicBezTo>
                <a:cubicBezTo>
                  <a:pt x="1513" y="799"/>
                  <a:pt x="1519" y="798"/>
                  <a:pt x="1525" y="798"/>
                </a:cubicBezTo>
                <a:cubicBezTo>
                  <a:pt x="1529" y="798"/>
                  <a:pt x="1534" y="795"/>
                  <a:pt x="1539" y="788"/>
                </a:cubicBezTo>
                <a:cubicBezTo>
                  <a:pt x="1544" y="783"/>
                  <a:pt x="1546" y="778"/>
                  <a:pt x="1546" y="776"/>
                </a:cubicBezTo>
                <a:cubicBezTo>
                  <a:pt x="1545" y="766"/>
                  <a:pt x="1545" y="760"/>
                  <a:pt x="1545" y="759"/>
                </a:cubicBezTo>
                <a:lnTo>
                  <a:pt x="1545" y="759"/>
                </a:lnTo>
                <a:cubicBezTo>
                  <a:pt x="1549" y="763"/>
                  <a:pt x="1557" y="769"/>
                  <a:pt x="1568" y="777"/>
                </a:cubicBezTo>
                <a:cubicBezTo>
                  <a:pt x="1568" y="777"/>
                  <a:pt x="1568" y="777"/>
                  <a:pt x="1568" y="778"/>
                </a:cubicBezTo>
                <a:cubicBezTo>
                  <a:pt x="1568" y="781"/>
                  <a:pt x="1569" y="783"/>
                  <a:pt x="1569" y="785"/>
                </a:cubicBezTo>
                <a:cubicBezTo>
                  <a:pt x="1570" y="785"/>
                  <a:pt x="1571" y="786"/>
                  <a:pt x="1574" y="787"/>
                </a:cubicBezTo>
                <a:cubicBezTo>
                  <a:pt x="1576" y="789"/>
                  <a:pt x="1576" y="790"/>
                  <a:pt x="1576" y="792"/>
                </a:cubicBezTo>
                <a:cubicBezTo>
                  <a:pt x="1576" y="793"/>
                  <a:pt x="1576" y="794"/>
                  <a:pt x="1575" y="795"/>
                </a:cubicBezTo>
                <a:cubicBezTo>
                  <a:pt x="1575" y="796"/>
                  <a:pt x="1576" y="797"/>
                  <a:pt x="1579" y="798"/>
                </a:cubicBezTo>
                <a:cubicBezTo>
                  <a:pt x="1576" y="801"/>
                  <a:pt x="1574" y="804"/>
                  <a:pt x="1572" y="806"/>
                </a:cubicBezTo>
                <a:cubicBezTo>
                  <a:pt x="1569" y="810"/>
                  <a:pt x="1565" y="812"/>
                  <a:pt x="1560" y="811"/>
                </a:cubicBezTo>
                <a:cubicBezTo>
                  <a:pt x="1556" y="810"/>
                  <a:pt x="1552" y="812"/>
                  <a:pt x="1550" y="816"/>
                </a:cubicBezTo>
                <a:cubicBezTo>
                  <a:pt x="1548" y="821"/>
                  <a:pt x="1545" y="823"/>
                  <a:pt x="1541" y="823"/>
                </a:cubicBezTo>
                <a:cubicBezTo>
                  <a:pt x="1539" y="822"/>
                  <a:pt x="1526" y="817"/>
                  <a:pt x="1504" y="808"/>
                </a:cubicBezTo>
                <a:cubicBezTo>
                  <a:pt x="1501" y="808"/>
                  <a:pt x="1498" y="809"/>
                  <a:pt x="1492" y="811"/>
                </a:cubicBezTo>
                <a:cubicBezTo>
                  <a:pt x="1488" y="813"/>
                  <a:pt x="1485" y="815"/>
                  <a:pt x="1483" y="817"/>
                </a:cubicBezTo>
                <a:cubicBezTo>
                  <a:pt x="1482" y="819"/>
                  <a:pt x="1481" y="820"/>
                  <a:pt x="1480" y="821"/>
                </a:cubicBezTo>
                <a:cubicBezTo>
                  <a:pt x="1480" y="822"/>
                  <a:pt x="1478" y="822"/>
                  <a:pt x="1476" y="822"/>
                </a:cubicBezTo>
                <a:cubicBezTo>
                  <a:pt x="1469" y="822"/>
                  <a:pt x="1466" y="823"/>
                  <a:pt x="1466" y="825"/>
                </a:cubicBezTo>
                <a:cubicBezTo>
                  <a:pt x="1466" y="827"/>
                  <a:pt x="1465" y="829"/>
                  <a:pt x="1465" y="831"/>
                </a:cubicBezTo>
                <a:cubicBezTo>
                  <a:pt x="1464" y="836"/>
                  <a:pt x="1463" y="839"/>
                  <a:pt x="1462" y="840"/>
                </a:cubicBezTo>
                <a:cubicBezTo>
                  <a:pt x="1461" y="840"/>
                  <a:pt x="1457" y="841"/>
                  <a:pt x="1449" y="843"/>
                </a:cubicBezTo>
                <a:cubicBezTo>
                  <a:pt x="1443" y="844"/>
                  <a:pt x="1439" y="844"/>
                  <a:pt x="1437" y="845"/>
                </a:cubicBezTo>
                <a:cubicBezTo>
                  <a:pt x="1435" y="845"/>
                  <a:pt x="1433" y="846"/>
                  <a:pt x="1433" y="848"/>
                </a:cubicBezTo>
                <a:cubicBezTo>
                  <a:pt x="1432" y="850"/>
                  <a:pt x="1431" y="851"/>
                  <a:pt x="1430" y="852"/>
                </a:cubicBezTo>
                <a:cubicBezTo>
                  <a:pt x="1432" y="853"/>
                  <a:pt x="1434" y="854"/>
                  <a:pt x="1437" y="856"/>
                </a:cubicBezTo>
                <a:cubicBezTo>
                  <a:pt x="1440" y="857"/>
                  <a:pt x="1443" y="857"/>
                  <a:pt x="1445" y="857"/>
                </a:cubicBezTo>
                <a:lnTo>
                  <a:pt x="1445" y="857"/>
                </a:lnTo>
                <a:cubicBezTo>
                  <a:pt x="1444" y="858"/>
                  <a:pt x="1442" y="859"/>
                  <a:pt x="1438" y="861"/>
                </a:cubicBezTo>
                <a:cubicBezTo>
                  <a:pt x="1435" y="862"/>
                  <a:pt x="1433" y="864"/>
                  <a:pt x="1433" y="865"/>
                </a:cubicBezTo>
                <a:cubicBezTo>
                  <a:pt x="1434" y="865"/>
                  <a:pt x="1434" y="866"/>
                  <a:pt x="1434" y="866"/>
                </a:cubicBezTo>
                <a:cubicBezTo>
                  <a:pt x="1433" y="867"/>
                  <a:pt x="1432" y="868"/>
                  <a:pt x="1432" y="869"/>
                </a:cubicBezTo>
                <a:cubicBezTo>
                  <a:pt x="1433" y="869"/>
                  <a:pt x="1433" y="872"/>
                  <a:pt x="1432" y="877"/>
                </a:cubicBezTo>
                <a:cubicBezTo>
                  <a:pt x="1432" y="882"/>
                  <a:pt x="1431" y="886"/>
                  <a:pt x="1430" y="890"/>
                </a:cubicBezTo>
                <a:cubicBezTo>
                  <a:pt x="1426" y="899"/>
                  <a:pt x="1424" y="904"/>
                  <a:pt x="1424" y="904"/>
                </a:cubicBezTo>
                <a:cubicBezTo>
                  <a:pt x="1423" y="906"/>
                  <a:pt x="1421" y="910"/>
                  <a:pt x="1418" y="916"/>
                </a:cubicBezTo>
                <a:cubicBezTo>
                  <a:pt x="1414" y="922"/>
                  <a:pt x="1412" y="926"/>
                  <a:pt x="1412" y="929"/>
                </a:cubicBezTo>
                <a:cubicBezTo>
                  <a:pt x="1412" y="931"/>
                  <a:pt x="1412" y="932"/>
                  <a:pt x="1412" y="933"/>
                </a:cubicBezTo>
                <a:cubicBezTo>
                  <a:pt x="1413" y="934"/>
                  <a:pt x="1413" y="935"/>
                  <a:pt x="1413" y="936"/>
                </a:cubicBezTo>
                <a:cubicBezTo>
                  <a:pt x="1414" y="937"/>
                  <a:pt x="1416" y="938"/>
                  <a:pt x="1420" y="938"/>
                </a:cubicBezTo>
                <a:lnTo>
                  <a:pt x="1420" y="940"/>
                </a:lnTo>
                <a:cubicBezTo>
                  <a:pt x="1418" y="941"/>
                  <a:pt x="1417" y="941"/>
                  <a:pt x="1416" y="942"/>
                </a:cubicBezTo>
                <a:cubicBezTo>
                  <a:pt x="1415" y="942"/>
                  <a:pt x="1414" y="943"/>
                  <a:pt x="1414" y="945"/>
                </a:cubicBezTo>
                <a:cubicBezTo>
                  <a:pt x="1414" y="946"/>
                  <a:pt x="1414" y="947"/>
                  <a:pt x="1415" y="950"/>
                </a:cubicBezTo>
                <a:cubicBezTo>
                  <a:pt x="1414" y="951"/>
                  <a:pt x="1413" y="952"/>
                  <a:pt x="1412" y="953"/>
                </a:cubicBezTo>
                <a:cubicBezTo>
                  <a:pt x="1410" y="954"/>
                  <a:pt x="1409" y="956"/>
                  <a:pt x="1409" y="958"/>
                </a:cubicBezTo>
                <a:cubicBezTo>
                  <a:pt x="1408" y="960"/>
                  <a:pt x="1407" y="961"/>
                  <a:pt x="1405" y="963"/>
                </a:cubicBezTo>
                <a:cubicBezTo>
                  <a:pt x="1404" y="963"/>
                  <a:pt x="1402" y="964"/>
                  <a:pt x="1400" y="963"/>
                </a:cubicBezTo>
                <a:cubicBezTo>
                  <a:pt x="1396" y="962"/>
                  <a:pt x="1392" y="963"/>
                  <a:pt x="1387" y="964"/>
                </a:cubicBezTo>
                <a:cubicBezTo>
                  <a:pt x="1383" y="966"/>
                  <a:pt x="1381" y="968"/>
                  <a:pt x="1379" y="972"/>
                </a:cubicBezTo>
                <a:cubicBezTo>
                  <a:pt x="1378" y="972"/>
                  <a:pt x="1378" y="973"/>
                  <a:pt x="1378" y="974"/>
                </a:cubicBezTo>
                <a:cubicBezTo>
                  <a:pt x="1374" y="979"/>
                  <a:pt x="1368" y="982"/>
                  <a:pt x="1359" y="981"/>
                </a:cubicBezTo>
                <a:cubicBezTo>
                  <a:pt x="1355" y="981"/>
                  <a:pt x="1351" y="983"/>
                  <a:pt x="1349" y="987"/>
                </a:cubicBezTo>
                <a:cubicBezTo>
                  <a:pt x="1347" y="991"/>
                  <a:pt x="1344" y="992"/>
                  <a:pt x="1340" y="992"/>
                </a:cubicBezTo>
                <a:cubicBezTo>
                  <a:pt x="1334" y="991"/>
                  <a:pt x="1331" y="992"/>
                  <a:pt x="1330" y="992"/>
                </a:cubicBezTo>
                <a:cubicBezTo>
                  <a:pt x="1327" y="995"/>
                  <a:pt x="1324" y="999"/>
                  <a:pt x="1320" y="1002"/>
                </a:cubicBezTo>
                <a:cubicBezTo>
                  <a:pt x="1319" y="1004"/>
                  <a:pt x="1316" y="1006"/>
                  <a:pt x="1313" y="1008"/>
                </a:cubicBezTo>
                <a:cubicBezTo>
                  <a:pt x="1311" y="1009"/>
                  <a:pt x="1309" y="1010"/>
                  <a:pt x="1308" y="1010"/>
                </a:cubicBezTo>
                <a:cubicBezTo>
                  <a:pt x="1306" y="1011"/>
                  <a:pt x="1305" y="1012"/>
                  <a:pt x="1304" y="1013"/>
                </a:cubicBezTo>
                <a:cubicBezTo>
                  <a:pt x="1298" y="1018"/>
                  <a:pt x="1293" y="1022"/>
                  <a:pt x="1288" y="1025"/>
                </a:cubicBezTo>
                <a:cubicBezTo>
                  <a:pt x="1281" y="1032"/>
                  <a:pt x="1275" y="1038"/>
                  <a:pt x="1273" y="1044"/>
                </a:cubicBezTo>
                <a:cubicBezTo>
                  <a:pt x="1273" y="1044"/>
                  <a:pt x="1273" y="1044"/>
                  <a:pt x="1274" y="1045"/>
                </a:cubicBezTo>
                <a:cubicBezTo>
                  <a:pt x="1274" y="1045"/>
                  <a:pt x="1274" y="1045"/>
                  <a:pt x="1274" y="1045"/>
                </a:cubicBezTo>
                <a:cubicBezTo>
                  <a:pt x="1274" y="1045"/>
                  <a:pt x="1274" y="1045"/>
                  <a:pt x="1274" y="1046"/>
                </a:cubicBezTo>
                <a:cubicBezTo>
                  <a:pt x="1274" y="1046"/>
                  <a:pt x="1274" y="1050"/>
                  <a:pt x="1276" y="1055"/>
                </a:cubicBezTo>
                <a:cubicBezTo>
                  <a:pt x="1276" y="1057"/>
                  <a:pt x="1274" y="1058"/>
                  <a:pt x="1270" y="1060"/>
                </a:cubicBezTo>
                <a:cubicBezTo>
                  <a:pt x="1266" y="1061"/>
                  <a:pt x="1263" y="1061"/>
                  <a:pt x="1261" y="1061"/>
                </a:cubicBezTo>
                <a:cubicBezTo>
                  <a:pt x="1259" y="1061"/>
                  <a:pt x="1257" y="1060"/>
                  <a:pt x="1254" y="1058"/>
                </a:cubicBezTo>
                <a:cubicBezTo>
                  <a:pt x="1252" y="1057"/>
                  <a:pt x="1250" y="1055"/>
                  <a:pt x="1250" y="1055"/>
                </a:cubicBezTo>
                <a:cubicBezTo>
                  <a:pt x="1247" y="1057"/>
                  <a:pt x="1244" y="1057"/>
                  <a:pt x="1240" y="1056"/>
                </a:cubicBezTo>
                <a:cubicBezTo>
                  <a:pt x="1239" y="1056"/>
                  <a:pt x="1236" y="1057"/>
                  <a:pt x="1234" y="1058"/>
                </a:cubicBezTo>
                <a:cubicBezTo>
                  <a:pt x="1231" y="1060"/>
                  <a:pt x="1229" y="1060"/>
                  <a:pt x="1228" y="1060"/>
                </a:cubicBezTo>
                <a:cubicBezTo>
                  <a:pt x="1211" y="1061"/>
                  <a:pt x="1202" y="1062"/>
                  <a:pt x="1202" y="1062"/>
                </a:cubicBezTo>
                <a:cubicBezTo>
                  <a:pt x="1199" y="1059"/>
                  <a:pt x="1197" y="1057"/>
                  <a:pt x="1196" y="1057"/>
                </a:cubicBezTo>
                <a:cubicBezTo>
                  <a:pt x="1190" y="1057"/>
                  <a:pt x="1186" y="1057"/>
                  <a:pt x="1184" y="1060"/>
                </a:cubicBezTo>
                <a:cubicBezTo>
                  <a:pt x="1182" y="1062"/>
                  <a:pt x="1178" y="1064"/>
                  <a:pt x="1171" y="1064"/>
                </a:cubicBezTo>
                <a:lnTo>
                  <a:pt x="1171" y="1066"/>
                </a:lnTo>
                <a:cubicBezTo>
                  <a:pt x="1173" y="1067"/>
                  <a:pt x="1177" y="1069"/>
                  <a:pt x="1182" y="1072"/>
                </a:cubicBezTo>
                <a:cubicBezTo>
                  <a:pt x="1186" y="1074"/>
                  <a:pt x="1189" y="1076"/>
                  <a:pt x="1191" y="1078"/>
                </a:cubicBezTo>
                <a:cubicBezTo>
                  <a:pt x="1193" y="1071"/>
                  <a:pt x="1194" y="1068"/>
                  <a:pt x="1195" y="1066"/>
                </a:cubicBezTo>
                <a:cubicBezTo>
                  <a:pt x="1196" y="1065"/>
                  <a:pt x="1200" y="1065"/>
                  <a:pt x="1205" y="1066"/>
                </a:cubicBezTo>
                <a:cubicBezTo>
                  <a:pt x="1207" y="1066"/>
                  <a:pt x="1209" y="1067"/>
                  <a:pt x="1210" y="1069"/>
                </a:cubicBezTo>
                <a:cubicBezTo>
                  <a:pt x="1210" y="1071"/>
                  <a:pt x="1213" y="1073"/>
                  <a:pt x="1216" y="1073"/>
                </a:cubicBezTo>
                <a:cubicBezTo>
                  <a:pt x="1218" y="1073"/>
                  <a:pt x="1221" y="1072"/>
                  <a:pt x="1223" y="1071"/>
                </a:cubicBezTo>
                <a:cubicBezTo>
                  <a:pt x="1225" y="1069"/>
                  <a:pt x="1227" y="1068"/>
                  <a:pt x="1229" y="1068"/>
                </a:cubicBezTo>
                <a:cubicBezTo>
                  <a:pt x="1231" y="1068"/>
                  <a:pt x="1231" y="1069"/>
                  <a:pt x="1232" y="1070"/>
                </a:cubicBezTo>
                <a:cubicBezTo>
                  <a:pt x="1232" y="1072"/>
                  <a:pt x="1232" y="1073"/>
                  <a:pt x="1232" y="1074"/>
                </a:cubicBezTo>
                <a:cubicBezTo>
                  <a:pt x="1233" y="1075"/>
                  <a:pt x="1234" y="1076"/>
                  <a:pt x="1235" y="1077"/>
                </a:cubicBezTo>
                <a:cubicBezTo>
                  <a:pt x="1236" y="1078"/>
                  <a:pt x="1237" y="1078"/>
                  <a:pt x="1237" y="1079"/>
                </a:cubicBezTo>
                <a:cubicBezTo>
                  <a:pt x="1236" y="1082"/>
                  <a:pt x="1233" y="1085"/>
                  <a:pt x="1228" y="1088"/>
                </a:cubicBezTo>
                <a:cubicBezTo>
                  <a:pt x="1222" y="1089"/>
                  <a:pt x="1218" y="1090"/>
                  <a:pt x="1218" y="1093"/>
                </a:cubicBezTo>
                <a:cubicBezTo>
                  <a:pt x="1215" y="1091"/>
                  <a:pt x="1213" y="1090"/>
                  <a:pt x="1212" y="1090"/>
                </a:cubicBezTo>
                <a:cubicBezTo>
                  <a:pt x="1212" y="1091"/>
                  <a:pt x="1210" y="1092"/>
                  <a:pt x="1207" y="1092"/>
                </a:cubicBezTo>
                <a:cubicBezTo>
                  <a:pt x="1205" y="1093"/>
                  <a:pt x="1204" y="1094"/>
                  <a:pt x="1204" y="1095"/>
                </a:cubicBezTo>
                <a:cubicBezTo>
                  <a:pt x="1203" y="1100"/>
                  <a:pt x="1206" y="1103"/>
                  <a:pt x="1213" y="1104"/>
                </a:cubicBezTo>
                <a:cubicBezTo>
                  <a:pt x="1214" y="1104"/>
                  <a:pt x="1215" y="1103"/>
                  <a:pt x="1217" y="1102"/>
                </a:cubicBezTo>
                <a:cubicBezTo>
                  <a:pt x="1218" y="1101"/>
                  <a:pt x="1219" y="1100"/>
                  <a:pt x="1220" y="1098"/>
                </a:cubicBezTo>
                <a:cubicBezTo>
                  <a:pt x="1219" y="1096"/>
                  <a:pt x="1219" y="1094"/>
                  <a:pt x="1219" y="1093"/>
                </a:cubicBezTo>
                <a:lnTo>
                  <a:pt x="1222" y="1093"/>
                </a:lnTo>
                <a:cubicBezTo>
                  <a:pt x="1223" y="1099"/>
                  <a:pt x="1228" y="1101"/>
                  <a:pt x="1238" y="1100"/>
                </a:cubicBezTo>
                <a:cubicBezTo>
                  <a:pt x="1240" y="1100"/>
                  <a:pt x="1243" y="1101"/>
                  <a:pt x="1247" y="1104"/>
                </a:cubicBezTo>
                <a:cubicBezTo>
                  <a:pt x="1251" y="1107"/>
                  <a:pt x="1255" y="1109"/>
                  <a:pt x="1257" y="1109"/>
                </a:cubicBezTo>
                <a:cubicBezTo>
                  <a:pt x="1258" y="1109"/>
                  <a:pt x="1261" y="1109"/>
                  <a:pt x="1264" y="1108"/>
                </a:cubicBezTo>
                <a:cubicBezTo>
                  <a:pt x="1264" y="1113"/>
                  <a:pt x="1265" y="1115"/>
                  <a:pt x="1268" y="1117"/>
                </a:cubicBezTo>
                <a:cubicBezTo>
                  <a:pt x="1269" y="1117"/>
                  <a:pt x="1272" y="1118"/>
                  <a:pt x="1278" y="1118"/>
                </a:cubicBezTo>
                <a:cubicBezTo>
                  <a:pt x="1281" y="1118"/>
                  <a:pt x="1285" y="1118"/>
                  <a:pt x="1292" y="1118"/>
                </a:cubicBezTo>
                <a:cubicBezTo>
                  <a:pt x="1299" y="1118"/>
                  <a:pt x="1304" y="1117"/>
                  <a:pt x="1305" y="1116"/>
                </a:cubicBezTo>
                <a:cubicBezTo>
                  <a:pt x="1311" y="1113"/>
                  <a:pt x="1318" y="1109"/>
                  <a:pt x="1328" y="1105"/>
                </a:cubicBezTo>
                <a:cubicBezTo>
                  <a:pt x="1328" y="1104"/>
                  <a:pt x="1328" y="1103"/>
                  <a:pt x="1328" y="1102"/>
                </a:cubicBezTo>
                <a:cubicBezTo>
                  <a:pt x="1345" y="1105"/>
                  <a:pt x="1358" y="1101"/>
                  <a:pt x="1364" y="1091"/>
                </a:cubicBezTo>
                <a:cubicBezTo>
                  <a:pt x="1370" y="1093"/>
                  <a:pt x="1374" y="1092"/>
                  <a:pt x="1377" y="1089"/>
                </a:cubicBezTo>
                <a:cubicBezTo>
                  <a:pt x="1378" y="1088"/>
                  <a:pt x="1381" y="1084"/>
                  <a:pt x="1384" y="1080"/>
                </a:cubicBezTo>
                <a:cubicBezTo>
                  <a:pt x="1382" y="1084"/>
                  <a:pt x="1384" y="1088"/>
                  <a:pt x="1390" y="1089"/>
                </a:cubicBezTo>
                <a:cubicBezTo>
                  <a:pt x="1396" y="1090"/>
                  <a:pt x="1399" y="1092"/>
                  <a:pt x="1399" y="1095"/>
                </a:cubicBezTo>
                <a:cubicBezTo>
                  <a:pt x="1403" y="1092"/>
                  <a:pt x="1405" y="1090"/>
                  <a:pt x="1406" y="1090"/>
                </a:cubicBezTo>
                <a:cubicBezTo>
                  <a:pt x="1407" y="1091"/>
                  <a:pt x="1408" y="1092"/>
                  <a:pt x="1411" y="1095"/>
                </a:cubicBezTo>
                <a:cubicBezTo>
                  <a:pt x="1414" y="1097"/>
                  <a:pt x="1416" y="1099"/>
                  <a:pt x="1417" y="1099"/>
                </a:cubicBezTo>
                <a:cubicBezTo>
                  <a:pt x="1418" y="1099"/>
                  <a:pt x="1420" y="1098"/>
                  <a:pt x="1422" y="1096"/>
                </a:cubicBezTo>
                <a:cubicBezTo>
                  <a:pt x="1424" y="1095"/>
                  <a:pt x="1425" y="1093"/>
                  <a:pt x="1425" y="1090"/>
                </a:cubicBezTo>
                <a:cubicBezTo>
                  <a:pt x="1425" y="1089"/>
                  <a:pt x="1425" y="1088"/>
                  <a:pt x="1424" y="1087"/>
                </a:cubicBezTo>
                <a:cubicBezTo>
                  <a:pt x="1424" y="1086"/>
                  <a:pt x="1423" y="1084"/>
                  <a:pt x="1423" y="1084"/>
                </a:cubicBezTo>
                <a:cubicBezTo>
                  <a:pt x="1425" y="1084"/>
                  <a:pt x="1427" y="1081"/>
                  <a:pt x="1428" y="1077"/>
                </a:cubicBezTo>
                <a:cubicBezTo>
                  <a:pt x="1431" y="1079"/>
                  <a:pt x="1435" y="1081"/>
                  <a:pt x="1440" y="1085"/>
                </a:cubicBezTo>
                <a:cubicBezTo>
                  <a:pt x="1441" y="1086"/>
                  <a:pt x="1442" y="1088"/>
                  <a:pt x="1441" y="1092"/>
                </a:cubicBezTo>
                <a:cubicBezTo>
                  <a:pt x="1441" y="1095"/>
                  <a:pt x="1442" y="1097"/>
                  <a:pt x="1444" y="1099"/>
                </a:cubicBezTo>
                <a:cubicBezTo>
                  <a:pt x="1444" y="1100"/>
                  <a:pt x="1444" y="1101"/>
                  <a:pt x="1443" y="1103"/>
                </a:cubicBezTo>
                <a:cubicBezTo>
                  <a:pt x="1443" y="1105"/>
                  <a:pt x="1444" y="1107"/>
                  <a:pt x="1446" y="1110"/>
                </a:cubicBezTo>
                <a:cubicBezTo>
                  <a:pt x="1446" y="1110"/>
                  <a:pt x="1446" y="1110"/>
                  <a:pt x="1446" y="1111"/>
                </a:cubicBezTo>
                <a:cubicBezTo>
                  <a:pt x="1450" y="1112"/>
                  <a:pt x="1454" y="1112"/>
                  <a:pt x="1459" y="1111"/>
                </a:cubicBezTo>
                <a:cubicBezTo>
                  <a:pt x="1460" y="1111"/>
                  <a:pt x="1461" y="1112"/>
                  <a:pt x="1461" y="1112"/>
                </a:cubicBezTo>
                <a:cubicBezTo>
                  <a:pt x="1458" y="1114"/>
                  <a:pt x="1456" y="1115"/>
                  <a:pt x="1455" y="1118"/>
                </a:cubicBezTo>
                <a:cubicBezTo>
                  <a:pt x="1452" y="1122"/>
                  <a:pt x="1452" y="1124"/>
                  <a:pt x="1452" y="1127"/>
                </a:cubicBezTo>
                <a:cubicBezTo>
                  <a:pt x="1446" y="1124"/>
                  <a:pt x="1441" y="1126"/>
                  <a:pt x="1438" y="1131"/>
                </a:cubicBezTo>
                <a:cubicBezTo>
                  <a:pt x="1437" y="1133"/>
                  <a:pt x="1435" y="1134"/>
                  <a:pt x="1432" y="1135"/>
                </a:cubicBezTo>
                <a:cubicBezTo>
                  <a:pt x="1428" y="1136"/>
                  <a:pt x="1426" y="1138"/>
                  <a:pt x="1425" y="1139"/>
                </a:cubicBezTo>
                <a:cubicBezTo>
                  <a:pt x="1416" y="1148"/>
                  <a:pt x="1409" y="1154"/>
                  <a:pt x="1402" y="1159"/>
                </a:cubicBezTo>
                <a:cubicBezTo>
                  <a:pt x="1402" y="1157"/>
                  <a:pt x="1401" y="1156"/>
                  <a:pt x="1399" y="1155"/>
                </a:cubicBezTo>
                <a:cubicBezTo>
                  <a:pt x="1398" y="1155"/>
                  <a:pt x="1396" y="1155"/>
                  <a:pt x="1396" y="1154"/>
                </a:cubicBezTo>
                <a:cubicBezTo>
                  <a:pt x="1396" y="1155"/>
                  <a:pt x="1395" y="1156"/>
                  <a:pt x="1394" y="1156"/>
                </a:cubicBezTo>
                <a:cubicBezTo>
                  <a:pt x="1394" y="1157"/>
                  <a:pt x="1394" y="1158"/>
                  <a:pt x="1395" y="1159"/>
                </a:cubicBezTo>
                <a:lnTo>
                  <a:pt x="1396" y="1159"/>
                </a:lnTo>
                <a:cubicBezTo>
                  <a:pt x="1397" y="1163"/>
                  <a:pt x="1390" y="1169"/>
                  <a:pt x="1378" y="1177"/>
                </a:cubicBezTo>
                <a:cubicBezTo>
                  <a:pt x="1366" y="1186"/>
                  <a:pt x="1360" y="1193"/>
                  <a:pt x="1359" y="1197"/>
                </a:cubicBezTo>
                <a:cubicBezTo>
                  <a:pt x="1359" y="1198"/>
                  <a:pt x="1359" y="1199"/>
                  <a:pt x="1360" y="1200"/>
                </a:cubicBezTo>
                <a:cubicBezTo>
                  <a:pt x="1355" y="1204"/>
                  <a:pt x="1350" y="1207"/>
                  <a:pt x="1345" y="1211"/>
                </a:cubicBezTo>
                <a:cubicBezTo>
                  <a:pt x="1334" y="1218"/>
                  <a:pt x="1329" y="1226"/>
                  <a:pt x="1328" y="1232"/>
                </a:cubicBezTo>
                <a:cubicBezTo>
                  <a:pt x="1328" y="1237"/>
                  <a:pt x="1330" y="1241"/>
                  <a:pt x="1335" y="1244"/>
                </a:cubicBezTo>
                <a:cubicBezTo>
                  <a:pt x="1338" y="1246"/>
                  <a:pt x="1343" y="1248"/>
                  <a:pt x="1348" y="1249"/>
                </a:cubicBezTo>
                <a:cubicBezTo>
                  <a:pt x="1350" y="1249"/>
                  <a:pt x="1352" y="1248"/>
                  <a:pt x="1353" y="1247"/>
                </a:cubicBezTo>
                <a:cubicBezTo>
                  <a:pt x="1354" y="1246"/>
                  <a:pt x="1355" y="1244"/>
                  <a:pt x="1357" y="1242"/>
                </a:cubicBezTo>
                <a:cubicBezTo>
                  <a:pt x="1360" y="1237"/>
                  <a:pt x="1368" y="1235"/>
                  <a:pt x="1380" y="1236"/>
                </a:cubicBezTo>
                <a:cubicBezTo>
                  <a:pt x="1387" y="1237"/>
                  <a:pt x="1396" y="1240"/>
                  <a:pt x="1407" y="1247"/>
                </a:cubicBezTo>
                <a:cubicBezTo>
                  <a:pt x="1418" y="1254"/>
                  <a:pt x="1425" y="1257"/>
                  <a:pt x="1430" y="1258"/>
                </a:cubicBezTo>
                <a:cubicBezTo>
                  <a:pt x="1432" y="1258"/>
                  <a:pt x="1434" y="1257"/>
                  <a:pt x="1436" y="1254"/>
                </a:cubicBezTo>
                <a:cubicBezTo>
                  <a:pt x="1439" y="1251"/>
                  <a:pt x="1442" y="1250"/>
                  <a:pt x="1444" y="1250"/>
                </a:cubicBezTo>
                <a:cubicBezTo>
                  <a:pt x="1453" y="1251"/>
                  <a:pt x="1463" y="1257"/>
                  <a:pt x="1472" y="1267"/>
                </a:cubicBezTo>
                <a:cubicBezTo>
                  <a:pt x="1481" y="1277"/>
                  <a:pt x="1485" y="1286"/>
                  <a:pt x="1484" y="1296"/>
                </a:cubicBezTo>
                <a:cubicBezTo>
                  <a:pt x="1484" y="1297"/>
                  <a:pt x="1483" y="1299"/>
                  <a:pt x="1481" y="1303"/>
                </a:cubicBezTo>
                <a:cubicBezTo>
                  <a:pt x="1479" y="1307"/>
                  <a:pt x="1478" y="1310"/>
                  <a:pt x="1478" y="1312"/>
                </a:cubicBezTo>
                <a:cubicBezTo>
                  <a:pt x="1477" y="1317"/>
                  <a:pt x="1478" y="1321"/>
                  <a:pt x="1481" y="1326"/>
                </a:cubicBezTo>
                <a:cubicBezTo>
                  <a:pt x="1483" y="1330"/>
                  <a:pt x="1484" y="1333"/>
                  <a:pt x="1484" y="1333"/>
                </a:cubicBezTo>
                <a:cubicBezTo>
                  <a:pt x="1484" y="1335"/>
                  <a:pt x="1481" y="1338"/>
                  <a:pt x="1477" y="1344"/>
                </a:cubicBezTo>
                <a:cubicBezTo>
                  <a:pt x="1472" y="1350"/>
                  <a:pt x="1468" y="1353"/>
                  <a:pt x="1465" y="1354"/>
                </a:cubicBezTo>
                <a:cubicBezTo>
                  <a:pt x="1470" y="1363"/>
                  <a:pt x="1477" y="1368"/>
                  <a:pt x="1487" y="1369"/>
                </a:cubicBezTo>
                <a:cubicBezTo>
                  <a:pt x="1489" y="1369"/>
                  <a:pt x="1492" y="1368"/>
                  <a:pt x="1495" y="1366"/>
                </a:cubicBezTo>
                <a:cubicBezTo>
                  <a:pt x="1495" y="1366"/>
                  <a:pt x="1497" y="1368"/>
                  <a:pt x="1501" y="1373"/>
                </a:cubicBezTo>
                <a:cubicBezTo>
                  <a:pt x="1507" y="1378"/>
                  <a:pt x="1513" y="1380"/>
                  <a:pt x="1519" y="1381"/>
                </a:cubicBezTo>
                <a:cubicBezTo>
                  <a:pt x="1524" y="1381"/>
                  <a:pt x="1529" y="1379"/>
                  <a:pt x="1534" y="1374"/>
                </a:cubicBezTo>
                <a:cubicBezTo>
                  <a:pt x="1535" y="1374"/>
                  <a:pt x="1537" y="1375"/>
                  <a:pt x="1539" y="1376"/>
                </a:cubicBezTo>
                <a:cubicBezTo>
                  <a:pt x="1550" y="1377"/>
                  <a:pt x="1561" y="1368"/>
                  <a:pt x="1574" y="1349"/>
                </a:cubicBezTo>
                <a:cubicBezTo>
                  <a:pt x="1581" y="1340"/>
                  <a:pt x="1586" y="1331"/>
                  <a:pt x="1591" y="1321"/>
                </a:cubicBezTo>
                <a:cubicBezTo>
                  <a:pt x="1591" y="1320"/>
                  <a:pt x="1591" y="1320"/>
                  <a:pt x="1591" y="1319"/>
                </a:cubicBezTo>
                <a:cubicBezTo>
                  <a:pt x="1591" y="1316"/>
                  <a:pt x="1591" y="1315"/>
                  <a:pt x="1591" y="1314"/>
                </a:cubicBezTo>
                <a:cubicBezTo>
                  <a:pt x="1592" y="1308"/>
                  <a:pt x="1596" y="1302"/>
                  <a:pt x="1604" y="1297"/>
                </a:cubicBezTo>
                <a:cubicBezTo>
                  <a:pt x="1607" y="1294"/>
                  <a:pt x="1610" y="1292"/>
                  <a:pt x="1611" y="1291"/>
                </a:cubicBezTo>
                <a:cubicBezTo>
                  <a:pt x="1614" y="1289"/>
                  <a:pt x="1616" y="1286"/>
                  <a:pt x="1617" y="1283"/>
                </a:cubicBezTo>
                <a:cubicBezTo>
                  <a:pt x="1619" y="1280"/>
                  <a:pt x="1622" y="1278"/>
                  <a:pt x="1626" y="1277"/>
                </a:cubicBezTo>
                <a:cubicBezTo>
                  <a:pt x="1631" y="1275"/>
                  <a:pt x="1634" y="1274"/>
                  <a:pt x="1635" y="1274"/>
                </a:cubicBezTo>
                <a:cubicBezTo>
                  <a:pt x="1635" y="1274"/>
                  <a:pt x="1638" y="1272"/>
                  <a:pt x="1643" y="1269"/>
                </a:cubicBezTo>
                <a:cubicBezTo>
                  <a:pt x="1649" y="1266"/>
                  <a:pt x="1652" y="1265"/>
                  <a:pt x="1654" y="1265"/>
                </a:cubicBezTo>
                <a:cubicBezTo>
                  <a:pt x="1657" y="1266"/>
                  <a:pt x="1660" y="1266"/>
                  <a:pt x="1663" y="1268"/>
                </a:cubicBezTo>
                <a:lnTo>
                  <a:pt x="1667" y="1268"/>
                </a:lnTo>
                <a:cubicBezTo>
                  <a:pt x="1668" y="1262"/>
                  <a:pt x="1669" y="1257"/>
                  <a:pt x="1669" y="1253"/>
                </a:cubicBezTo>
                <a:cubicBezTo>
                  <a:pt x="1671" y="1248"/>
                  <a:pt x="1673" y="1244"/>
                  <a:pt x="1676" y="1242"/>
                </a:cubicBezTo>
                <a:cubicBezTo>
                  <a:pt x="1678" y="1241"/>
                  <a:pt x="1679" y="1240"/>
                  <a:pt x="1680" y="1238"/>
                </a:cubicBezTo>
                <a:cubicBezTo>
                  <a:pt x="1681" y="1236"/>
                  <a:pt x="1683" y="1234"/>
                  <a:pt x="1684" y="1234"/>
                </a:cubicBezTo>
                <a:cubicBezTo>
                  <a:pt x="1687" y="1233"/>
                  <a:pt x="1689" y="1231"/>
                  <a:pt x="1692" y="1229"/>
                </a:cubicBezTo>
                <a:cubicBezTo>
                  <a:pt x="1694" y="1228"/>
                  <a:pt x="1695" y="1227"/>
                  <a:pt x="1695" y="1226"/>
                </a:cubicBezTo>
                <a:cubicBezTo>
                  <a:pt x="1692" y="1222"/>
                  <a:pt x="1692" y="1218"/>
                  <a:pt x="1692" y="1216"/>
                </a:cubicBezTo>
                <a:cubicBezTo>
                  <a:pt x="1693" y="1209"/>
                  <a:pt x="1697" y="1204"/>
                  <a:pt x="1704" y="1199"/>
                </a:cubicBezTo>
                <a:cubicBezTo>
                  <a:pt x="1711" y="1195"/>
                  <a:pt x="1717" y="1193"/>
                  <a:pt x="1724" y="1194"/>
                </a:cubicBezTo>
                <a:cubicBezTo>
                  <a:pt x="1732" y="1195"/>
                  <a:pt x="1738" y="1196"/>
                  <a:pt x="1742" y="1197"/>
                </a:cubicBezTo>
                <a:cubicBezTo>
                  <a:pt x="1747" y="1200"/>
                  <a:pt x="1751" y="1204"/>
                  <a:pt x="1754" y="1210"/>
                </a:cubicBezTo>
                <a:cubicBezTo>
                  <a:pt x="1755" y="1209"/>
                  <a:pt x="1757" y="1207"/>
                  <a:pt x="1760" y="1204"/>
                </a:cubicBezTo>
                <a:cubicBezTo>
                  <a:pt x="1763" y="1202"/>
                  <a:pt x="1766" y="1201"/>
                  <a:pt x="1768" y="1200"/>
                </a:cubicBezTo>
                <a:cubicBezTo>
                  <a:pt x="1770" y="1200"/>
                  <a:pt x="1772" y="1198"/>
                  <a:pt x="1774" y="1195"/>
                </a:cubicBezTo>
                <a:cubicBezTo>
                  <a:pt x="1775" y="1192"/>
                  <a:pt x="1777" y="1190"/>
                  <a:pt x="1780" y="1191"/>
                </a:cubicBezTo>
                <a:cubicBezTo>
                  <a:pt x="1781" y="1191"/>
                  <a:pt x="1781" y="1191"/>
                  <a:pt x="1782" y="1192"/>
                </a:cubicBezTo>
                <a:cubicBezTo>
                  <a:pt x="1783" y="1192"/>
                  <a:pt x="1784" y="1193"/>
                  <a:pt x="1785" y="1193"/>
                </a:cubicBezTo>
                <a:cubicBezTo>
                  <a:pt x="1788" y="1193"/>
                  <a:pt x="1790" y="1193"/>
                  <a:pt x="1792" y="1192"/>
                </a:cubicBezTo>
                <a:cubicBezTo>
                  <a:pt x="1794" y="1192"/>
                  <a:pt x="1796" y="1191"/>
                  <a:pt x="1798" y="1191"/>
                </a:cubicBezTo>
                <a:cubicBezTo>
                  <a:pt x="1801" y="1190"/>
                  <a:pt x="1803" y="1189"/>
                  <a:pt x="1803" y="1188"/>
                </a:cubicBezTo>
                <a:cubicBezTo>
                  <a:pt x="1804" y="1187"/>
                  <a:pt x="1804" y="1185"/>
                  <a:pt x="1805" y="1183"/>
                </a:cubicBezTo>
                <a:cubicBezTo>
                  <a:pt x="1809" y="1183"/>
                  <a:pt x="1812" y="1182"/>
                  <a:pt x="1816" y="1179"/>
                </a:cubicBezTo>
                <a:cubicBezTo>
                  <a:pt x="1821" y="1176"/>
                  <a:pt x="1823" y="1173"/>
                  <a:pt x="1823" y="1171"/>
                </a:cubicBezTo>
                <a:cubicBezTo>
                  <a:pt x="1823" y="1170"/>
                  <a:pt x="1822" y="1169"/>
                  <a:pt x="1821" y="1168"/>
                </a:cubicBezTo>
                <a:cubicBezTo>
                  <a:pt x="1819" y="1167"/>
                  <a:pt x="1817" y="1165"/>
                  <a:pt x="1816" y="1165"/>
                </a:cubicBezTo>
                <a:cubicBezTo>
                  <a:pt x="1811" y="1161"/>
                  <a:pt x="1809" y="1155"/>
                  <a:pt x="1810" y="1146"/>
                </a:cubicBezTo>
                <a:cubicBezTo>
                  <a:pt x="1811" y="1145"/>
                  <a:pt x="1811" y="1141"/>
                  <a:pt x="1813" y="1137"/>
                </a:cubicBezTo>
                <a:cubicBezTo>
                  <a:pt x="1814" y="1134"/>
                  <a:pt x="1814" y="1132"/>
                  <a:pt x="1815" y="1129"/>
                </a:cubicBezTo>
                <a:cubicBezTo>
                  <a:pt x="1817" y="1127"/>
                  <a:pt x="1819" y="1126"/>
                  <a:pt x="1821" y="1126"/>
                </a:cubicBezTo>
                <a:cubicBezTo>
                  <a:pt x="1823" y="1126"/>
                  <a:pt x="1825" y="1125"/>
                  <a:pt x="1828" y="1123"/>
                </a:cubicBezTo>
                <a:cubicBezTo>
                  <a:pt x="1829" y="1122"/>
                  <a:pt x="1831" y="1121"/>
                  <a:pt x="1836" y="1120"/>
                </a:cubicBezTo>
                <a:cubicBezTo>
                  <a:pt x="1832" y="1113"/>
                  <a:pt x="1829" y="1110"/>
                  <a:pt x="1826" y="1109"/>
                </a:cubicBezTo>
                <a:cubicBezTo>
                  <a:pt x="1821" y="1113"/>
                  <a:pt x="1817" y="1114"/>
                  <a:pt x="1815" y="1114"/>
                </a:cubicBezTo>
                <a:cubicBezTo>
                  <a:pt x="1814" y="1113"/>
                  <a:pt x="1814" y="1113"/>
                  <a:pt x="1813" y="1113"/>
                </a:cubicBezTo>
                <a:cubicBezTo>
                  <a:pt x="1813" y="1111"/>
                  <a:pt x="1813" y="1109"/>
                  <a:pt x="1813" y="1108"/>
                </a:cubicBezTo>
                <a:lnTo>
                  <a:pt x="1812" y="1107"/>
                </a:lnTo>
                <a:cubicBezTo>
                  <a:pt x="1809" y="1111"/>
                  <a:pt x="1806" y="1114"/>
                  <a:pt x="1803" y="1115"/>
                </a:cubicBezTo>
                <a:cubicBezTo>
                  <a:pt x="1800" y="1116"/>
                  <a:pt x="1796" y="1116"/>
                  <a:pt x="1791" y="1115"/>
                </a:cubicBezTo>
                <a:cubicBezTo>
                  <a:pt x="1787" y="1113"/>
                  <a:pt x="1784" y="1112"/>
                  <a:pt x="1784" y="1112"/>
                </a:cubicBezTo>
                <a:cubicBezTo>
                  <a:pt x="1783" y="1114"/>
                  <a:pt x="1780" y="1116"/>
                  <a:pt x="1774" y="1119"/>
                </a:cubicBezTo>
                <a:cubicBezTo>
                  <a:pt x="1767" y="1119"/>
                  <a:pt x="1763" y="1120"/>
                  <a:pt x="1762" y="1122"/>
                </a:cubicBezTo>
                <a:cubicBezTo>
                  <a:pt x="1760" y="1124"/>
                  <a:pt x="1758" y="1129"/>
                  <a:pt x="1757" y="1136"/>
                </a:cubicBezTo>
                <a:cubicBezTo>
                  <a:pt x="1756" y="1140"/>
                  <a:pt x="1754" y="1141"/>
                  <a:pt x="1749" y="1141"/>
                </a:cubicBezTo>
                <a:cubicBezTo>
                  <a:pt x="1745" y="1140"/>
                  <a:pt x="1741" y="1138"/>
                  <a:pt x="1736" y="1135"/>
                </a:cubicBezTo>
                <a:cubicBezTo>
                  <a:pt x="1733" y="1132"/>
                  <a:pt x="1731" y="1130"/>
                  <a:pt x="1730" y="1130"/>
                </a:cubicBezTo>
                <a:cubicBezTo>
                  <a:pt x="1729" y="1130"/>
                  <a:pt x="1728" y="1134"/>
                  <a:pt x="1726" y="1140"/>
                </a:cubicBezTo>
                <a:cubicBezTo>
                  <a:pt x="1725" y="1148"/>
                  <a:pt x="1722" y="1153"/>
                  <a:pt x="1718" y="1157"/>
                </a:cubicBezTo>
                <a:cubicBezTo>
                  <a:pt x="1716" y="1159"/>
                  <a:pt x="1712" y="1161"/>
                  <a:pt x="1707" y="1162"/>
                </a:cubicBezTo>
                <a:cubicBezTo>
                  <a:pt x="1702" y="1164"/>
                  <a:pt x="1696" y="1164"/>
                  <a:pt x="1689" y="1163"/>
                </a:cubicBezTo>
                <a:cubicBezTo>
                  <a:pt x="1682" y="1162"/>
                  <a:pt x="1674" y="1157"/>
                  <a:pt x="1663" y="1150"/>
                </a:cubicBezTo>
                <a:cubicBezTo>
                  <a:pt x="1652" y="1142"/>
                  <a:pt x="1644" y="1136"/>
                  <a:pt x="1638" y="1130"/>
                </a:cubicBezTo>
                <a:cubicBezTo>
                  <a:pt x="1632" y="1124"/>
                  <a:pt x="1625" y="1119"/>
                  <a:pt x="1618" y="1114"/>
                </a:cubicBezTo>
                <a:cubicBezTo>
                  <a:pt x="1611" y="1108"/>
                  <a:pt x="1607" y="1102"/>
                  <a:pt x="1605" y="1095"/>
                </a:cubicBezTo>
                <a:cubicBezTo>
                  <a:pt x="1604" y="1095"/>
                  <a:pt x="1603" y="1095"/>
                  <a:pt x="1602" y="1096"/>
                </a:cubicBezTo>
                <a:lnTo>
                  <a:pt x="1602" y="1096"/>
                </a:lnTo>
                <a:cubicBezTo>
                  <a:pt x="1603" y="1099"/>
                  <a:pt x="1604" y="1103"/>
                  <a:pt x="1607" y="1106"/>
                </a:cubicBezTo>
                <a:cubicBezTo>
                  <a:pt x="1609" y="1108"/>
                  <a:pt x="1612" y="1112"/>
                  <a:pt x="1618" y="1117"/>
                </a:cubicBezTo>
                <a:cubicBezTo>
                  <a:pt x="1620" y="1120"/>
                  <a:pt x="1624" y="1122"/>
                  <a:pt x="1627" y="1126"/>
                </a:cubicBezTo>
                <a:cubicBezTo>
                  <a:pt x="1632" y="1129"/>
                  <a:pt x="1637" y="1134"/>
                  <a:pt x="1644" y="1140"/>
                </a:cubicBezTo>
                <a:cubicBezTo>
                  <a:pt x="1651" y="1147"/>
                  <a:pt x="1667" y="1156"/>
                  <a:pt x="1691" y="1170"/>
                </a:cubicBezTo>
                <a:cubicBezTo>
                  <a:pt x="1691" y="1171"/>
                  <a:pt x="1690" y="1172"/>
                  <a:pt x="1688" y="1174"/>
                </a:cubicBezTo>
                <a:cubicBezTo>
                  <a:pt x="1687" y="1177"/>
                  <a:pt x="1685" y="1178"/>
                  <a:pt x="1685" y="1178"/>
                </a:cubicBezTo>
                <a:cubicBezTo>
                  <a:pt x="1683" y="1176"/>
                  <a:pt x="1682" y="1176"/>
                  <a:pt x="1681" y="1176"/>
                </a:cubicBezTo>
                <a:cubicBezTo>
                  <a:pt x="1678" y="1176"/>
                  <a:pt x="1675" y="1175"/>
                  <a:pt x="1670" y="1173"/>
                </a:cubicBezTo>
                <a:cubicBezTo>
                  <a:pt x="1665" y="1172"/>
                  <a:pt x="1661" y="1170"/>
                  <a:pt x="1658" y="1170"/>
                </a:cubicBezTo>
                <a:cubicBezTo>
                  <a:pt x="1657" y="1170"/>
                  <a:pt x="1656" y="1170"/>
                  <a:pt x="1656" y="1171"/>
                </a:cubicBezTo>
                <a:cubicBezTo>
                  <a:pt x="1655" y="1172"/>
                  <a:pt x="1654" y="1172"/>
                  <a:pt x="1653" y="1172"/>
                </a:cubicBezTo>
                <a:cubicBezTo>
                  <a:pt x="1648" y="1171"/>
                  <a:pt x="1645" y="1171"/>
                  <a:pt x="1643" y="1171"/>
                </a:cubicBezTo>
                <a:cubicBezTo>
                  <a:pt x="1642" y="1170"/>
                  <a:pt x="1642" y="1170"/>
                  <a:pt x="1642" y="1170"/>
                </a:cubicBezTo>
                <a:cubicBezTo>
                  <a:pt x="1640" y="1169"/>
                  <a:pt x="1639" y="1168"/>
                  <a:pt x="1638" y="1167"/>
                </a:cubicBezTo>
                <a:cubicBezTo>
                  <a:pt x="1635" y="1165"/>
                  <a:pt x="1633" y="1163"/>
                  <a:pt x="1632" y="1162"/>
                </a:cubicBezTo>
                <a:cubicBezTo>
                  <a:pt x="1631" y="1161"/>
                  <a:pt x="1632" y="1159"/>
                  <a:pt x="1635" y="1157"/>
                </a:cubicBezTo>
                <a:cubicBezTo>
                  <a:pt x="1638" y="1155"/>
                  <a:pt x="1640" y="1153"/>
                  <a:pt x="1640" y="1152"/>
                </a:cubicBezTo>
                <a:cubicBezTo>
                  <a:pt x="1640" y="1147"/>
                  <a:pt x="1637" y="1140"/>
                  <a:pt x="1631" y="1133"/>
                </a:cubicBezTo>
                <a:cubicBezTo>
                  <a:pt x="1629" y="1131"/>
                  <a:pt x="1627" y="1129"/>
                  <a:pt x="1626" y="1128"/>
                </a:cubicBezTo>
                <a:cubicBezTo>
                  <a:pt x="1621" y="1123"/>
                  <a:pt x="1617" y="1121"/>
                  <a:pt x="1614" y="1121"/>
                </a:cubicBezTo>
                <a:cubicBezTo>
                  <a:pt x="1612" y="1121"/>
                  <a:pt x="1610" y="1121"/>
                  <a:pt x="1609" y="1122"/>
                </a:cubicBezTo>
                <a:cubicBezTo>
                  <a:pt x="1607" y="1122"/>
                  <a:pt x="1606" y="1121"/>
                  <a:pt x="1604" y="1119"/>
                </a:cubicBezTo>
                <a:cubicBezTo>
                  <a:pt x="1603" y="1118"/>
                  <a:pt x="1602" y="1116"/>
                  <a:pt x="1601" y="1116"/>
                </a:cubicBezTo>
                <a:cubicBezTo>
                  <a:pt x="1600" y="1114"/>
                  <a:pt x="1599" y="1113"/>
                  <a:pt x="1597" y="1113"/>
                </a:cubicBezTo>
                <a:lnTo>
                  <a:pt x="1597" y="1119"/>
                </a:lnTo>
                <a:cubicBezTo>
                  <a:pt x="1595" y="1117"/>
                  <a:pt x="1594" y="1117"/>
                  <a:pt x="1591" y="1118"/>
                </a:cubicBezTo>
                <a:cubicBezTo>
                  <a:pt x="1588" y="1120"/>
                  <a:pt x="1586" y="1120"/>
                  <a:pt x="1586" y="1120"/>
                </a:cubicBezTo>
                <a:lnTo>
                  <a:pt x="1586" y="1118"/>
                </a:lnTo>
                <a:cubicBezTo>
                  <a:pt x="1587" y="1115"/>
                  <a:pt x="1588" y="1113"/>
                  <a:pt x="1588" y="1111"/>
                </a:cubicBezTo>
                <a:cubicBezTo>
                  <a:pt x="1588" y="1110"/>
                  <a:pt x="1587" y="1108"/>
                  <a:pt x="1586" y="1107"/>
                </a:cubicBezTo>
                <a:cubicBezTo>
                  <a:pt x="1586" y="1106"/>
                  <a:pt x="1586" y="1106"/>
                  <a:pt x="1585" y="1105"/>
                </a:cubicBezTo>
                <a:cubicBezTo>
                  <a:pt x="1584" y="1104"/>
                  <a:pt x="1583" y="1104"/>
                  <a:pt x="1582" y="1104"/>
                </a:cubicBezTo>
                <a:cubicBezTo>
                  <a:pt x="1580" y="1103"/>
                  <a:pt x="1578" y="1104"/>
                  <a:pt x="1578" y="1105"/>
                </a:cubicBezTo>
                <a:cubicBezTo>
                  <a:pt x="1577" y="1108"/>
                  <a:pt x="1576" y="1109"/>
                  <a:pt x="1575" y="1110"/>
                </a:cubicBezTo>
                <a:cubicBezTo>
                  <a:pt x="1573" y="1110"/>
                  <a:pt x="1572" y="1110"/>
                  <a:pt x="1571" y="1109"/>
                </a:cubicBezTo>
                <a:lnTo>
                  <a:pt x="1572" y="1103"/>
                </a:lnTo>
                <a:cubicBezTo>
                  <a:pt x="1577" y="1100"/>
                  <a:pt x="1580" y="1096"/>
                  <a:pt x="1580" y="1092"/>
                </a:cubicBezTo>
                <a:cubicBezTo>
                  <a:pt x="1580" y="1091"/>
                  <a:pt x="1580" y="1090"/>
                  <a:pt x="1579" y="1089"/>
                </a:cubicBezTo>
                <a:cubicBezTo>
                  <a:pt x="1578" y="1090"/>
                  <a:pt x="1575" y="1092"/>
                  <a:pt x="1573" y="1094"/>
                </a:cubicBezTo>
                <a:cubicBezTo>
                  <a:pt x="1571" y="1097"/>
                  <a:pt x="1569" y="1099"/>
                  <a:pt x="1566" y="1103"/>
                </a:cubicBezTo>
                <a:cubicBezTo>
                  <a:pt x="1560" y="1111"/>
                  <a:pt x="1556" y="1116"/>
                  <a:pt x="1554" y="1118"/>
                </a:cubicBezTo>
                <a:lnTo>
                  <a:pt x="1552" y="1118"/>
                </a:lnTo>
                <a:lnTo>
                  <a:pt x="1552" y="1113"/>
                </a:lnTo>
                <a:cubicBezTo>
                  <a:pt x="1554" y="1112"/>
                  <a:pt x="1555" y="1110"/>
                  <a:pt x="1555" y="1106"/>
                </a:cubicBezTo>
                <a:cubicBezTo>
                  <a:pt x="1555" y="1103"/>
                  <a:pt x="1555" y="1101"/>
                  <a:pt x="1555" y="1100"/>
                </a:cubicBezTo>
                <a:cubicBezTo>
                  <a:pt x="1559" y="1098"/>
                  <a:pt x="1562" y="1096"/>
                  <a:pt x="1563" y="1095"/>
                </a:cubicBezTo>
                <a:cubicBezTo>
                  <a:pt x="1565" y="1094"/>
                  <a:pt x="1566" y="1091"/>
                  <a:pt x="1566" y="1088"/>
                </a:cubicBezTo>
                <a:cubicBezTo>
                  <a:pt x="1566" y="1086"/>
                  <a:pt x="1565" y="1085"/>
                  <a:pt x="1565" y="1083"/>
                </a:cubicBezTo>
                <a:cubicBezTo>
                  <a:pt x="1563" y="1085"/>
                  <a:pt x="1561" y="1086"/>
                  <a:pt x="1559" y="1089"/>
                </a:cubicBezTo>
                <a:cubicBezTo>
                  <a:pt x="1556" y="1092"/>
                  <a:pt x="1554" y="1094"/>
                  <a:pt x="1552" y="1095"/>
                </a:cubicBezTo>
                <a:cubicBezTo>
                  <a:pt x="1551" y="1095"/>
                  <a:pt x="1550" y="1095"/>
                  <a:pt x="1549" y="1095"/>
                </a:cubicBezTo>
                <a:cubicBezTo>
                  <a:pt x="1547" y="1096"/>
                  <a:pt x="1545" y="1097"/>
                  <a:pt x="1544" y="1099"/>
                </a:cubicBezTo>
                <a:cubicBezTo>
                  <a:pt x="1543" y="1101"/>
                  <a:pt x="1540" y="1102"/>
                  <a:pt x="1537" y="1101"/>
                </a:cubicBezTo>
                <a:cubicBezTo>
                  <a:pt x="1535" y="1101"/>
                  <a:pt x="1534" y="1099"/>
                  <a:pt x="1534" y="1099"/>
                </a:cubicBezTo>
                <a:cubicBezTo>
                  <a:pt x="1536" y="1092"/>
                  <a:pt x="1537" y="1089"/>
                  <a:pt x="1537" y="1089"/>
                </a:cubicBezTo>
                <a:cubicBezTo>
                  <a:pt x="1536" y="1088"/>
                  <a:pt x="1536" y="1087"/>
                  <a:pt x="1535" y="1086"/>
                </a:cubicBezTo>
                <a:cubicBezTo>
                  <a:pt x="1534" y="1085"/>
                  <a:pt x="1534" y="1085"/>
                  <a:pt x="1534" y="1085"/>
                </a:cubicBezTo>
                <a:cubicBezTo>
                  <a:pt x="1533" y="1084"/>
                  <a:pt x="1532" y="1083"/>
                  <a:pt x="1531" y="1083"/>
                </a:cubicBezTo>
                <a:cubicBezTo>
                  <a:pt x="1527" y="1082"/>
                  <a:pt x="1522" y="1081"/>
                  <a:pt x="1517" y="1081"/>
                </a:cubicBezTo>
                <a:cubicBezTo>
                  <a:pt x="1515" y="1081"/>
                  <a:pt x="1513" y="1082"/>
                  <a:pt x="1513" y="1085"/>
                </a:cubicBezTo>
                <a:cubicBezTo>
                  <a:pt x="1513" y="1086"/>
                  <a:pt x="1513" y="1087"/>
                  <a:pt x="1514" y="1089"/>
                </a:cubicBezTo>
                <a:cubicBezTo>
                  <a:pt x="1513" y="1091"/>
                  <a:pt x="1512" y="1095"/>
                  <a:pt x="1510" y="1100"/>
                </a:cubicBezTo>
                <a:lnTo>
                  <a:pt x="1507" y="1099"/>
                </a:lnTo>
                <a:cubicBezTo>
                  <a:pt x="1505" y="1098"/>
                  <a:pt x="1504" y="1097"/>
                  <a:pt x="1503" y="1097"/>
                </a:cubicBezTo>
                <a:cubicBezTo>
                  <a:pt x="1501" y="1095"/>
                  <a:pt x="1501" y="1094"/>
                  <a:pt x="1501" y="1092"/>
                </a:cubicBezTo>
                <a:cubicBezTo>
                  <a:pt x="1501" y="1092"/>
                  <a:pt x="1503" y="1089"/>
                  <a:pt x="1506" y="1084"/>
                </a:cubicBezTo>
                <a:lnTo>
                  <a:pt x="1505" y="1084"/>
                </a:lnTo>
                <a:cubicBezTo>
                  <a:pt x="1501" y="1083"/>
                  <a:pt x="1498" y="1082"/>
                  <a:pt x="1497" y="1082"/>
                </a:cubicBezTo>
                <a:cubicBezTo>
                  <a:pt x="1493" y="1083"/>
                  <a:pt x="1491" y="1083"/>
                  <a:pt x="1490" y="1083"/>
                </a:cubicBezTo>
                <a:cubicBezTo>
                  <a:pt x="1486" y="1082"/>
                  <a:pt x="1483" y="1081"/>
                  <a:pt x="1483" y="1081"/>
                </a:cubicBezTo>
                <a:cubicBezTo>
                  <a:pt x="1481" y="1081"/>
                  <a:pt x="1480" y="1082"/>
                  <a:pt x="1480" y="1083"/>
                </a:cubicBezTo>
                <a:cubicBezTo>
                  <a:pt x="1479" y="1085"/>
                  <a:pt x="1480" y="1086"/>
                  <a:pt x="1482" y="1088"/>
                </a:cubicBezTo>
                <a:lnTo>
                  <a:pt x="1482" y="1091"/>
                </a:lnTo>
                <a:cubicBezTo>
                  <a:pt x="1480" y="1089"/>
                  <a:pt x="1478" y="1088"/>
                  <a:pt x="1476" y="1088"/>
                </a:cubicBezTo>
                <a:cubicBezTo>
                  <a:pt x="1475" y="1087"/>
                  <a:pt x="1474" y="1088"/>
                  <a:pt x="1473" y="1090"/>
                </a:cubicBezTo>
                <a:cubicBezTo>
                  <a:pt x="1472" y="1091"/>
                  <a:pt x="1470" y="1092"/>
                  <a:pt x="1469" y="1091"/>
                </a:cubicBezTo>
                <a:cubicBezTo>
                  <a:pt x="1469" y="1089"/>
                  <a:pt x="1467" y="1085"/>
                  <a:pt x="1464" y="1081"/>
                </a:cubicBezTo>
                <a:cubicBezTo>
                  <a:pt x="1461" y="1076"/>
                  <a:pt x="1460" y="1073"/>
                  <a:pt x="1459" y="1071"/>
                </a:cubicBezTo>
                <a:cubicBezTo>
                  <a:pt x="1458" y="1071"/>
                  <a:pt x="1456" y="1072"/>
                  <a:pt x="1454" y="1074"/>
                </a:cubicBezTo>
                <a:cubicBezTo>
                  <a:pt x="1453" y="1075"/>
                  <a:pt x="1452" y="1076"/>
                  <a:pt x="1451" y="1076"/>
                </a:cubicBezTo>
                <a:cubicBezTo>
                  <a:pt x="1451" y="1076"/>
                  <a:pt x="1447" y="1072"/>
                  <a:pt x="1439" y="1064"/>
                </a:cubicBezTo>
                <a:cubicBezTo>
                  <a:pt x="1439" y="1063"/>
                  <a:pt x="1441" y="1062"/>
                  <a:pt x="1444" y="1060"/>
                </a:cubicBezTo>
                <a:cubicBezTo>
                  <a:pt x="1448" y="1058"/>
                  <a:pt x="1451" y="1058"/>
                  <a:pt x="1453" y="1058"/>
                </a:cubicBezTo>
                <a:cubicBezTo>
                  <a:pt x="1457" y="1058"/>
                  <a:pt x="1460" y="1058"/>
                  <a:pt x="1463" y="1057"/>
                </a:cubicBezTo>
                <a:cubicBezTo>
                  <a:pt x="1466" y="1055"/>
                  <a:pt x="1468" y="1055"/>
                  <a:pt x="1471" y="1055"/>
                </a:cubicBezTo>
                <a:cubicBezTo>
                  <a:pt x="1472" y="1055"/>
                  <a:pt x="1474" y="1057"/>
                  <a:pt x="1475" y="1060"/>
                </a:cubicBezTo>
                <a:cubicBezTo>
                  <a:pt x="1478" y="1063"/>
                  <a:pt x="1480" y="1065"/>
                  <a:pt x="1482" y="1065"/>
                </a:cubicBezTo>
                <a:cubicBezTo>
                  <a:pt x="1483" y="1065"/>
                  <a:pt x="1485" y="1065"/>
                  <a:pt x="1488" y="1064"/>
                </a:cubicBezTo>
                <a:cubicBezTo>
                  <a:pt x="1491" y="1063"/>
                  <a:pt x="1494" y="1063"/>
                  <a:pt x="1496" y="1063"/>
                </a:cubicBezTo>
                <a:lnTo>
                  <a:pt x="1496" y="1055"/>
                </a:lnTo>
                <a:cubicBezTo>
                  <a:pt x="1494" y="1048"/>
                  <a:pt x="1492" y="1044"/>
                  <a:pt x="1491" y="1044"/>
                </a:cubicBezTo>
                <a:lnTo>
                  <a:pt x="1492" y="1041"/>
                </a:lnTo>
                <a:cubicBezTo>
                  <a:pt x="1495" y="1042"/>
                  <a:pt x="1500" y="1045"/>
                  <a:pt x="1507" y="1048"/>
                </a:cubicBezTo>
                <a:cubicBezTo>
                  <a:pt x="1509" y="1049"/>
                  <a:pt x="1510" y="1051"/>
                  <a:pt x="1512" y="1055"/>
                </a:cubicBezTo>
                <a:cubicBezTo>
                  <a:pt x="1514" y="1059"/>
                  <a:pt x="1516" y="1061"/>
                  <a:pt x="1518" y="1061"/>
                </a:cubicBezTo>
                <a:lnTo>
                  <a:pt x="1518" y="1058"/>
                </a:lnTo>
                <a:cubicBezTo>
                  <a:pt x="1516" y="1054"/>
                  <a:pt x="1514" y="1053"/>
                  <a:pt x="1514" y="1052"/>
                </a:cubicBezTo>
                <a:cubicBezTo>
                  <a:pt x="1515" y="1050"/>
                  <a:pt x="1517" y="1049"/>
                  <a:pt x="1522" y="1050"/>
                </a:cubicBezTo>
                <a:cubicBezTo>
                  <a:pt x="1525" y="1050"/>
                  <a:pt x="1527" y="1051"/>
                  <a:pt x="1529" y="1052"/>
                </a:cubicBezTo>
                <a:cubicBezTo>
                  <a:pt x="1530" y="1053"/>
                  <a:pt x="1531" y="1054"/>
                  <a:pt x="1532" y="1054"/>
                </a:cubicBezTo>
                <a:cubicBezTo>
                  <a:pt x="1535" y="1054"/>
                  <a:pt x="1537" y="1054"/>
                  <a:pt x="1538" y="1052"/>
                </a:cubicBezTo>
                <a:cubicBezTo>
                  <a:pt x="1540" y="1050"/>
                  <a:pt x="1541" y="1049"/>
                  <a:pt x="1542" y="1049"/>
                </a:cubicBezTo>
                <a:cubicBezTo>
                  <a:pt x="1543" y="1049"/>
                  <a:pt x="1544" y="1050"/>
                  <a:pt x="1547" y="1051"/>
                </a:cubicBezTo>
                <a:cubicBezTo>
                  <a:pt x="1548" y="1051"/>
                  <a:pt x="1548" y="1051"/>
                  <a:pt x="1549" y="1051"/>
                </a:cubicBezTo>
                <a:cubicBezTo>
                  <a:pt x="1549" y="1051"/>
                  <a:pt x="1550" y="1050"/>
                  <a:pt x="1550" y="1049"/>
                </a:cubicBezTo>
                <a:cubicBezTo>
                  <a:pt x="1550" y="1049"/>
                  <a:pt x="1550" y="1049"/>
                  <a:pt x="1550" y="1049"/>
                </a:cubicBezTo>
                <a:cubicBezTo>
                  <a:pt x="1550" y="1047"/>
                  <a:pt x="1552" y="1045"/>
                  <a:pt x="1555" y="1043"/>
                </a:cubicBezTo>
                <a:cubicBezTo>
                  <a:pt x="1558" y="1041"/>
                  <a:pt x="1561" y="1041"/>
                  <a:pt x="1562" y="1041"/>
                </a:cubicBezTo>
                <a:cubicBezTo>
                  <a:pt x="1565" y="1041"/>
                  <a:pt x="1568" y="1043"/>
                  <a:pt x="1572" y="1048"/>
                </a:cubicBezTo>
                <a:cubicBezTo>
                  <a:pt x="1572" y="1046"/>
                  <a:pt x="1573" y="1045"/>
                  <a:pt x="1574" y="1044"/>
                </a:cubicBezTo>
                <a:cubicBezTo>
                  <a:pt x="1574" y="1043"/>
                  <a:pt x="1574" y="1043"/>
                  <a:pt x="1575" y="1043"/>
                </a:cubicBezTo>
                <a:lnTo>
                  <a:pt x="1575" y="1041"/>
                </a:lnTo>
                <a:cubicBezTo>
                  <a:pt x="1578" y="1037"/>
                  <a:pt x="1581" y="1032"/>
                  <a:pt x="1583" y="1027"/>
                </a:cubicBezTo>
                <a:cubicBezTo>
                  <a:pt x="1584" y="1025"/>
                  <a:pt x="1585" y="1023"/>
                  <a:pt x="1588" y="1023"/>
                </a:cubicBezTo>
                <a:cubicBezTo>
                  <a:pt x="1590" y="1022"/>
                  <a:pt x="1592" y="1022"/>
                  <a:pt x="1596" y="1021"/>
                </a:cubicBezTo>
                <a:cubicBezTo>
                  <a:pt x="1600" y="1020"/>
                  <a:pt x="1604" y="1015"/>
                  <a:pt x="1607" y="1006"/>
                </a:cubicBezTo>
                <a:cubicBezTo>
                  <a:pt x="1609" y="1000"/>
                  <a:pt x="1611" y="994"/>
                  <a:pt x="1611" y="990"/>
                </a:cubicBezTo>
                <a:cubicBezTo>
                  <a:pt x="1611" y="987"/>
                  <a:pt x="1610" y="983"/>
                  <a:pt x="1607" y="980"/>
                </a:cubicBezTo>
                <a:cubicBezTo>
                  <a:pt x="1603" y="977"/>
                  <a:pt x="1601" y="974"/>
                  <a:pt x="1602" y="973"/>
                </a:cubicBezTo>
                <a:cubicBezTo>
                  <a:pt x="1602" y="972"/>
                  <a:pt x="1602" y="971"/>
                  <a:pt x="1603" y="971"/>
                </a:cubicBezTo>
                <a:cubicBezTo>
                  <a:pt x="1604" y="971"/>
                  <a:pt x="1606" y="972"/>
                  <a:pt x="1607" y="974"/>
                </a:cubicBezTo>
                <a:cubicBezTo>
                  <a:pt x="1609" y="976"/>
                  <a:pt x="1611" y="977"/>
                  <a:pt x="1613" y="977"/>
                </a:cubicBezTo>
                <a:cubicBezTo>
                  <a:pt x="1619" y="978"/>
                  <a:pt x="1622" y="981"/>
                  <a:pt x="1621" y="985"/>
                </a:cubicBezTo>
                <a:cubicBezTo>
                  <a:pt x="1621" y="986"/>
                  <a:pt x="1621" y="988"/>
                  <a:pt x="1621" y="992"/>
                </a:cubicBezTo>
                <a:cubicBezTo>
                  <a:pt x="1622" y="992"/>
                  <a:pt x="1624" y="993"/>
                  <a:pt x="1626" y="992"/>
                </a:cubicBezTo>
                <a:cubicBezTo>
                  <a:pt x="1628" y="993"/>
                  <a:pt x="1629" y="993"/>
                  <a:pt x="1628" y="995"/>
                </a:cubicBezTo>
                <a:cubicBezTo>
                  <a:pt x="1628" y="997"/>
                  <a:pt x="1627" y="1001"/>
                  <a:pt x="1623" y="1009"/>
                </a:cubicBezTo>
                <a:cubicBezTo>
                  <a:pt x="1620" y="1017"/>
                  <a:pt x="1619" y="1021"/>
                  <a:pt x="1618" y="1023"/>
                </a:cubicBezTo>
                <a:cubicBezTo>
                  <a:pt x="1617" y="1030"/>
                  <a:pt x="1615" y="1034"/>
                  <a:pt x="1611" y="1035"/>
                </a:cubicBezTo>
                <a:cubicBezTo>
                  <a:pt x="1607" y="1036"/>
                  <a:pt x="1604" y="1037"/>
                  <a:pt x="1603" y="1038"/>
                </a:cubicBezTo>
                <a:cubicBezTo>
                  <a:pt x="1601" y="1039"/>
                  <a:pt x="1600" y="1040"/>
                  <a:pt x="1599" y="1043"/>
                </a:cubicBezTo>
                <a:cubicBezTo>
                  <a:pt x="1599" y="1045"/>
                  <a:pt x="1600" y="1046"/>
                  <a:pt x="1601" y="1048"/>
                </a:cubicBezTo>
                <a:cubicBezTo>
                  <a:pt x="1609" y="1047"/>
                  <a:pt x="1615" y="1042"/>
                  <a:pt x="1618" y="1035"/>
                </a:cubicBezTo>
                <a:cubicBezTo>
                  <a:pt x="1621" y="1025"/>
                  <a:pt x="1623" y="1018"/>
                  <a:pt x="1625" y="1013"/>
                </a:cubicBezTo>
                <a:cubicBezTo>
                  <a:pt x="1627" y="1004"/>
                  <a:pt x="1634" y="990"/>
                  <a:pt x="1645" y="972"/>
                </a:cubicBezTo>
                <a:cubicBezTo>
                  <a:pt x="1646" y="969"/>
                  <a:pt x="1649" y="966"/>
                  <a:pt x="1653" y="963"/>
                </a:cubicBezTo>
                <a:cubicBezTo>
                  <a:pt x="1657" y="959"/>
                  <a:pt x="1659" y="957"/>
                  <a:pt x="1660" y="956"/>
                </a:cubicBezTo>
                <a:cubicBezTo>
                  <a:pt x="1662" y="953"/>
                  <a:pt x="1663" y="950"/>
                  <a:pt x="1665" y="945"/>
                </a:cubicBezTo>
                <a:cubicBezTo>
                  <a:pt x="1666" y="940"/>
                  <a:pt x="1668" y="936"/>
                  <a:pt x="1669" y="934"/>
                </a:cubicBezTo>
                <a:cubicBezTo>
                  <a:pt x="1677" y="922"/>
                  <a:pt x="1690" y="915"/>
                  <a:pt x="1706" y="913"/>
                </a:cubicBezTo>
                <a:cubicBezTo>
                  <a:pt x="1707" y="913"/>
                  <a:pt x="1708" y="913"/>
                  <a:pt x="1711" y="912"/>
                </a:cubicBezTo>
                <a:cubicBezTo>
                  <a:pt x="1711" y="912"/>
                  <a:pt x="1713" y="912"/>
                  <a:pt x="1715" y="911"/>
                </a:cubicBezTo>
                <a:cubicBezTo>
                  <a:pt x="1718" y="911"/>
                  <a:pt x="1720" y="911"/>
                  <a:pt x="1722" y="911"/>
                </a:cubicBezTo>
                <a:cubicBezTo>
                  <a:pt x="1724" y="911"/>
                  <a:pt x="1726" y="912"/>
                  <a:pt x="1727" y="914"/>
                </a:cubicBezTo>
                <a:cubicBezTo>
                  <a:pt x="1729" y="916"/>
                  <a:pt x="1731" y="917"/>
                  <a:pt x="1732" y="917"/>
                </a:cubicBezTo>
                <a:cubicBezTo>
                  <a:pt x="1733" y="917"/>
                  <a:pt x="1734" y="915"/>
                  <a:pt x="1736" y="911"/>
                </a:cubicBezTo>
                <a:cubicBezTo>
                  <a:pt x="1737" y="907"/>
                  <a:pt x="1737" y="905"/>
                  <a:pt x="1738" y="903"/>
                </a:cubicBezTo>
                <a:cubicBezTo>
                  <a:pt x="1738" y="898"/>
                  <a:pt x="1741" y="895"/>
                  <a:pt x="1746" y="891"/>
                </a:cubicBezTo>
                <a:cubicBezTo>
                  <a:pt x="1762" y="882"/>
                  <a:pt x="1772" y="878"/>
                  <a:pt x="1776" y="878"/>
                </a:cubicBezTo>
                <a:cubicBezTo>
                  <a:pt x="1780" y="878"/>
                  <a:pt x="1782" y="881"/>
                  <a:pt x="1783" y="885"/>
                </a:cubicBezTo>
                <a:cubicBezTo>
                  <a:pt x="1785" y="891"/>
                  <a:pt x="1787" y="895"/>
                  <a:pt x="1788" y="897"/>
                </a:cubicBezTo>
                <a:cubicBezTo>
                  <a:pt x="1790" y="895"/>
                  <a:pt x="1791" y="893"/>
                  <a:pt x="1791" y="892"/>
                </a:cubicBezTo>
                <a:cubicBezTo>
                  <a:pt x="1789" y="886"/>
                  <a:pt x="1788" y="882"/>
                  <a:pt x="1789" y="880"/>
                </a:cubicBezTo>
                <a:cubicBezTo>
                  <a:pt x="1790" y="869"/>
                  <a:pt x="1795" y="859"/>
                  <a:pt x="1806" y="851"/>
                </a:cubicBezTo>
                <a:cubicBezTo>
                  <a:pt x="1806" y="851"/>
                  <a:pt x="1809" y="847"/>
                  <a:pt x="1816" y="839"/>
                </a:cubicBezTo>
                <a:cubicBezTo>
                  <a:pt x="1821" y="832"/>
                  <a:pt x="1825" y="829"/>
                  <a:pt x="1827" y="829"/>
                </a:cubicBezTo>
                <a:cubicBezTo>
                  <a:pt x="1828" y="829"/>
                  <a:pt x="1829" y="829"/>
                  <a:pt x="1829" y="830"/>
                </a:cubicBezTo>
                <a:cubicBezTo>
                  <a:pt x="1828" y="831"/>
                  <a:pt x="1828" y="832"/>
                  <a:pt x="1827" y="833"/>
                </a:cubicBezTo>
                <a:cubicBezTo>
                  <a:pt x="1828" y="833"/>
                  <a:pt x="1828" y="834"/>
                  <a:pt x="1829" y="834"/>
                </a:cubicBezTo>
                <a:lnTo>
                  <a:pt x="1839" y="835"/>
                </a:lnTo>
                <a:cubicBezTo>
                  <a:pt x="1843" y="822"/>
                  <a:pt x="1846" y="814"/>
                  <a:pt x="1849" y="808"/>
                </a:cubicBezTo>
                <a:cubicBezTo>
                  <a:pt x="1854" y="799"/>
                  <a:pt x="1860" y="794"/>
                  <a:pt x="1867" y="793"/>
                </a:cubicBezTo>
                <a:cubicBezTo>
                  <a:pt x="1873" y="793"/>
                  <a:pt x="1881" y="789"/>
                  <a:pt x="1891" y="783"/>
                </a:cubicBezTo>
                <a:cubicBezTo>
                  <a:pt x="1906" y="778"/>
                  <a:pt x="1914" y="775"/>
                  <a:pt x="1915" y="775"/>
                </a:cubicBezTo>
                <a:cubicBezTo>
                  <a:pt x="1918" y="775"/>
                  <a:pt x="1920" y="776"/>
                  <a:pt x="1921" y="777"/>
                </a:cubicBezTo>
                <a:cubicBezTo>
                  <a:pt x="1922" y="778"/>
                  <a:pt x="1923" y="779"/>
                  <a:pt x="1924" y="781"/>
                </a:cubicBezTo>
                <a:lnTo>
                  <a:pt x="1925" y="780"/>
                </a:lnTo>
                <a:cubicBezTo>
                  <a:pt x="1925" y="775"/>
                  <a:pt x="1928" y="771"/>
                  <a:pt x="1932" y="767"/>
                </a:cubicBezTo>
                <a:cubicBezTo>
                  <a:pt x="1932" y="767"/>
                  <a:pt x="1932" y="767"/>
                  <a:pt x="1932" y="766"/>
                </a:cubicBezTo>
                <a:cubicBezTo>
                  <a:pt x="1928" y="759"/>
                  <a:pt x="1926" y="754"/>
                  <a:pt x="1926" y="752"/>
                </a:cubicBezTo>
                <a:cubicBezTo>
                  <a:pt x="1926" y="749"/>
                  <a:pt x="1928" y="746"/>
                  <a:pt x="1930" y="742"/>
                </a:cubicBezTo>
                <a:cubicBezTo>
                  <a:pt x="1932" y="740"/>
                  <a:pt x="1934" y="737"/>
                  <a:pt x="1938" y="732"/>
                </a:cubicBezTo>
                <a:cubicBezTo>
                  <a:pt x="1929" y="731"/>
                  <a:pt x="1923" y="731"/>
                  <a:pt x="1920" y="731"/>
                </a:cubicBezTo>
                <a:lnTo>
                  <a:pt x="1921" y="721"/>
                </a:lnTo>
                <a:cubicBezTo>
                  <a:pt x="1923" y="719"/>
                  <a:pt x="1924" y="718"/>
                  <a:pt x="1924" y="716"/>
                </a:cubicBezTo>
                <a:cubicBezTo>
                  <a:pt x="1923" y="712"/>
                  <a:pt x="1921" y="706"/>
                  <a:pt x="1920" y="702"/>
                </a:cubicBezTo>
                <a:cubicBezTo>
                  <a:pt x="1918" y="692"/>
                  <a:pt x="1917" y="686"/>
                  <a:pt x="1917" y="684"/>
                </a:cubicBezTo>
                <a:cubicBezTo>
                  <a:pt x="1918" y="676"/>
                  <a:pt x="1921" y="672"/>
                  <a:pt x="1926" y="671"/>
                </a:cubicBezTo>
                <a:cubicBezTo>
                  <a:pt x="1928" y="670"/>
                  <a:pt x="1931" y="670"/>
                  <a:pt x="1936" y="670"/>
                </a:cubicBezTo>
                <a:cubicBezTo>
                  <a:pt x="1941" y="669"/>
                  <a:pt x="1945" y="668"/>
                  <a:pt x="1949" y="666"/>
                </a:cubicBezTo>
                <a:cubicBezTo>
                  <a:pt x="1949" y="664"/>
                  <a:pt x="1948" y="663"/>
                  <a:pt x="1949" y="660"/>
                </a:cubicBezTo>
                <a:cubicBezTo>
                  <a:pt x="1949" y="658"/>
                  <a:pt x="1952" y="655"/>
                  <a:pt x="1958" y="653"/>
                </a:cubicBezTo>
                <a:cubicBezTo>
                  <a:pt x="1963" y="650"/>
                  <a:pt x="1966" y="648"/>
                  <a:pt x="1967" y="646"/>
                </a:cubicBezTo>
                <a:cubicBezTo>
                  <a:pt x="1965" y="635"/>
                  <a:pt x="1965" y="629"/>
                  <a:pt x="1965" y="626"/>
                </a:cubicBezTo>
                <a:cubicBezTo>
                  <a:pt x="1965" y="625"/>
                  <a:pt x="1965" y="624"/>
                  <a:pt x="1964" y="623"/>
                </a:cubicBezTo>
                <a:cubicBezTo>
                  <a:pt x="1964" y="622"/>
                  <a:pt x="1963" y="621"/>
                  <a:pt x="1963" y="620"/>
                </a:cubicBezTo>
                <a:cubicBezTo>
                  <a:pt x="1964" y="618"/>
                  <a:pt x="1968" y="615"/>
                  <a:pt x="1977" y="612"/>
                </a:cubicBezTo>
                <a:cubicBezTo>
                  <a:pt x="1986" y="609"/>
                  <a:pt x="1992" y="608"/>
                  <a:pt x="1995" y="608"/>
                </a:cubicBezTo>
                <a:cubicBezTo>
                  <a:pt x="1996" y="609"/>
                  <a:pt x="2008" y="609"/>
                  <a:pt x="2008" y="609"/>
                </a:cubicBezTo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Freeform 199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47 w 1428"/>
              <a:gd name="T3" fmla="*/ 549 h 1189"/>
              <a:gd name="T4" fmla="*/ 64 w 1428"/>
              <a:gd name="T5" fmla="*/ 619 h 1189"/>
              <a:gd name="T6" fmla="*/ 415 w 1428"/>
              <a:gd name="T7" fmla="*/ 1113 h 1189"/>
              <a:gd name="T8" fmla="*/ 331 w 1428"/>
              <a:gd name="T9" fmla="*/ 1146 h 1189"/>
              <a:gd name="T10" fmla="*/ 376 w 1428"/>
              <a:gd name="T11" fmla="*/ 1119 h 1189"/>
              <a:gd name="T12" fmla="*/ 400 w 1428"/>
              <a:gd name="T13" fmla="*/ 1162 h 1189"/>
              <a:gd name="T14" fmla="*/ 1341 w 1428"/>
              <a:gd name="T15" fmla="*/ 56 h 1189"/>
              <a:gd name="T16" fmla="*/ 1248 w 1428"/>
              <a:gd name="T17" fmla="*/ 8 h 1189"/>
              <a:gd name="T18" fmla="*/ 954 w 1428"/>
              <a:gd name="T19" fmla="*/ 83 h 1189"/>
              <a:gd name="T20" fmla="*/ 806 w 1428"/>
              <a:gd name="T21" fmla="*/ 203 h 1189"/>
              <a:gd name="T22" fmla="*/ 614 w 1428"/>
              <a:gd name="T23" fmla="*/ 281 h 1189"/>
              <a:gd name="T24" fmla="*/ 449 w 1428"/>
              <a:gd name="T25" fmla="*/ 319 h 1189"/>
              <a:gd name="T26" fmla="*/ 505 w 1428"/>
              <a:gd name="T27" fmla="*/ 373 h 1189"/>
              <a:gd name="T28" fmla="*/ 555 w 1428"/>
              <a:gd name="T29" fmla="*/ 371 h 1189"/>
              <a:gd name="T30" fmla="*/ 430 w 1428"/>
              <a:gd name="T31" fmla="*/ 422 h 1189"/>
              <a:gd name="T32" fmla="*/ 456 w 1428"/>
              <a:gd name="T33" fmla="*/ 454 h 1189"/>
              <a:gd name="T34" fmla="*/ 310 w 1428"/>
              <a:gd name="T35" fmla="*/ 466 h 1189"/>
              <a:gd name="T36" fmla="*/ 254 w 1428"/>
              <a:gd name="T37" fmla="*/ 495 h 1189"/>
              <a:gd name="T38" fmla="*/ 147 w 1428"/>
              <a:gd name="T39" fmla="*/ 493 h 1189"/>
              <a:gd name="T40" fmla="*/ 87 w 1428"/>
              <a:gd name="T41" fmla="*/ 574 h 1189"/>
              <a:gd name="T42" fmla="*/ 86 w 1428"/>
              <a:gd name="T43" fmla="*/ 676 h 1189"/>
              <a:gd name="T44" fmla="*/ 185 w 1428"/>
              <a:gd name="T45" fmla="*/ 636 h 1189"/>
              <a:gd name="T46" fmla="*/ 169 w 1428"/>
              <a:gd name="T47" fmla="*/ 688 h 1189"/>
              <a:gd name="T48" fmla="*/ 194 w 1428"/>
              <a:gd name="T49" fmla="*/ 753 h 1189"/>
              <a:gd name="T50" fmla="*/ 192 w 1428"/>
              <a:gd name="T51" fmla="*/ 806 h 1189"/>
              <a:gd name="T52" fmla="*/ 193 w 1428"/>
              <a:gd name="T53" fmla="*/ 847 h 1189"/>
              <a:gd name="T54" fmla="*/ 162 w 1428"/>
              <a:gd name="T55" fmla="*/ 822 h 1189"/>
              <a:gd name="T56" fmla="*/ 135 w 1428"/>
              <a:gd name="T57" fmla="*/ 869 h 1189"/>
              <a:gd name="T58" fmla="*/ 184 w 1428"/>
              <a:gd name="T59" fmla="*/ 900 h 1189"/>
              <a:gd name="T60" fmla="*/ 248 w 1428"/>
              <a:gd name="T61" fmla="*/ 911 h 1189"/>
              <a:gd name="T62" fmla="*/ 278 w 1428"/>
              <a:gd name="T63" fmla="*/ 940 h 1189"/>
              <a:gd name="T64" fmla="*/ 278 w 1428"/>
              <a:gd name="T65" fmla="*/ 985 h 1189"/>
              <a:gd name="T66" fmla="*/ 323 w 1428"/>
              <a:gd name="T67" fmla="*/ 1028 h 1189"/>
              <a:gd name="T68" fmla="*/ 341 w 1428"/>
              <a:gd name="T69" fmla="*/ 1057 h 1189"/>
              <a:gd name="T70" fmla="*/ 313 w 1428"/>
              <a:gd name="T71" fmla="*/ 1088 h 1189"/>
              <a:gd name="T72" fmla="*/ 436 w 1428"/>
              <a:gd name="T73" fmla="*/ 1079 h 1189"/>
              <a:gd name="T74" fmla="*/ 426 w 1428"/>
              <a:gd name="T75" fmla="*/ 1122 h 1189"/>
              <a:gd name="T76" fmla="*/ 446 w 1428"/>
              <a:gd name="T77" fmla="*/ 1123 h 1189"/>
              <a:gd name="T78" fmla="*/ 490 w 1428"/>
              <a:gd name="T79" fmla="*/ 1095 h 1189"/>
              <a:gd name="T80" fmla="*/ 544 w 1428"/>
              <a:gd name="T81" fmla="*/ 1113 h 1189"/>
              <a:gd name="T82" fmla="*/ 583 w 1428"/>
              <a:gd name="T83" fmla="*/ 1138 h 1189"/>
              <a:gd name="T84" fmla="*/ 642 w 1428"/>
              <a:gd name="T85" fmla="*/ 1179 h 1189"/>
              <a:gd name="T86" fmla="*/ 714 w 1428"/>
              <a:gd name="T87" fmla="*/ 1169 h 1189"/>
              <a:gd name="T88" fmla="*/ 785 w 1428"/>
              <a:gd name="T89" fmla="*/ 1131 h 1189"/>
              <a:gd name="T90" fmla="*/ 792 w 1428"/>
              <a:gd name="T91" fmla="*/ 1046 h 1189"/>
              <a:gd name="T92" fmla="*/ 955 w 1428"/>
              <a:gd name="T93" fmla="*/ 1054 h 1189"/>
              <a:gd name="T94" fmla="*/ 1161 w 1428"/>
              <a:gd name="T95" fmla="*/ 1116 h 1189"/>
              <a:gd name="T96" fmla="*/ 1272 w 1428"/>
              <a:gd name="T97" fmla="*/ 1061 h 1189"/>
              <a:gd name="T98" fmla="*/ 1340 w 1428"/>
              <a:gd name="T99" fmla="*/ 970 h 1189"/>
              <a:gd name="T100" fmla="*/ 91 w 1428"/>
              <a:gd name="T101" fmla="*/ 554 h 1189"/>
              <a:gd name="T102" fmla="*/ 167 w 1428"/>
              <a:gd name="T103" fmla="*/ 465 h 1189"/>
              <a:gd name="T104" fmla="*/ 286 w 1428"/>
              <a:gd name="T105" fmla="*/ 369 h 1189"/>
              <a:gd name="T106" fmla="*/ 403 w 1428"/>
              <a:gd name="T107" fmla="*/ 354 h 1189"/>
              <a:gd name="T108" fmla="*/ 323 w 1428"/>
              <a:gd name="T109" fmla="*/ 264 h 1189"/>
              <a:gd name="T110" fmla="*/ 252 w 1428"/>
              <a:gd name="T111" fmla="*/ 194 h 1189"/>
              <a:gd name="T112" fmla="*/ 126 w 1428"/>
              <a:gd name="T113" fmla="*/ 208 h 1189"/>
              <a:gd name="T114" fmla="*/ 104 w 1428"/>
              <a:gd name="T115" fmla="*/ 297 h 1189"/>
              <a:gd name="T116" fmla="*/ 82 w 1428"/>
              <a:gd name="T117" fmla="*/ 386 h 1189"/>
              <a:gd name="T118" fmla="*/ 52 w 1428"/>
              <a:gd name="T119" fmla="*/ 459 h 1189"/>
              <a:gd name="T120" fmla="*/ 95 w 1428"/>
              <a:gd name="T121" fmla="*/ 502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Freeform 200"/>
          <p:cNvSpPr>
            <a:spLocks noEditPoints="1"/>
          </p:cNvSpPr>
          <p:nvPr/>
        </p:nvSpPr>
        <p:spPr bwMode="auto">
          <a:xfrm>
            <a:off x="10689303" y="5247691"/>
            <a:ext cx="1493571" cy="1243769"/>
          </a:xfrm>
          <a:custGeom>
            <a:avLst/>
            <a:gdLst>
              <a:gd name="T0" fmla="*/ 40 w 1428"/>
              <a:gd name="T1" fmla="*/ 538 h 1189"/>
              <a:gd name="T2" fmla="*/ 39 w 1428"/>
              <a:gd name="T3" fmla="*/ 558 h 1189"/>
              <a:gd name="T4" fmla="*/ 53 w 1428"/>
              <a:gd name="T5" fmla="*/ 606 h 1189"/>
              <a:gd name="T6" fmla="*/ 381 w 1428"/>
              <a:gd name="T7" fmla="*/ 1120 h 1189"/>
              <a:gd name="T8" fmla="*/ 362 w 1428"/>
              <a:gd name="T9" fmla="*/ 1119 h 1189"/>
              <a:gd name="T10" fmla="*/ 368 w 1428"/>
              <a:gd name="T11" fmla="*/ 1137 h 1189"/>
              <a:gd name="T12" fmla="*/ 403 w 1428"/>
              <a:gd name="T13" fmla="*/ 1144 h 1189"/>
              <a:gd name="T14" fmla="*/ 1428 w 1428"/>
              <a:gd name="T15" fmla="*/ 75 h 1189"/>
              <a:gd name="T16" fmla="*/ 1276 w 1428"/>
              <a:gd name="T17" fmla="*/ 48 h 1189"/>
              <a:gd name="T18" fmla="*/ 1148 w 1428"/>
              <a:gd name="T19" fmla="*/ 38 h 1189"/>
              <a:gd name="T20" fmla="*/ 883 w 1428"/>
              <a:gd name="T21" fmla="*/ 130 h 1189"/>
              <a:gd name="T22" fmla="*/ 775 w 1428"/>
              <a:gd name="T23" fmla="*/ 240 h 1189"/>
              <a:gd name="T24" fmla="*/ 533 w 1428"/>
              <a:gd name="T25" fmla="*/ 293 h 1189"/>
              <a:gd name="T26" fmla="*/ 451 w 1428"/>
              <a:gd name="T27" fmla="*/ 350 h 1189"/>
              <a:gd name="T28" fmla="*/ 551 w 1428"/>
              <a:gd name="T29" fmla="*/ 360 h 1189"/>
              <a:gd name="T30" fmla="*/ 499 w 1428"/>
              <a:gd name="T31" fmla="*/ 387 h 1189"/>
              <a:gd name="T32" fmla="*/ 451 w 1428"/>
              <a:gd name="T33" fmla="*/ 438 h 1189"/>
              <a:gd name="T34" fmla="*/ 406 w 1428"/>
              <a:gd name="T35" fmla="*/ 463 h 1189"/>
              <a:gd name="T36" fmla="*/ 312 w 1428"/>
              <a:gd name="T37" fmla="*/ 450 h 1189"/>
              <a:gd name="T38" fmla="*/ 214 w 1428"/>
              <a:gd name="T39" fmla="*/ 474 h 1189"/>
              <a:gd name="T40" fmla="*/ 119 w 1428"/>
              <a:gd name="T41" fmla="*/ 527 h 1189"/>
              <a:gd name="T42" fmla="*/ 78 w 1428"/>
              <a:gd name="T43" fmla="*/ 626 h 1189"/>
              <a:gd name="T44" fmla="*/ 137 w 1428"/>
              <a:gd name="T45" fmla="*/ 652 h 1189"/>
              <a:gd name="T46" fmla="*/ 187 w 1428"/>
              <a:gd name="T47" fmla="*/ 656 h 1189"/>
              <a:gd name="T48" fmla="*/ 184 w 1428"/>
              <a:gd name="T49" fmla="*/ 715 h 1189"/>
              <a:gd name="T50" fmla="*/ 224 w 1428"/>
              <a:gd name="T51" fmla="*/ 759 h 1189"/>
              <a:gd name="T52" fmla="*/ 240 w 1428"/>
              <a:gd name="T53" fmla="*/ 836 h 1189"/>
              <a:gd name="T54" fmla="*/ 190 w 1428"/>
              <a:gd name="T55" fmla="*/ 867 h 1189"/>
              <a:gd name="T56" fmla="*/ 142 w 1428"/>
              <a:gd name="T57" fmla="*/ 840 h 1189"/>
              <a:gd name="T58" fmla="*/ 138 w 1428"/>
              <a:gd name="T59" fmla="*/ 891 h 1189"/>
              <a:gd name="T60" fmla="*/ 203 w 1428"/>
              <a:gd name="T61" fmla="*/ 889 h 1189"/>
              <a:gd name="T62" fmla="*/ 277 w 1428"/>
              <a:gd name="T63" fmla="*/ 918 h 1189"/>
              <a:gd name="T64" fmla="*/ 257 w 1428"/>
              <a:gd name="T65" fmla="*/ 971 h 1189"/>
              <a:gd name="T66" fmla="*/ 283 w 1428"/>
              <a:gd name="T67" fmla="*/ 1024 h 1189"/>
              <a:gd name="T68" fmla="*/ 338 w 1428"/>
              <a:gd name="T69" fmla="*/ 1037 h 1189"/>
              <a:gd name="T70" fmla="*/ 319 w 1428"/>
              <a:gd name="T71" fmla="*/ 1062 h 1189"/>
              <a:gd name="T72" fmla="*/ 389 w 1428"/>
              <a:gd name="T73" fmla="*/ 1073 h 1189"/>
              <a:gd name="T74" fmla="*/ 420 w 1428"/>
              <a:gd name="T75" fmla="*/ 1101 h 1189"/>
              <a:gd name="T76" fmla="*/ 427 w 1428"/>
              <a:gd name="T77" fmla="*/ 1136 h 1189"/>
              <a:gd name="T78" fmla="*/ 451 w 1428"/>
              <a:gd name="T79" fmla="*/ 1104 h 1189"/>
              <a:gd name="T80" fmla="*/ 512 w 1428"/>
              <a:gd name="T81" fmla="*/ 1112 h 1189"/>
              <a:gd name="T82" fmla="*/ 573 w 1428"/>
              <a:gd name="T83" fmla="*/ 1113 h 1189"/>
              <a:gd name="T84" fmla="*/ 584 w 1428"/>
              <a:gd name="T85" fmla="*/ 1158 h 1189"/>
              <a:gd name="T86" fmla="*/ 666 w 1428"/>
              <a:gd name="T87" fmla="*/ 1185 h 1189"/>
              <a:gd name="T88" fmla="*/ 757 w 1428"/>
              <a:gd name="T89" fmla="*/ 1147 h 1189"/>
              <a:gd name="T90" fmla="*/ 791 w 1428"/>
              <a:gd name="T91" fmla="*/ 1089 h 1189"/>
              <a:gd name="T92" fmla="*/ 859 w 1428"/>
              <a:gd name="T93" fmla="*/ 1032 h 1189"/>
              <a:gd name="T94" fmla="*/ 1009 w 1428"/>
              <a:gd name="T95" fmla="*/ 1068 h 1189"/>
              <a:gd name="T96" fmla="*/ 1221 w 1428"/>
              <a:gd name="T97" fmla="*/ 1093 h 1189"/>
              <a:gd name="T98" fmla="*/ 1302 w 1428"/>
              <a:gd name="T99" fmla="*/ 1031 h 1189"/>
              <a:gd name="T100" fmla="*/ 1405 w 1428"/>
              <a:gd name="T101" fmla="*/ 945 h 1189"/>
              <a:gd name="T102" fmla="*/ 101 w 1428"/>
              <a:gd name="T103" fmla="*/ 535 h 1189"/>
              <a:gd name="T104" fmla="*/ 193 w 1428"/>
              <a:gd name="T105" fmla="*/ 446 h 1189"/>
              <a:gd name="T106" fmla="*/ 360 w 1428"/>
              <a:gd name="T107" fmla="*/ 349 h 1189"/>
              <a:gd name="T108" fmla="*/ 443 w 1428"/>
              <a:gd name="T109" fmla="*/ 313 h 1189"/>
              <a:gd name="T110" fmla="*/ 282 w 1428"/>
              <a:gd name="T111" fmla="*/ 210 h 1189"/>
              <a:gd name="T112" fmla="*/ 197 w 1428"/>
              <a:gd name="T113" fmla="*/ 193 h 1189"/>
              <a:gd name="T114" fmla="*/ 60 w 1428"/>
              <a:gd name="T115" fmla="*/ 267 h 1189"/>
              <a:gd name="T116" fmla="*/ 92 w 1428"/>
              <a:gd name="T117" fmla="*/ 335 h 1189"/>
              <a:gd name="T118" fmla="*/ 68 w 1428"/>
              <a:gd name="T119" fmla="*/ 415 h 1189"/>
              <a:gd name="T120" fmla="*/ 126 w 1428"/>
              <a:gd name="T121" fmla="*/ 455 h 1189"/>
              <a:gd name="T122" fmla="*/ 81 w 1428"/>
              <a:gd name="T123" fmla="*/ 547 h 1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28" h="1189">
                <a:moveTo>
                  <a:pt x="268" y="426"/>
                </a:moveTo>
                <a:lnTo>
                  <a:pt x="268" y="426"/>
                </a:lnTo>
                <a:cubicBezTo>
                  <a:pt x="254" y="425"/>
                  <a:pt x="247" y="429"/>
                  <a:pt x="246" y="438"/>
                </a:cubicBezTo>
                <a:cubicBezTo>
                  <a:pt x="246" y="440"/>
                  <a:pt x="247" y="442"/>
                  <a:pt x="250" y="445"/>
                </a:cubicBezTo>
                <a:cubicBezTo>
                  <a:pt x="253" y="447"/>
                  <a:pt x="255" y="448"/>
                  <a:pt x="257" y="448"/>
                </a:cubicBezTo>
                <a:cubicBezTo>
                  <a:pt x="259" y="449"/>
                  <a:pt x="265" y="443"/>
                  <a:pt x="276" y="431"/>
                </a:cubicBezTo>
                <a:cubicBezTo>
                  <a:pt x="276" y="430"/>
                  <a:pt x="276" y="429"/>
                  <a:pt x="277" y="428"/>
                </a:cubicBezTo>
                <a:cubicBezTo>
                  <a:pt x="272" y="427"/>
                  <a:pt x="269" y="427"/>
                  <a:pt x="268" y="426"/>
                </a:cubicBezTo>
                <a:lnTo>
                  <a:pt x="268" y="426"/>
                </a:lnTo>
                <a:close/>
                <a:moveTo>
                  <a:pt x="40" y="538"/>
                </a:moveTo>
                <a:lnTo>
                  <a:pt x="40" y="538"/>
                </a:lnTo>
                <a:cubicBezTo>
                  <a:pt x="40" y="538"/>
                  <a:pt x="39" y="538"/>
                  <a:pt x="39" y="538"/>
                </a:cubicBezTo>
                <a:cubicBezTo>
                  <a:pt x="38" y="538"/>
                  <a:pt x="36" y="538"/>
                  <a:pt x="35" y="538"/>
                </a:cubicBezTo>
                <a:cubicBezTo>
                  <a:pt x="29" y="540"/>
                  <a:pt x="23" y="541"/>
                  <a:pt x="18" y="543"/>
                </a:cubicBezTo>
                <a:cubicBezTo>
                  <a:pt x="8" y="547"/>
                  <a:pt x="2" y="552"/>
                  <a:pt x="1" y="560"/>
                </a:cubicBezTo>
                <a:cubicBezTo>
                  <a:pt x="0" y="563"/>
                  <a:pt x="5" y="565"/>
                  <a:pt x="14" y="566"/>
                </a:cubicBezTo>
                <a:cubicBezTo>
                  <a:pt x="17" y="566"/>
                  <a:pt x="19" y="566"/>
                  <a:pt x="20" y="565"/>
                </a:cubicBezTo>
                <a:cubicBezTo>
                  <a:pt x="21" y="564"/>
                  <a:pt x="23" y="563"/>
                  <a:pt x="25" y="563"/>
                </a:cubicBezTo>
                <a:cubicBezTo>
                  <a:pt x="26" y="563"/>
                  <a:pt x="27" y="564"/>
                  <a:pt x="29" y="565"/>
                </a:cubicBezTo>
                <a:cubicBezTo>
                  <a:pt x="31" y="565"/>
                  <a:pt x="34" y="563"/>
                  <a:pt x="39" y="558"/>
                </a:cubicBezTo>
                <a:cubicBezTo>
                  <a:pt x="44" y="553"/>
                  <a:pt x="46" y="550"/>
                  <a:pt x="47" y="549"/>
                </a:cubicBezTo>
                <a:cubicBezTo>
                  <a:pt x="47" y="547"/>
                  <a:pt x="46" y="545"/>
                  <a:pt x="44" y="542"/>
                </a:cubicBezTo>
                <a:cubicBezTo>
                  <a:pt x="42" y="540"/>
                  <a:pt x="41" y="539"/>
                  <a:pt x="40" y="538"/>
                </a:cubicBezTo>
                <a:lnTo>
                  <a:pt x="40" y="538"/>
                </a:lnTo>
                <a:close/>
                <a:moveTo>
                  <a:pt x="67" y="612"/>
                </a:moveTo>
                <a:lnTo>
                  <a:pt x="67" y="612"/>
                </a:lnTo>
                <a:cubicBezTo>
                  <a:pt x="66" y="611"/>
                  <a:pt x="65" y="610"/>
                  <a:pt x="63" y="609"/>
                </a:cubicBezTo>
                <a:cubicBezTo>
                  <a:pt x="60" y="607"/>
                  <a:pt x="58" y="606"/>
                  <a:pt x="57" y="605"/>
                </a:cubicBezTo>
                <a:lnTo>
                  <a:pt x="54" y="605"/>
                </a:lnTo>
                <a:cubicBezTo>
                  <a:pt x="53" y="605"/>
                  <a:pt x="53" y="606"/>
                  <a:pt x="53" y="606"/>
                </a:cubicBezTo>
                <a:cubicBezTo>
                  <a:pt x="53" y="608"/>
                  <a:pt x="54" y="611"/>
                  <a:pt x="57" y="614"/>
                </a:cubicBezTo>
                <a:cubicBezTo>
                  <a:pt x="60" y="617"/>
                  <a:pt x="62" y="619"/>
                  <a:pt x="64" y="619"/>
                </a:cubicBezTo>
                <a:cubicBezTo>
                  <a:pt x="66" y="620"/>
                  <a:pt x="68" y="618"/>
                  <a:pt x="68" y="616"/>
                </a:cubicBezTo>
                <a:cubicBezTo>
                  <a:pt x="68" y="615"/>
                  <a:pt x="68" y="615"/>
                  <a:pt x="68" y="614"/>
                </a:cubicBezTo>
                <a:cubicBezTo>
                  <a:pt x="67" y="614"/>
                  <a:pt x="68" y="613"/>
                  <a:pt x="67" y="612"/>
                </a:cubicBezTo>
                <a:lnTo>
                  <a:pt x="67" y="612"/>
                </a:lnTo>
                <a:close/>
                <a:moveTo>
                  <a:pt x="410" y="1108"/>
                </a:moveTo>
                <a:lnTo>
                  <a:pt x="410" y="1108"/>
                </a:lnTo>
                <a:cubicBezTo>
                  <a:pt x="397" y="1108"/>
                  <a:pt x="388" y="1111"/>
                  <a:pt x="382" y="1118"/>
                </a:cubicBezTo>
                <a:lnTo>
                  <a:pt x="381" y="1120"/>
                </a:lnTo>
                <a:cubicBezTo>
                  <a:pt x="387" y="1121"/>
                  <a:pt x="390" y="1122"/>
                  <a:pt x="393" y="1122"/>
                </a:cubicBezTo>
                <a:cubicBezTo>
                  <a:pt x="398" y="1123"/>
                  <a:pt x="402" y="1122"/>
                  <a:pt x="404" y="1121"/>
                </a:cubicBezTo>
                <a:cubicBezTo>
                  <a:pt x="409" y="1117"/>
                  <a:pt x="413" y="1114"/>
                  <a:pt x="415" y="1113"/>
                </a:cubicBezTo>
                <a:cubicBezTo>
                  <a:pt x="415" y="1112"/>
                  <a:pt x="414" y="1110"/>
                  <a:pt x="413" y="1109"/>
                </a:cubicBezTo>
                <a:lnTo>
                  <a:pt x="410" y="1108"/>
                </a:lnTo>
                <a:lnTo>
                  <a:pt x="410" y="1108"/>
                </a:lnTo>
                <a:close/>
                <a:moveTo>
                  <a:pt x="370" y="1117"/>
                </a:moveTo>
                <a:lnTo>
                  <a:pt x="370" y="1117"/>
                </a:lnTo>
                <a:cubicBezTo>
                  <a:pt x="368" y="1116"/>
                  <a:pt x="367" y="1114"/>
                  <a:pt x="366" y="1114"/>
                </a:cubicBezTo>
                <a:cubicBezTo>
                  <a:pt x="365" y="1115"/>
                  <a:pt x="364" y="1117"/>
                  <a:pt x="362" y="1119"/>
                </a:cubicBezTo>
                <a:cubicBezTo>
                  <a:pt x="361" y="1121"/>
                  <a:pt x="359" y="1122"/>
                  <a:pt x="356" y="1122"/>
                </a:cubicBezTo>
                <a:cubicBezTo>
                  <a:pt x="351" y="1123"/>
                  <a:pt x="347" y="1124"/>
                  <a:pt x="344" y="1126"/>
                </a:cubicBezTo>
                <a:cubicBezTo>
                  <a:pt x="339" y="1129"/>
                  <a:pt x="333" y="1134"/>
                  <a:pt x="327" y="1142"/>
                </a:cubicBezTo>
                <a:cubicBezTo>
                  <a:pt x="327" y="1144"/>
                  <a:pt x="328" y="1145"/>
                  <a:pt x="331" y="1146"/>
                </a:cubicBezTo>
                <a:cubicBezTo>
                  <a:pt x="335" y="1146"/>
                  <a:pt x="340" y="1145"/>
                  <a:pt x="347" y="1142"/>
                </a:cubicBezTo>
                <a:cubicBezTo>
                  <a:pt x="354" y="1140"/>
                  <a:pt x="359" y="1139"/>
                  <a:pt x="362" y="1139"/>
                </a:cubicBezTo>
                <a:cubicBezTo>
                  <a:pt x="364" y="1140"/>
                  <a:pt x="367" y="1141"/>
                  <a:pt x="369" y="1143"/>
                </a:cubicBezTo>
                <a:lnTo>
                  <a:pt x="371" y="1144"/>
                </a:lnTo>
                <a:cubicBezTo>
                  <a:pt x="371" y="1143"/>
                  <a:pt x="370" y="1142"/>
                  <a:pt x="369" y="1140"/>
                </a:cubicBezTo>
                <a:cubicBezTo>
                  <a:pt x="368" y="1139"/>
                  <a:pt x="368" y="1138"/>
                  <a:pt x="368" y="1137"/>
                </a:cubicBezTo>
                <a:cubicBezTo>
                  <a:pt x="371" y="1134"/>
                  <a:pt x="373" y="1131"/>
                  <a:pt x="373" y="1129"/>
                </a:cubicBezTo>
                <a:cubicBezTo>
                  <a:pt x="373" y="1128"/>
                  <a:pt x="374" y="1126"/>
                  <a:pt x="375" y="1125"/>
                </a:cubicBezTo>
                <a:cubicBezTo>
                  <a:pt x="376" y="1124"/>
                  <a:pt x="377" y="1124"/>
                  <a:pt x="378" y="1124"/>
                </a:cubicBezTo>
                <a:lnTo>
                  <a:pt x="376" y="1119"/>
                </a:lnTo>
                <a:cubicBezTo>
                  <a:pt x="373" y="1119"/>
                  <a:pt x="371" y="1119"/>
                  <a:pt x="370" y="1117"/>
                </a:cubicBezTo>
                <a:lnTo>
                  <a:pt x="370" y="1117"/>
                </a:lnTo>
                <a:close/>
                <a:moveTo>
                  <a:pt x="402" y="1150"/>
                </a:moveTo>
                <a:lnTo>
                  <a:pt x="402" y="1150"/>
                </a:lnTo>
                <a:cubicBezTo>
                  <a:pt x="401" y="1149"/>
                  <a:pt x="401" y="1148"/>
                  <a:pt x="401" y="1147"/>
                </a:cubicBezTo>
                <a:cubicBezTo>
                  <a:pt x="401" y="1146"/>
                  <a:pt x="402" y="1145"/>
                  <a:pt x="403" y="1144"/>
                </a:cubicBezTo>
                <a:cubicBezTo>
                  <a:pt x="401" y="1142"/>
                  <a:pt x="400" y="1141"/>
                  <a:pt x="398" y="1140"/>
                </a:cubicBezTo>
                <a:cubicBezTo>
                  <a:pt x="398" y="1141"/>
                  <a:pt x="397" y="1141"/>
                  <a:pt x="397" y="1141"/>
                </a:cubicBezTo>
                <a:cubicBezTo>
                  <a:pt x="395" y="1142"/>
                  <a:pt x="393" y="1143"/>
                  <a:pt x="391" y="1145"/>
                </a:cubicBezTo>
                <a:cubicBezTo>
                  <a:pt x="389" y="1147"/>
                  <a:pt x="387" y="1149"/>
                  <a:pt x="387" y="1151"/>
                </a:cubicBezTo>
                <a:cubicBezTo>
                  <a:pt x="395" y="1158"/>
                  <a:pt x="399" y="1162"/>
                  <a:pt x="400" y="1162"/>
                </a:cubicBezTo>
                <a:cubicBezTo>
                  <a:pt x="401" y="1162"/>
                  <a:pt x="403" y="1160"/>
                  <a:pt x="404" y="1155"/>
                </a:cubicBezTo>
                <a:cubicBezTo>
                  <a:pt x="405" y="1153"/>
                  <a:pt x="404" y="1152"/>
                  <a:pt x="402" y="1150"/>
                </a:cubicBezTo>
                <a:lnTo>
                  <a:pt x="402" y="1150"/>
                </a:lnTo>
                <a:close/>
                <a:moveTo>
                  <a:pt x="1428" y="75"/>
                </a:moveTo>
                <a:lnTo>
                  <a:pt x="1428" y="75"/>
                </a:lnTo>
                <a:cubicBezTo>
                  <a:pt x="1428" y="75"/>
                  <a:pt x="1402" y="55"/>
                  <a:pt x="1399" y="51"/>
                </a:cubicBezTo>
                <a:cubicBezTo>
                  <a:pt x="1394" y="45"/>
                  <a:pt x="1389" y="41"/>
                  <a:pt x="1383" y="40"/>
                </a:cubicBezTo>
                <a:cubicBezTo>
                  <a:pt x="1381" y="40"/>
                  <a:pt x="1379" y="41"/>
                  <a:pt x="1375" y="43"/>
                </a:cubicBezTo>
                <a:cubicBezTo>
                  <a:pt x="1371" y="46"/>
                  <a:pt x="1368" y="48"/>
                  <a:pt x="1367" y="48"/>
                </a:cubicBezTo>
                <a:cubicBezTo>
                  <a:pt x="1366" y="46"/>
                  <a:pt x="1364" y="45"/>
                  <a:pt x="1363" y="45"/>
                </a:cubicBezTo>
                <a:cubicBezTo>
                  <a:pt x="1362" y="45"/>
                  <a:pt x="1354" y="49"/>
                  <a:pt x="1341" y="56"/>
                </a:cubicBezTo>
                <a:cubicBezTo>
                  <a:pt x="1327" y="63"/>
                  <a:pt x="1321" y="66"/>
                  <a:pt x="1320" y="66"/>
                </a:cubicBezTo>
                <a:cubicBezTo>
                  <a:pt x="1319" y="66"/>
                  <a:pt x="1316" y="64"/>
                  <a:pt x="1310" y="61"/>
                </a:cubicBezTo>
                <a:cubicBezTo>
                  <a:pt x="1305" y="58"/>
                  <a:pt x="1301" y="56"/>
                  <a:pt x="1298" y="56"/>
                </a:cubicBezTo>
                <a:cubicBezTo>
                  <a:pt x="1288" y="56"/>
                  <a:pt x="1281" y="53"/>
                  <a:pt x="1276" y="48"/>
                </a:cubicBezTo>
                <a:cubicBezTo>
                  <a:pt x="1270" y="44"/>
                  <a:pt x="1265" y="40"/>
                  <a:pt x="1261" y="36"/>
                </a:cubicBezTo>
                <a:cubicBezTo>
                  <a:pt x="1252" y="27"/>
                  <a:pt x="1247" y="19"/>
                  <a:pt x="1248" y="13"/>
                </a:cubicBezTo>
                <a:cubicBezTo>
                  <a:pt x="1248" y="12"/>
                  <a:pt x="1249" y="11"/>
                  <a:pt x="1251" y="10"/>
                </a:cubicBezTo>
                <a:cubicBezTo>
                  <a:pt x="1252" y="8"/>
                  <a:pt x="1253" y="6"/>
                  <a:pt x="1254" y="4"/>
                </a:cubicBezTo>
                <a:lnTo>
                  <a:pt x="1251" y="4"/>
                </a:lnTo>
                <a:cubicBezTo>
                  <a:pt x="1250" y="6"/>
                  <a:pt x="1249" y="7"/>
                  <a:pt x="1248" y="8"/>
                </a:cubicBezTo>
                <a:cubicBezTo>
                  <a:pt x="1247" y="8"/>
                  <a:pt x="1245" y="8"/>
                  <a:pt x="1242" y="7"/>
                </a:cubicBezTo>
                <a:cubicBezTo>
                  <a:pt x="1240" y="7"/>
                  <a:pt x="1235" y="5"/>
                  <a:pt x="1227" y="0"/>
                </a:cubicBezTo>
                <a:cubicBezTo>
                  <a:pt x="1223" y="18"/>
                  <a:pt x="1207" y="29"/>
                  <a:pt x="1182" y="34"/>
                </a:cubicBezTo>
                <a:cubicBezTo>
                  <a:pt x="1176" y="35"/>
                  <a:pt x="1165" y="36"/>
                  <a:pt x="1148" y="38"/>
                </a:cubicBezTo>
                <a:cubicBezTo>
                  <a:pt x="1134" y="40"/>
                  <a:pt x="1123" y="42"/>
                  <a:pt x="1117" y="44"/>
                </a:cubicBezTo>
                <a:cubicBezTo>
                  <a:pt x="1107" y="47"/>
                  <a:pt x="1096" y="48"/>
                  <a:pt x="1083" y="48"/>
                </a:cubicBezTo>
                <a:cubicBezTo>
                  <a:pt x="1066" y="47"/>
                  <a:pt x="1054" y="47"/>
                  <a:pt x="1048" y="48"/>
                </a:cubicBezTo>
                <a:cubicBezTo>
                  <a:pt x="1030" y="50"/>
                  <a:pt x="1019" y="52"/>
                  <a:pt x="1017" y="52"/>
                </a:cubicBezTo>
                <a:cubicBezTo>
                  <a:pt x="1006" y="55"/>
                  <a:pt x="995" y="60"/>
                  <a:pt x="985" y="67"/>
                </a:cubicBezTo>
                <a:cubicBezTo>
                  <a:pt x="979" y="71"/>
                  <a:pt x="969" y="76"/>
                  <a:pt x="954" y="83"/>
                </a:cubicBezTo>
                <a:cubicBezTo>
                  <a:pt x="939" y="90"/>
                  <a:pt x="929" y="95"/>
                  <a:pt x="923" y="99"/>
                </a:cubicBezTo>
                <a:cubicBezTo>
                  <a:pt x="915" y="105"/>
                  <a:pt x="910" y="109"/>
                  <a:pt x="908" y="111"/>
                </a:cubicBezTo>
                <a:cubicBezTo>
                  <a:pt x="905" y="113"/>
                  <a:pt x="902" y="117"/>
                  <a:pt x="898" y="122"/>
                </a:cubicBezTo>
                <a:cubicBezTo>
                  <a:pt x="895" y="126"/>
                  <a:pt x="890" y="128"/>
                  <a:pt x="883" y="130"/>
                </a:cubicBezTo>
                <a:cubicBezTo>
                  <a:pt x="876" y="132"/>
                  <a:pt x="871" y="133"/>
                  <a:pt x="870" y="134"/>
                </a:cubicBezTo>
                <a:cubicBezTo>
                  <a:pt x="868" y="135"/>
                  <a:pt x="866" y="140"/>
                  <a:pt x="862" y="147"/>
                </a:cubicBezTo>
                <a:cubicBezTo>
                  <a:pt x="860" y="154"/>
                  <a:pt x="857" y="159"/>
                  <a:pt x="855" y="161"/>
                </a:cubicBezTo>
                <a:cubicBezTo>
                  <a:pt x="849" y="165"/>
                  <a:pt x="846" y="168"/>
                  <a:pt x="843" y="171"/>
                </a:cubicBezTo>
                <a:cubicBezTo>
                  <a:pt x="839" y="174"/>
                  <a:pt x="836" y="178"/>
                  <a:pt x="834" y="181"/>
                </a:cubicBezTo>
                <a:cubicBezTo>
                  <a:pt x="832" y="184"/>
                  <a:pt x="823" y="191"/>
                  <a:pt x="806" y="203"/>
                </a:cubicBezTo>
                <a:cubicBezTo>
                  <a:pt x="791" y="213"/>
                  <a:pt x="782" y="219"/>
                  <a:pt x="781" y="223"/>
                </a:cubicBezTo>
                <a:cubicBezTo>
                  <a:pt x="780" y="223"/>
                  <a:pt x="779" y="224"/>
                  <a:pt x="778" y="224"/>
                </a:cubicBezTo>
                <a:cubicBezTo>
                  <a:pt x="775" y="226"/>
                  <a:pt x="773" y="228"/>
                  <a:pt x="772" y="231"/>
                </a:cubicBezTo>
                <a:cubicBezTo>
                  <a:pt x="772" y="234"/>
                  <a:pt x="773" y="237"/>
                  <a:pt x="775" y="240"/>
                </a:cubicBezTo>
                <a:cubicBezTo>
                  <a:pt x="776" y="243"/>
                  <a:pt x="777" y="244"/>
                  <a:pt x="777" y="245"/>
                </a:cubicBezTo>
                <a:cubicBezTo>
                  <a:pt x="776" y="253"/>
                  <a:pt x="769" y="261"/>
                  <a:pt x="756" y="267"/>
                </a:cubicBezTo>
                <a:cubicBezTo>
                  <a:pt x="747" y="271"/>
                  <a:pt x="737" y="274"/>
                  <a:pt x="726" y="276"/>
                </a:cubicBezTo>
                <a:cubicBezTo>
                  <a:pt x="695" y="282"/>
                  <a:pt x="673" y="284"/>
                  <a:pt x="661" y="283"/>
                </a:cubicBezTo>
                <a:cubicBezTo>
                  <a:pt x="644" y="279"/>
                  <a:pt x="634" y="277"/>
                  <a:pt x="631" y="276"/>
                </a:cubicBezTo>
                <a:cubicBezTo>
                  <a:pt x="624" y="275"/>
                  <a:pt x="618" y="277"/>
                  <a:pt x="614" y="281"/>
                </a:cubicBezTo>
                <a:cubicBezTo>
                  <a:pt x="609" y="285"/>
                  <a:pt x="601" y="289"/>
                  <a:pt x="591" y="290"/>
                </a:cubicBezTo>
                <a:cubicBezTo>
                  <a:pt x="588" y="290"/>
                  <a:pt x="580" y="292"/>
                  <a:pt x="567" y="295"/>
                </a:cubicBezTo>
                <a:cubicBezTo>
                  <a:pt x="562" y="296"/>
                  <a:pt x="555" y="296"/>
                  <a:pt x="547" y="295"/>
                </a:cubicBezTo>
                <a:cubicBezTo>
                  <a:pt x="539" y="294"/>
                  <a:pt x="534" y="293"/>
                  <a:pt x="533" y="293"/>
                </a:cubicBezTo>
                <a:cubicBezTo>
                  <a:pt x="531" y="293"/>
                  <a:pt x="525" y="294"/>
                  <a:pt x="517" y="296"/>
                </a:cubicBezTo>
                <a:cubicBezTo>
                  <a:pt x="509" y="298"/>
                  <a:pt x="500" y="299"/>
                  <a:pt x="492" y="298"/>
                </a:cubicBezTo>
                <a:cubicBezTo>
                  <a:pt x="485" y="296"/>
                  <a:pt x="480" y="295"/>
                  <a:pt x="476" y="294"/>
                </a:cubicBezTo>
                <a:cubicBezTo>
                  <a:pt x="469" y="294"/>
                  <a:pt x="463" y="295"/>
                  <a:pt x="458" y="298"/>
                </a:cubicBezTo>
                <a:cubicBezTo>
                  <a:pt x="452" y="302"/>
                  <a:pt x="448" y="306"/>
                  <a:pt x="448" y="312"/>
                </a:cubicBezTo>
                <a:cubicBezTo>
                  <a:pt x="448" y="314"/>
                  <a:pt x="448" y="316"/>
                  <a:pt x="449" y="319"/>
                </a:cubicBezTo>
                <a:cubicBezTo>
                  <a:pt x="450" y="321"/>
                  <a:pt x="450" y="324"/>
                  <a:pt x="450" y="327"/>
                </a:cubicBezTo>
                <a:cubicBezTo>
                  <a:pt x="450" y="327"/>
                  <a:pt x="450" y="328"/>
                  <a:pt x="450" y="328"/>
                </a:cubicBezTo>
                <a:cubicBezTo>
                  <a:pt x="449" y="334"/>
                  <a:pt x="447" y="338"/>
                  <a:pt x="444" y="342"/>
                </a:cubicBezTo>
                <a:cubicBezTo>
                  <a:pt x="444" y="344"/>
                  <a:pt x="446" y="346"/>
                  <a:pt x="451" y="350"/>
                </a:cubicBezTo>
                <a:cubicBezTo>
                  <a:pt x="456" y="354"/>
                  <a:pt x="460" y="355"/>
                  <a:pt x="462" y="356"/>
                </a:cubicBezTo>
                <a:cubicBezTo>
                  <a:pt x="463" y="356"/>
                  <a:pt x="466" y="356"/>
                  <a:pt x="472" y="355"/>
                </a:cubicBezTo>
                <a:cubicBezTo>
                  <a:pt x="476" y="355"/>
                  <a:pt x="481" y="358"/>
                  <a:pt x="488" y="365"/>
                </a:cubicBezTo>
                <a:cubicBezTo>
                  <a:pt x="494" y="372"/>
                  <a:pt x="499" y="375"/>
                  <a:pt x="501" y="376"/>
                </a:cubicBezTo>
                <a:cubicBezTo>
                  <a:pt x="502" y="376"/>
                  <a:pt x="503" y="375"/>
                  <a:pt x="504" y="375"/>
                </a:cubicBezTo>
                <a:cubicBezTo>
                  <a:pt x="505" y="375"/>
                  <a:pt x="505" y="374"/>
                  <a:pt x="505" y="373"/>
                </a:cubicBezTo>
                <a:cubicBezTo>
                  <a:pt x="506" y="370"/>
                  <a:pt x="508" y="368"/>
                  <a:pt x="511" y="368"/>
                </a:cubicBezTo>
                <a:cubicBezTo>
                  <a:pt x="514" y="367"/>
                  <a:pt x="519" y="367"/>
                  <a:pt x="526" y="368"/>
                </a:cubicBezTo>
                <a:cubicBezTo>
                  <a:pt x="529" y="368"/>
                  <a:pt x="534" y="367"/>
                  <a:pt x="540" y="364"/>
                </a:cubicBezTo>
                <a:cubicBezTo>
                  <a:pt x="546" y="361"/>
                  <a:pt x="550" y="360"/>
                  <a:pt x="551" y="360"/>
                </a:cubicBezTo>
                <a:cubicBezTo>
                  <a:pt x="553" y="360"/>
                  <a:pt x="557" y="361"/>
                  <a:pt x="563" y="364"/>
                </a:cubicBezTo>
                <a:cubicBezTo>
                  <a:pt x="564" y="364"/>
                  <a:pt x="568" y="364"/>
                  <a:pt x="575" y="364"/>
                </a:cubicBezTo>
                <a:lnTo>
                  <a:pt x="578" y="364"/>
                </a:lnTo>
                <a:cubicBezTo>
                  <a:pt x="577" y="365"/>
                  <a:pt x="575" y="366"/>
                  <a:pt x="572" y="367"/>
                </a:cubicBezTo>
                <a:cubicBezTo>
                  <a:pt x="568" y="367"/>
                  <a:pt x="565" y="367"/>
                  <a:pt x="564" y="367"/>
                </a:cubicBezTo>
                <a:cubicBezTo>
                  <a:pt x="561" y="367"/>
                  <a:pt x="559" y="369"/>
                  <a:pt x="555" y="371"/>
                </a:cubicBezTo>
                <a:cubicBezTo>
                  <a:pt x="552" y="374"/>
                  <a:pt x="549" y="375"/>
                  <a:pt x="547" y="376"/>
                </a:cubicBezTo>
                <a:cubicBezTo>
                  <a:pt x="532" y="380"/>
                  <a:pt x="522" y="382"/>
                  <a:pt x="515" y="384"/>
                </a:cubicBezTo>
                <a:cubicBezTo>
                  <a:pt x="511" y="384"/>
                  <a:pt x="509" y="385"/>
                  <a:pt x="506" y="386"/>
                </a:cubicBezTo>
                <a:cubicBezTo>
                  <a:pt x="503" y="386"/>
                  <a:pt x="501" y="387"/>
                  <a:pt x="499" y="387"/>
                </a:cubicBezTo>
                <a:cubicBezTo>
                  <a:pt x="491" y="389"/>
                  <a:pt x="486" y="390"/>
                  <a:pt x="482" y="393"/>
                </a:cubicBezTo>
                <a:cubicBezTo>
                  <a:pt x="478" y="395"/>
                  <a:pt x="473" y="398"/>
                  <a:pt x="467" y="400"/>
                </a:cubicBezTo>
                <a:cubicBezTo>
                  <a:pt x="460" y="402"/>
                  <a:pt x="455" y="404"/>
                  <a:pt x="451" y="406"/>
                </a:cubicBezTo>
                <a:lnTo>
                  <a:pt x="449" y="406"/>
                </a:lnTo>
                <a:cubicBezTo>
                  <a:pt x="447" y="407"/>
                  <a:pt x="445" y="408"/>
                  <a:pt x="443" y="410"/>
                </a:cubicBezTo>
                <a:cubicBezTo>
                  <a:pt x="435" y="416"/>
                  <a:pt x="431" y="420"/>
                  <a:pt x="430" y="422"/>
                </a:cubicBezTo>
                <a:cubicBezTo>
                  <a:pt x="430" y="424"/>
                  <a:pt x="431" y="426"/>
                  <a:pt x="433" y="429"/>
                </a:cubicBezTo>
                <a:cubicBezTo>
                  <a:pt x="435" y="432"/>
                  <a:pt x="436" y="433"/>
                  <a:pt x="438" y="433"/>
                </a:cubicBezTo>
                <a:cubicBezTo>
                  <a:pt x="441" y="433"/>
                  <a:pt x="444" y="434"/>
                  <a:pt x="445" y="435"/>
                </a:cubicBezTo>
                <a:cubicBezTo>
                  <a:pt x="447" y="437"/>
                  <a:pt x="448" y="438"/>
                  <a:pt x="451" y="438"/>
                </a:cubicBezTo>
                <a:cubicBezTo>
                  <a:pt x="451" y="438"/>
                  <a:pt x="457" y="436"/>
                  <a:pt x="468" y="432"/>
                </a:cubicBezTo>
                <a:cubicBezTo>
                  <a:pt x="470" y="432"/>
                  <a:pt x="472" y="433"/>
                  <a:pt x="474" y="434"/>
                </a:cubicBezTo>
                <a:cubicBezTo>
                  <a:pt x="476" y="436"/>
                  <a:pt x="477" y="437"/>
                  <a:pt x="477" y="437"/>
                </a:cubicBezTo>
                <a:cubicBezTo>
                  <a:pt x="477" y="439"/>
                  <a:pt x="475" y="441"/>
                  <a:pt x="473" y="444"/>
                </a:cubicBezTo>
                <a:cubicBezTo>
                  <a:pt x="470" y="447"/>
                  <a:pt x="468" y="449"/>
                  <a:pt x="465" y="450"/>
                </a:cubicBezTo>
                <a:cubicBezTo>
                  <a:pt x="464" y="451"/>
                  <a:pt x="461" y="453"/>
                  <a:pt x="456" y="454"/>
                </a:cubicBezTo>
                <a:cubicBezTo>
                  <a:pt x="451" y="455"/>
                  <a:pt x="448" y="456"/>
                  <a:pt x="447" y="456"/>
                </a:cubicBezTo>
                <a:cubicBezTo>
                  <a:pt x="441" y="453"/>
                  <a:pt x="436" y="452"/>
                  <a:pt x="432" y="451"/>
                </a:cubicBezTo>
                <a:cubicBezTo>
                  <a:pt x="430" y="451"/>
                  <a:pt x="426" y="453"/>
                  <a:pt x="419" y="457"/>
                </a:cubicBezTo>
                <a:cubicBezTo>
                  <a:pt x="413" y="461"/>
                  <a:pt x="408" y="463"/>
                  <a:pt x="406" y="463"/>
                </a:cubicBezTo>
                <a:cubicBezTo>
                  <a:pt x="399" y="461"/>
                  <a:pt x="395" y="459"/>
                  <a:pt x="394" y="459"/>
                </a:cubicBezTo>
                <a:cubicBezTo>
                  <a:pt x="393" y="459"/>
                  <a:pt x="390" y="459"/>
                  <a:pt x="386" y="460"/>
                </a:cubicBezTo>
                <a:cubicBezTo>
                  <a:pt x="382" y="461"/>
                  <a:pt x="377" y="460"/>
                  <a:pt x="371" y="460"/>
                </a:cubicBezTo>
                <a:cubicBezTo>
                  <a:pt x="365" y="459"/>
                  <a:pt x="356" y="462"/>
                  <a:pt x="343" y="468"/>
                </a:cubicBezTo>
                <a:cubicBezTo>
                  <a:pt x="330" y="474"/>
                  <a:pt x="321" y="477"/>
                  <a:pt x="319" y="476"/>
                </a:cubicBezTo>
                <a:lnTo>
                  <a:pt x="310" y="466"/>
                </a:lnTo>
                <a:cubicBezTo>
                  <a:pt x="312" y="466"/>
                  <a:pt x="315" y="464"/>
                  <a:pt x="317" y="462"/>
                </a:cubicBezTo>
                <a:cubicBezTo>
                  <a:pt x="321" y="459"/>
                  <a:pt x="322" y="457"/>
                  <a:pt x="322" y="456"/>
                </a:cubicBezTo>
                <a:cubicBezTo>
                  <a:pt x="322" y="455"/>
                  <a:pt x="321" y="453"/>
                  <a:pt x="318" y="452"/>
                </a:cubicBezTo>
                <a:cubicBezTo>
                  <a:pt x="315" y="451"/>
                  <a:pt x="313" y="450"/>
                  <a:pt x="312" y="450"/>
                </a:cubicBezTo>
                <a:cubicBezTo>
                  <a:pt x="290" y="447"/>
                  <a:pt x="279" y="450"/>
                  <a:pt x="280" y="456"/>
                </a:cubicBezTo>
                <a:cubicBezTo>
                  <a:pt x="283" y="459"/>
                  <a:pt x="289" y="467"/>
                  <a:pt x="299" y="480"/>
                </a:cubicBezTo>
                <a:cubicBezTo>
                  <a:pt x="299" y="482"/>
                  <a:pt x="295" y="484"/>
                  <a:pt x="288" y="484"/>
                </a:cubicBezTo>
                <a:lnTo>
                  <a:pt x="276" y="485"/>
                </a:lnTo>
                <a:cubicBezTo>
                  <a:pt x="273" y="487"/>
                  <a:pt x="270" y="489"/>
                  <a:pt x="265" y="492"/>
                </a:cubicBezTo>
                <a:cubicBezTo>
                  <a:pt x="262" y="495"/>
                  <a:pt x="258" y="496"/>
                  <a:pt x="254" y="495"/>
                </a:cubicBezTo>
                <a:cubicBezTo>
                  <a:pt x="249" y="495"/>
                  <a:pt x="246" y="494"/>
                  <a:pt x="244" y="492"/>
                </a:cubicBezTo>
                <a:cubicBezTo>
                  <a:pt x="242" y="490"/>
                  <a:pt x="238" y="488"/>
                  <a:pt x="232" y="486"/>
                </a:cubicBezTo>
                <a:cubicBezTo>
                  <a:pt x="230" y="486"/>
                  <a:pt x="227" y="484"/>
                  <a:pt x="223" y="480"/>
                </a:cubicBezTo>
                <a:cubicBezTo>
                  <a:pt x="221" y="477"/>
                  <a:pt x="217" y="475"/>
                  <a:pt x="214" y="474"/>
                </a:cubicBezTo>
                <a:cubicBezTo>
                  <a:pt x="213" y="474"/>
                  <a:pt x="211" y="475"/>
                  <a:pt x="208" y="476"/>
                </a:cubicBezTo>
                <a:cubicBezTo>
                  <a:pt x="206" y="478"/>
                  <a:pt x="204" y="479"/>
                  <a:pt x="204" y="479"/>
                </a:cubicBezTo>
                <a:cubicBezTo>
                  <a:pt x="197" y="480"/>
                  <a:pt x="193" y="480"/>
                  <a:pt x="192" y="481"/>
                </a:cubicBezTo>
                <a:cubicBezTo>
                  <a:pt x="185" y="490"/>
                  <a:pt x="179" y="494"/>
                  <a:pt x="173" y="493"/>
                </a:cubicBezTo>
                <a:cubicBezTo>
                  <a:pt x="166" y="491"/>
                  <a:pt x="161" y="490"/>
                  <a:pt x="158" y="490"/>
                </a:cubicBezTo>
                <a:cubicBezTo>
                  <a:pt x="152" y="489"/>
                  <a:pt x="148" y="490"/>
                  <a:pt x="147" y="493"/>
                </a:cubicBezTo>
                <a:cubicBezTo>
                  <a:pt x="144" y="499"/>
                  <a:pt x="141" y="504"/>
                  <a:pt x="135" y="507"/>
                </a:cubicBezTo>
                <a:cubicBezTo>
                  <a:pt x="134" y="508"/>
                  <a:pt x="133" y="509"/>
                  <a:pt x="131" y="512"/>
                </a:cubicBezTo>
                <a:cubicBezTo>
                  <a:pt x="130" y="514"/>
                  <a:pt x="128" y="516"/>
                  <a:pt x="127" y="517"/>
                </a:cubicBezTo>
                <a:cubicBezTo>
                  <a:pt x="122" y="520"/>
                  <a:pt x="119" y="524"/>
                  <a:pt x="119" y="527"/>
                </a:cubicBezTo>
                <a:cubicBezTo>
                  <a:pt x="118" y="529"/>
                  <a:pt x="117" y="531"/>
                  <a:pt x="114" y="535"/>
                </a:cubicBezTo>
                <a:cubicBezTo>
                  <a:pt x="107" y="542"/>
                  <a:pt x="103" y="547"/>
                  <a:pt x="102" y="548"/>
                </a:cubicBezTo>
                <a:cubicBezTo>
                  <a:pt x="102" y="548"/>
                  <a:pt x="102" y="548"/>
                  <a:pt x="102" y="548"/>
                </a:cubicBezTo>
                <a:cubicBezTo>
                  <a:pt x="100" y="552"/>
                  <a:pt x="98" y="558"/>
                  <a:pt x="97" y="568"/>
                </a:cubicBezTo>
                <a:cubicBezTo>
                  <a:pt x="97" y="571"/>
                  <a:pt x="96" y="573"/>
                  <a:pt x="94" y="573"/>
                </a:cubicBezTo>
                <a:cubicBezTo>
                  <a:pt x="93" y="573"/>
                  <a:pt x="91" y="574"/>
                  <a:pt x="87" y="574"/>
                </a:cubicBezTo>
                <a:cubicBezTo>
                  <a:pt x="80" y="575"/>
                  <a:pt x="77" y="581"/>
                  <a:pt x="75" y="592"/>
                </a:cubicBezTo>
                <a:cubicBezTo>
                  <a:pt x="75" y="594"/>
                  <a:pt x="76" y="598"/>
                  <a:pt x="79" y="605"/>
                </a:cubicBezTo>
                <a:cubicBezTo>
                  <a:pt x="81" y="611"/>
                  <a:pt x="82" y="614"/>
                  <a:pt x="82" y="616"/>
                </a:cubicBezTo>
                <a:cubicBezTo>
                  <a:pt x="82" y="617"/>
                  <a:pt x="81" y="620"/>
                  <a:pt x="78" y="626"/>
                </a:cubicBezTo>
                <a:cubicBezTo>
                  <a:pt x="78" y="626"/>
                  <a:pt x="79" y="629"/>
                  <a:pt x="80" y="633"/>
                </a:cubicBezTo>
                <a:cubicBezTo>
                  <a:pt x="81" y="638"/>
                  <a:pt x="81" y="641"/>
                  <a:pt x="81" y="643"/>
                </a:cubicBezTo>
                <a:cubicBezTo>
                  <a:pt x="81" y="646"/>
                  <a:pt x="80" y="649"/>
                  <a:pt x="78" y="652"/>
                </a:cubicBezTo>
                <a:cubicBezTo>
                  <a:pt x="77" y="655"/>
                  <a:pt x="76" y="657"/>
                  <a:pt x="75" y="659"/>
                </a:cubicBezTo>
                <a:cubicBezTo>
                  <a:pt x="75" y="661"/>
                  <a:pt x="77" y="664"/>
                  <a:pt x="79" y="669"/>
                </a:cubicBezTo>
                <a:cubicBezTo>
                  <a:pt x="82" y="673"/>
                  <a:pt x="85" y="676"/>
                  <a:pt x="86" y="676"/>
                </a:cubicBezTo>
                <a:cubicBezTo>
                  <a:pt x="88" y="676"/>
                  <a:pt x="96" y="672"/>
                  <a:pt x="110" y="665"/>
                </a:cubicBezTo>
                <a:cubicBezTo>
                  <a:pt x="117" y="663"/>
                  <a:pt x="121" y="661"/>
                  <a:pt x="123" y="661"/>
                </a:cubicBezTo>
                <a:cubicBezTo>
                  <a:pt x="127" y="659"/>
                  <a:pt x="131" y="655"/>
                  <a:pt x="133" y="651"/>
                </a:cubicBezTo>
                <a:cubicBezTo>
                  <a:pt x="135" y="652"/>
                  <a:pt x="136" y="652"/>
                  <a:pt x="137" y="652"/>
                </a:cubicBezTo>
                <a:cubicBezTo>
                  <a:pt x="140" y="653"/>
                  <a:pt x="142" y="653"/>
                  <a:pt x="142" y="652"/>
                </a:cubicBezTo>
                <a:cubicBezTo>
                  <a:pt x="143" y="650"/>
                  <a:pt x="144" y="648"/>
                  <a:pt x="146" y="646"/>
                </a:cubicBezTo>
                <a:cubicBezTo>
                  <a:pt x="149" y="644"/>
                  <a:pt x="153" y="643"/>
                  <a:pt x="159" y="641"/>
                </a:cubicBezTo>
                <a:cubicBezTo>
                  <a:pt x="161" y="641"/>
                  <a:pt x="166" y="640"/>
                  <a:pt x="173" y="640"/>
                </a:cubicBezTo>
                <a:cubicBezTo>
                  <a:pt x="173" y="640"/>
                  <a:pt x="175" y="639"/>
                  <a:pt x="178" y="638"/>
                </a:cubicBezTo>
                <a:cubicBezTo>
                  <a:pt x="181" y="636"/>
                  <a:pt x="183" y="636"/>
                  <a:pt x="185" y="636"/>
                </a:cubicBezTo>
                <a:cubicBezTo>
                  <a:pt x="191" y="637"/>
                  <a:pt x="194" y="638"/>
                  <a:pt x="195" y="640"/>
                </a:cubicBezTo>
                <a:cubicBezTo>
                  <a:pt x="195" y="641"/>
                  <a:pt x="196" y="642"/>
                  <a:pt x="197" y="644"/>
                </a:cubicBezTo>
                <a:cubicBezTo>
                  <a:pt x="198" y="646"/>
                  <a:pt x="198" y="648"/>
                  <a:pt x="198" y="649"/>
                </a:cubicBezTo>
                <a:cubicBezTo>
                  <a:pt x="198" y="649"/>
                  <a:pt x="194" y="652"/>
                  <a:pt x="187" y="656"/>
                </a:cubicBezTo>
                <a:cubicBezTo>
                  <a:pt x="180" y="661"/>
                  <a:pt x="176" y="666"/>
                  <a:pt x="175" y="672"/>
                </a:cubicBezTo>
                <a:cubicBezTo>
                  <a:pt x="175" y="674"/>
                  <a:pt x="175" y="675"/>
                  <a:pt x="175" y="675"/>
                </a:cubicBezTo>
                <a:cubicBezTo>
                  <a:pt x="175" y="675"/>
                  <a:pt x="175" y="675"/>
                  <a:pt x="176" y="675"/>
                </a:cubicBezTo>
                <a:cubicBezTo>
                  <a:pt x="176" y="675"/>
                  <a:pt x="176" y="676"/>
                  <a:pt x="177" y="677"/>
                </a:cubicBezTo>
                <a:cubicBezTo>
                  <a:pt x="177" y="677"/>
                  <a:pt x="177" y="677"/>
                  <a:pt x="177" y="677"/>
                </a:cubicBezTo>
                <a:cubicBezTo>
                  <a:pt x="177" y="679"/>
                  <a:pt x="174" y="683"/>
                  <a:pt x="169" y="688"/>
                </a:cubicBezTo>
                <a:cubicBezTo>
                  <a:pt x="164" y="693"/>
                  <a:pt x="161" y="697"/>
                  <a:pt x="160" y="699"/>
                </a:cubicBezTo>
                <a:cubicBezTo>
                  <a:pt x="162" y="700"/>
                  <a:pt x="164" y="700"/>
                  <a:pt x="168" y="701"/>
                </a:cubicBezTo>
                <a:cubicBezTo>
                  <a:pt x="171" y="701"/>
                  <a:pt x="173" y="703"/>
                  <a:pt x="174" y="705"/>
                </a:cubicBezTo>
                <a:cubicBezTo>
                  <a:pt x="176" y="711"/>
                  <a:pt x="179" y="715"/>
                  <a:pt x="184" y="715"/>
                </a:cubicBezTo>
                <a:cubicBezTo>
                  <a:pt x="184" y="715"/>
                  <a:pt x="186" y="715"/>
                  <a:pt x="188" y="714"/>
                </a:cubicBezTo>
                <a:cubicBezTo>
                  <a:pt x="190" y="715"/>
                  <a:pt x="192" y="717"/>
                  <a:pt x="194" y="721"/>
                </a:cubicBezTo>
                <a:cubicBezTo>
                  <a:pt x="196" y="724"/>
                  <a:pt x="196" y="727"/>
                  <a:pt x="196" y="729"/>
                </a:cubicBezTo>
                <a:cubicBezTo>
                  <a:pt x="196" y="729"/>
                  <a:pt x="194" y="734"/>
                  <a:pt x="189" y="743"/>
                </a:cubicBezTo>
                <a:cubicBezTo>
                  <a:pt x="189" y="745"/>
                  <a:pt x="189" y="747"/>
                  <a:pt x="190" y="750"/>
                </a:cubicBezTo>
                <a:cubicBezTo>
                  <a:pt x="191" y="752"/>
                  <a:pt x="193" y="753"/>
                  <a:pt x="194" y="753"/>
                </a:cubicBezTo>
                <a:cubicBezTo>
                  <a:pt x="196" y="754"/>
                  <a:pt x="198" y="753"/>
                  <a:pt x="200" y="752"/>
                </a:cubicBezTo>
                <a:cubicBezTo>
                  <a:pt x="203" y="751"/>
                  <a:pt x="205" y="751"/>
                  <a:pt x="207" y="751"/>
                </a:cubicBezTo>
                <a:cubicBezTo>
                  <a:pt x="210" y="752"/>
                  <a:pt x="213" y="752"/>
                  <a:pt x="217" y="754"/>
                </a:cubicBezTo>
                <a:cubicBezTo>
                  <a:pt x="222" y="756"/>
                  <a:pt x="224" y="758"/>
                  <a:pt x="224" y="759"/>
                </a:cubicBezTo>
                <a:cubicBezTo>
                  <a:pt x="223" y="761"/>
                  <a:pt x="221" y="764"/>
                  <a:pt x="218" y="770"/>
                </a:cubicBezTo>
                <a:cubicBezTo>
                  <a:pt x="214" y="776"/>
                  <a:pt x="211" y="781"/>
                  <a:pt x="208" y="783"/>
                </a:cubicBezTo>
                <a:cubicBezTo>
                  <a:pt x="207" y="783"/>
                  <a:pt x="206" y="785"/>
                  <a:pt x="204" y="787"/>
                </a:cubicBezTo>
                <a:cubicBezTo>
                  <a:pt x="201" y="789"/>
                  <a:pt x="199" y="790"/>
                  <a:pt x="197" y="790"/>
                </a:cubicBezTo>
                <a:cubicBezTo>
                  <a:pt x="190" y="791"/>
                  <a:pt x="187" y="794"/>
                  <a:pt x="186" y="798"/>
                </a:cubicBezTo>
                <a:cubicBezTo>
                  <a:pt x="186" y="798"/>
                  <a:pt x="188" y="801"/>
                  <a:pt x="192" y="806"/>
                </a:cubicBezTo>
                <a:cubicBezTo>
                  <a:pt x="196" y="811"/>
                  <a:pt x="199" y="816"/>
                  <a:pt x="202" y="820"/>
                </a:cubicBezTo>
                <a:cubicBezTo>
                  <a:pt x="204" y="824"/>
                  <a:pt x="209" y="831"/>
                  <a:pt x="218" y="840"/>
                </a:cubicBezTo>
                <a:cubicBezTo>
                  <a:pt x="220" y="840"/>
                  <a:pt x="224" y="840"/>
                  <a:pt x="230" y="838"/>
                </a:cubicBezTo>
                <a:cubicBezTo>
                  <a:pt x="235" y="836"/>
                  <a:pt x="239" y="835"/>
                  <a:pt x="240" y="836"/>
                </a:cubicBezTo>
                <a:cubicBezTo>
                  <a:pt x="244" y="836"/>
                  <a:pt x="248" y="837"/>
                  <a:pt x="251" y="839"/>
                </a:cubicBezTo>
                <a:lnTo>
                  <a:pt x="250" y="841"/>
                </a:lnTo>
                <a:cubicBezTo>
                  <a:pt x="238" y="845"/>
                  <a:pt x="228" y="848"/>
                  <a:pt x="221" y="850"/>
                </a:cubicBezTo>
                <a:cubicBezTo>
                  <a:pt x="211" y="853"/>
                  <a:pt x="206" y="855"/>
                  <a:pt x="205" y="854"/>
                </a:cubicBezTo>
                <a:cubicBezTo>
                  <a:pt x="203" y="854"/>
                  <a:pt x="201" y="853"/>
                  <a:pt x="199" y="851"/>
                </a:cubicBezTo>
                <a:cubicBezTo>
                  <a:pt x="196" y="849"/>
                  <a:pt x="194" y="848"/>
                  <a:pt x="193" y="847"/>
                </a:cubicBezTo>
                <a:cubicBezTo>
                  <a:pt x="192" y="847"/>
                  <a:pt x="191" y="848"/>
                  <a:pt x="188" y="850"/>
                </a:cubicBezTo>
                <a:cubicBezTo>
                  <a:pt x="186" y="852"/>
                  <a:pt x="184" y="853"/>
                  <a:pt x="184" y="854"/>
                </a:cubicBezTo>
                <a:cubicBezTo>
                  <a:pt x="184" y="854"/>
                  <a:pt x="185" y="856"/>
                  <a:pt x="186" y="860"/>
                </a:cubicBezTo>
                <a:cubicBezTo>
                  <a:pt x="188" y="864"/>
                  <a:pt x="189" y="866"/>
                  <a:pt x="190" y="867"/>
                </a:cubicBezTo>
                <a:cubicBezTo>
                  <a:pt x="184" y="862"/>
                  <a:pt x="180" y="859"/>
                  <a:pt x="179" y="858"/>
                </a:cubicBezTo>
                <a:cubicBezTo>
                  <a:pt x="176" y="855"/>
                  <a:pt x="174" y="851"/>
                  <a:pt x="173" y="848"/>
                </a:cubicBezTo>
                <a:cubicBezTo>
                  <a:pt x="173" y="847"/>
                  <a:pt x="174" y="845"/>
                  <a:pt x="174" y="844"/>
                </a:cubicBezTo>
                <a:cubicBezTo>
                  <a:pt x="174" y="842"/>
                  <a:pt x="174" y="841"/>
                  <a:pt x="174" y="840"/>
                </a:cubicBezTo>
                <a:cubicBezTo>
                  <a:pt x="175" y="834"/>
                  <a:pt x="175" y="831"/>
                  <a:pt x="173" y="831"/>
                </a:cubicBezTo>
                <a:cubicBezTo>
                  <a:pt x="169" y="829"/>
                  <a:pt x="165" y="827"/>
                  <a:pt x="162" y="822"/>
                </a:cubicBezTo>
                <a:cubicBezTo>
                  <a:pt x="158" y="817"/>
                  <a:pt x="156" y="815"/>
                  <a:pt x="156" y="814"/>
                </a:cubicBezTo>
                <a:cubicBezTo>
                  <a:pt x="153" y="812"/>
                  <a:pt x="150" y="810"/>
                  <a:pt x="147" y="810"/>
                </a:cubicBezTo>
                <a:cubicBezTo>
                  <a:pt x="141" y="809"/>
                  <a:pt x="138" y="813"/>
                  <a:pt x="137" y="821"/>
                </a:cubicBezTo>
                <a:cubicBezTo>
                  <a:pt x="137" y="824"/>
                  <a:pt x="138" y="830"/>
                  <a:pt x="142" y="840"/>
                </a:cubicBezTo>
                <a:cubicBezTo>
                  <a:pt x="145" y="846"/>
                  <a:pt x="150" y="849"/>
                  <a:pt x="156" y="850"/>
                </a:cubicBezTo>
                <a:cubicBezTo>
                  <a:pt x="155" y="852"/>
                  <a:pt x="156" y="856"/>
                  <a:pt x="157" y="863"/>
                </a:cubicBezTo>
                <a:cubicBezTo>
                  <a:pt x="157" y="864"/>
                  <a:pt x="155" y="865"/>
                  <a:pt x="152" y="867"/>
                </a:cubicBezTo>
                <a:cubicBezTo>
                  <a:pt x="148" y="869"/>
                  <a:pt x="146" y="870"/>
                  <a:pt x="146" y="870"/>
                </a:cubicBezTo>
                <a:cubicBezTo>
                  <a:pt x="143" y="868"/>
                  <a:pt x="141" y="868"/>
                  <a:pt x="140" y="868"/>
                </a:cubicBezTo>
                <a:cubicBezTo>
                  <a:pt x="138" y="868"/>
                  <a:pt x="137" y="868"/>
                  <a:pt x="135" y="869"/>
                </a:cubicBezTo>
                <a:cubicBezTo>
                  <a:pt x="134" y="869"/>
                  <a:pt x="132" y="870"/>
                  <a:pt x="132" y="869"/>
                </a:cubicBezTo>
                <a:cubicBezTo>
                  <a:pt x="131" y="873"/>
                  <a:pt x="130" y="876"/>
                  <a:pt x="129" y="880"/>
                </a:cubicBezTo>
                <a:cubicBezTo>
                  <a:pt x="129" y="883"/>
                  <a:pt x="129" y="885"/>
                  <a:pt x="131" y="887"/>
                </a:cubicBezTo>
                <a:cubicBezTo>
                  <a:pt x="133" y="889"/>
                  <a:pt x="136" y="891"/>
                  <a:pt x="138" y="891"/>
                </a:cubicBezTo>
                <a:cubicBezTo>
                  <a:pt x="139" y="891"/>
                  <a:pt x="140" y="890"/>
                  <a:pt x="142" y="889"/>
                </a:cubicBezTo>
                <a:cubicBezTo>
                  <a:pt x="144" y="888"/>
                  <a:pt x="145" y="887"/>
                  <a:pt x="146" y="887"/>
                </a:cubicBezTo>
                <a:cubicBezTo>
                  <a:pt x="150" y="887"/>
                  <a:pt x="154" y="891"/>
                  <a:pt x="161" y="897"/>
                </a:cubicBezTo>
                <a:cubicBezTo>
                  <a:pt x="169" y="904"/>
                  <a:pt x="174" y="907"/>
                  <a:pt x="179" y="907"/>
                </a:cubicBezTo>
                <a:cubicBezTo>
                  <a:pt x="180" y="907"/>
                  <a:pt x="181" y="906"/>
                  <a:pt x="182" y="904"/>
                </a:cubicBezTo>
                <a:cubicBezTo>
                  <a:pt x="183" y="902"/>
                  <a:pt x="184" y="901"/>
                  <a:pt x="184" y="900"/>
                </a:cubicBezTo>
                <a:cubicBezTo>
                  <a:pt x="185" y="894"/>
                  <a:pt x="183" y="890"/>
                  <a:pt x="181" y="888"/>
                </a:cubicBezTo>
                <a:cubicBezTo>
                  <a:pt x="181" y="888"/>
                  <a:pt x="180" y="888"/>
                  <a:pt x="180" y="888"/>
                </a:cubicBezTo>
                <a:cubicBezTo>
                  <a:pt x="181" y="886"/>
                  <a:pt x="185" y="886"/>
                  <a:pt x="191" y="886"/>
                </a:cubicBezTo>
                <a:cubicBezTo>
                  <a:pt x="197" y="887"/>
                  <a:pt x="201" y="888"/>
                  <a:pt x="203" y="889"/>
                </a:cubicBezTo>
                <a:cubicBezTo>
                  <a:pt x="206" y="890"/>
                  <a:pt x="209" y="892"/>
                  <a:pt x="212" y="895"/>
                </a:cubicBezTo>
                <a:cubicBezTo>
                  <a:pt x="212" y="896"/>
                  <a:pt x="213" y="899"/>
                  <a:pt x="216" y="906"/>
                </a:cubicBezTo>
                <a:cubicBezTo>
                  <a:pt x="217" y="911"/>
                  <a:pt x="220" y="914"/>
                  <a:pt x="222" y="914"/>
                </a:cubicBezTo>
                <a:cubicBezTo>
                  <a:pt x="223" y="913"/>
                  <a:pt x="225" y="911"/>
                  <a:pt x="228" y="909"/>
                </a:cubicBezTo>
                <a:cubicBezTo>
                  <a:pt x="231" y="907"/>
                  <a:pt x="234" y="905"/>
                  <a:pt x="236" y="906"/>
                </a:cubicBezTo>
                <a:cubicBezTo>
                  <a:pt x="238" y="906"/>
                  <a:pt x="242" y="908"/>
                  <a:pt x="248" y="911"/>
                </a:cubicBezTo>
                <a:cubicBezTo>
                  <a:pt x="254" y="915"/>
                  <a:pt x="258" y="917"/>
                  <a:pt x="259" y="917"/>
                </a:cubicBezTo>
                <a:cubicBezTo>
                  <a:pt x="260" y="917"/>
                  <a:pt x="261" y="916"/>
                  <a:pt x="264" y="915"/>
                </a:cubicBezTo>
                <a:cubicBezTo>
                  <a:pt x="267" y="914"/>
                  <a:pt x="269" y="914"/>
                  <a:pt x="271" y="914"/>
                </a:cubicBezTo>
                <a:cubicBezTo>
                  <a:pt x="272" y="914"/>
                  <a:pt x="275" y="915"/>
                  <a:pt x="277" y="918"/>
                </a:cubicBezTo>
                <a:cubicBezTo>
                  <a:pt x="279" y="920"/>
                  <a:pt x="280" y="921"/>
                  <a:pt x="281" y="923"/>
                </a:cubicBezTo>
                <a:cubicBezTo>
                  <a:pt x="281" y="923"/>
                  <a:pt x="281" y="923"/>
                  <a:pt x="281" y="923"/>
                </a:cubicBezTo>
                <a:cubicBezTo>
                  <a:pt x="281" y="923"/>
                  <a:pt x="281" y="924"/>
                  <a:pt x="281" y="924"/>
                </a:cubicBezTo>
                <a:cubicBezTo>
                  <a:pt x="281" y="927"/>
                  <a:pt x="281" y="930"/>
                  <a:pt x="281" y="933"/>
                </a:cubicBezTo>
                <a:cubicBezTo>
                  <a:pt x="281" y="935"/>
                  <a:pt x="281" y="936"/>
                  <a:pt x="280" y="937"/>
                </a:cubicBezTo>
                <a:cubicBezTo>
                  <a:pt x="279" y="938"/>
                  <a:pt x="278" y="939"/>
                  <a:pt x="278" y="940"/>
                </a:cubicBezTo>
                <a:cubicBezTo>
                  <a:pt x="278" y="940"/>
                  <a:pt x="280" y="942"/>
                  <a:pt x="281" y="945"/>
                </a:cubicBezTo>
                <a:cubicBezTo>
                  <a:pt x="284" y="949"/>
                  <a:pt x="284" y="952"/>
                  <a:pt x="284" y="956"/>
                </a:cubicBezTo>
                <a:cubicBezTo>
                  <a:pt x="284" y="959"/>
                  <a:pt x="279" y="962"/>
                  <a:pt x="268" y="966"/>
                </a:cubicBezTo>
                <a:cubicBezTo>
                  <a:pt x="264" y="968"/>
                  <a:pt x="260" y="969"/>
                  <a:pt x="257" y="971"/>
                </a:cubicBezTo>
                <a:cubicBezTo>
                  <a:pt x="255" y="972"/>
                  <a:pt x="253" y="974"/>
                  <a:pt x="253" y="976"/>
                </a:cubicBezTo>
                <a:cubicBezTo>
                  <a:pt x="253" y="977"/>
                  <a:pt x="253" y="978"/>
                  <a:pt x="254" y="981"/>
                </a:cubicBezTo>
                <a:cubicBezTo>
                  <a:pt x="255" y="983"/>
                  <a:pt x="256" y="984"/>
                  <a:pt x="257" y="984"/>
                </a:cubicBezTo>
                <a:cubicBezTo>
                  <a:pt x="257" y="984"/>
                  <a:pt x="262" y="983"/>
                  <a:pt x="269" y="980"/>
                </a:cubicBezTo>
                <a:cubicBezTo>
                  <a:pt x="271" y="981"/>
                  <a:pt x="273" y="981"/>
                  <a:pt x="275" y="982"/>
                </a:cubicBezTo>
                <a:cubicBezTo>
                  <a:pt x="277" y="983"/>
                  <a:pt x="278" y="984"/>
                  <a:pt x="278" y="985"/>
                </a:cubicBezTo>
                <a:cubicBezTo>
                  <a:pt x="278" y="986"/>
                  <a:pt x="277" y="987"/>
                  <a:pt x="275" y="991"/>
                </a:cubicBezTo>
                <a:cubicBezTo>
                  <a:pt x="275" y="996"/>
                  <a:pt x="276" y="1000"/>
                  <a:pt x="280" y="1005"/>
                </a:cubicBezTo>
                <a:cubicBezTo>
                  <a:pt x="284" y="1009"/>
                  <a:pt x="286" y="1012"/>
                  <a:pt x="286" y="1013"/>
                </a:cubicBezTo>
                <a:cubicBezTo>
                  <a:pt x="285" y="1015"/>
                  <a:pt x="284" y="1019"/>
                  <a:pt x="283" y="1024"/>
                </a:cubicBezTo>
                <a:cubicBezTo>
                  <a:pt x="282" y="1025"/>
                  <a:pt x="283" y="1027"/>
                  <a:pt x="285" y="1029"/>
                </a:cubicBezTo>
                <a:cubicBezTo>
                  <a:pt x="287" y="1031"/>
                  <a:pt x="289" y="1032"/>
                  <a:pt x="291" y="1032"/>
                </a:cubicBezTo>
                <a:cubicBezTo>
                  <a:pt x="296" y="1032"/>
                  <a:pt x="303" y="1027"/>
                  <a:pt x="313" y="1015"/>
                </a:cubicBezTo>
                <a:cubicBezTo>
                  <a:pt x="314" y="1016"/>
                  <a:pt x="314" y="1019"/>
                  <a:pt x="314" y="1022"/>
                </a:cubicBezTo>
                <a:cubicBezTo>
                  <a:pt x="315" y="1027"/>
                  <a:pt x="316" y="1029"/>
                  <a:pt x="318" y="1029"/>
                </a:cubicBezTo>
                <a:cubicBezTo>
                  <a:pt x="320" y="1029"/>
                  <a:pt x="321" y="1029"/>
                  <a:pt x="323" y="1028"/>
                </a:cubicBezTo>
                <a:cubicBezTo>
                  <a:pt x="325" y="1026"/>
                  <a:pt x="326" y="1025"/>
                  <a:pt x="326" y="1026"/>
                </a:cubicBezTo>
                <a:cubicBezTo>
                  <a:pt x="326" y="1026"/>
                  <a:pt x="327" y="1028"/>
                  <a:pt x="329" y="1032"/>
                </a:cubicBezTo>
                <a:cubicBezTo>
                  <a:pt x="331" y="1036"/>
                  <a:pt x="333" y="1038"/>
                  <a:pt x="335" y="1038"/>
                </a:cubicBezTo>
                <a:cubicBezTo>
                  <a:pt x="335" y="1038"/>
                  <a:pt x="336" y="1038"/>
                  <a:pt x="338" y="1037"/>
                </a:cubicBezTo>
                <a:cubicBezTo>
                  <a:pt x="340" y="1036"/>
                  <a:pt x="342" y="1036"/>
                  <a:pt x="343" y="1036"/>
                </a:cubicBezTo>
                <a:cubicBezTo>
                  <a:pt x="345" y="1036"/>
                  <a:pt x="347" y="1037"/>
                  <a:pt x="350" y="1038"/>
                </a:cubicBezTo>
                <a:lnTo>
                  <a:pt x="350" y="1038"/>
                </a:lnTo>
                <a:cubicBezTo>
                  <a:pt x="350" y="1039"/>
                  <a:pt x="348" y="1041"/>
                  <a:pt x="345" y="1044"/>
                </a:cubicBezTo>
                <a:cubicBezTo>
                  <a:pt x="342" y="1047"/>
                  <a:pt x="341" y="1049"/>
                  <a:pt x="340" y="1051"/>
                </a:cubicBezTo>
                <a:cubicBezTo>
                  <a:pt x="340" y="1051"/>
                  <a:pt x="341" y="1054"/>
                  <a:pt x="341" y="1057"/>
                </a:cubicBezTo>
                <a:cubicBezTo>
                  <a:pt x="341" y="1060"/>
                  <a:pt x="338" y="1062"/>
                  <a:pt x="334" y="1064"/>
                </a:cubicBezTo>
                <a:cubicBezTo>
                  <a:pt x="329" y="1065"/>
                  <a:pt x="327" y="1066"/>
                  <a:pt x="325" y="1066"/>
                </a:cubicBezTo>
                <a:cubicBezTo>
                  <a:pt x="324" y="1066"/>
                  <a:pt x="323" y="1065"/>
                  <a:pt x="322" y="1064"/>
                </a:cubicBezTo>
                <a:cubicBezTo>
                  <a:pt x="321" y="1063"/>
                  <a:pt x="320" y="1062"/>
                  <a:pt x="319" y="1062"/>
                </a:cubicBezTo>
                <a:cubicBezTo>
                  <a:pt x="316" y="1062"/>
                  <a:pt x="311" y="1063"/>
                  <a:pt x="306" y="1066"/>
                </a:cubicBezTo>
                <a:cubicBezTo>
                  <a:pt x="305" y="1066"/>
                  <a:pt x="305" y="1067"/>
                  <a:pt x="304" y="1067"/>
                </a:cubicBezTo>
                <a:cubicBezTo>
                  <a:pt x="303" y="1070"/>
                  <a:pt x="301" y="1075"/>
                  <a:pt x="298" y="1080"/>
                </a:cubicBezTo>
                <a:cubicBezTo>
                  <a:pt x="298" y="1081"/>
                  <a:pt x="299" y="1083"/>
                  <a:pt x="301" y="1087"/>
                </a:cubicBezTo>
                <a:cubicBezTo>
                  <a:pt x="304" y="1091"/>
                  <a:pt x="306" y="1093"/>
                  <a:pt x="307" y="1093"/>
                </a:cubicBezTo>
                <a:cubicBezTo>
                  <a:pt x="307" y="1093"/>
                  <a:pt x="309" y="1092"/>
                  <a:pt x="313" y="1088"/>
                </a:cubicBezTo>
                <a:cubicBezTo>
                  <a:pt x="317" y="1085"/>
                  <a:pt x="321" y="1084"/>
                  <a:pt x="325" y="1084"/>
                </a:cubicBezTo>
                <a:cubicBezTo>
                  <a:pt x="328" y="1084"/>
                  <a:pt x="332" y="1086"/>
                  <a:pt x="337" y="1088"/>
                </a:cubicBezTo>
                <a:cubicBezTo>
                  <a:pt x="339" y="1088"/>
                  <a:pt x="346" y="1086"/>
                  <a:pt x="360" y="1082"/>
                </a:cubicBezTo>
                <a:cubicBezTo>
                  <a:pt x="374" y="1078"/>
                  <a:pt x="384" y="1075"/>
                  <a:pt x="389" y="1073"/>
                </a:cubicBezTo>
                <a:cubicBezTo>
                  <a:pt x="397" y="1069"/>
                  <a:pt x="406" y="1067"/>
                  <a:pt x="417" y="1067"/>
                </a:cubicBezTo>
                <a:cubicBezTo>
                  <a:pt x="418" y="1067"/>
                  <a:pt x="422" y="1065"/>
                  <a:pt x="430" y="1062"/>
                </a:cubicBezTo>
                <a:cubicBezTo>
                  <a:pt x="438" y="1060"/>
                  <a:pt x="443" y="1059"/>
                  <a:pt x="444" y="1059"/>
                </a:cubicBezTo>
                <a:cubicBezTo>
                  <a:pt x="446" y="1059"/>
                  <a:pt x="450" y="1060"/>
                  <a:pt x="455" y="1061"/>
                </a:cubicBezTo>
                <a:cubicBezTo>
                  <a:pt x="452" y="1063"/>
                  <a:pt x="449" y="1066"/>
                  <a:pt x="445" y="1070"/>
                </a:cubicBezTo>
                <a:cubicBezTo>
                  <a:pt x="441" y="1075"/>
                  <a:pt x="438" y="1078"/>
                  <a:pt x="436" y="1079"/>
                </a:cubicBezTo>
                <a:cubicBezTo>
                  <a:pt x="435" y="1080"/>
                  <a:pt x="432" y="1080"/>
                  <a:pt x="429" y="1080"/>
                </a:cubicBezTo>
                <a:cubicBezTo>
                  <a:pt x="426" y="1080"/>
                  <a:pt x="424" y="1081"/>
                  <a:pt x="423" y="1082"/>
                </a:cubicBezTo>
                <a:cubicBezTo>
                  <a:pt x="420" y="1086"/>
                  <a:pt x="418" y="1090"/>
                  <a:pt x="417" y="1094"/>
                </a:cubicBezTo>
                <a:cubicBezTo>
                  <a:pt x="417" y="1096"/>
                  <a:pt x="418" y="1099"/>
                  <a:pt x="420" y="1101"/>
                </a:cubicBezTo>
                <a:cubicBezTo>
                  <a:pt x="421" y="1103"/>
                  <a:pt x="422" y="1106"/>
                  <a:pt x="421" y="1109"/>
                </a:cubicBezTo>
                <a:cubicBezTo>
                  <a:pt x="421" y="1110"/>
                  <a:pt x="421" y="1110"/>
                  <a:pt x="421" y="1111"/>
                </a:cubicBezTo>
                <a:cubicBezTo>
                  <a:pt x="428" y="1113"/>
                  <a:pt x="434" y="1116"/>
                  <a:pt x="437" y="1119"/>
                </a:cubicBezTo>
                <a:lnTo>
                  <a:pt x="437" y="1120"/>
                </a:lnTo>
                <a:lnTo>
                  <a:pt x="431" y="1120"/>
                </a:lnTo>
                <a:cubicBezTo>
                  <a:pt x="429" y="1119"/>
                  <a:pt x="427" y="1120"/>
                  <a:pt x="426" y="1122"/>
                </a:cubicBezTo>
                <a:cubicBezTo>
                  <a:pt x="426" y="1122"/>
                  <a:pt x="424" y="1123"/>
                  <a:pt x="422" y="1125"/>
                </a:cubicBezTo>
                <a:cubicBezTo>
                  <a:pt x="420" y="1126"/>
                  <a:pt x="419" y="1128"/>
                  <a:pt x="419" y="1129"/>
                </a:cubicBezTo>
                <a:cubicBezTo>
                  <a:pt x="419" y="1131"/>
                  <a:pt x="420" y="1132"/>
                  <a:pt x="423" y="1133"/>
                </a:cubicBezTo>
                <a:cubicBezTo>
                  <a:pt x="426" y="1135"/>
                  <a:pt x="427" y="1136"/>
                  <a:pt x="427" y="1136"/>
                </a:cubicBezTo>
                <a:cubicBezTo>
                  <a:pt x="427" y="1136"/>
                  <a:pt x="427" y="1138"/>
                  <a:pt x="428" y="1142"/>
                </a:cubicBezTo>
                <a:cubicBezTo>
                  <a:pt x="428" y="1146"/>
                  <a:pt x="429" y="1147"/>
                  <a:pt x="430" y="1147"/>
                </a:cubicBezTo>
                <a:cubicBezTo>
                  <a:pt x="433" y="1148"/>
                  <a:pt x="436" y="1146"/>
                  <a:pt x="438" y="1141"/>
                </a:cubicBezTo>
                <a:cubicBezTo>
                  <a:pt x="441" y="1137"/>
                  <a:pt x="442" y="1133"/>
                  <a:pt x="442" y="1130"/>
                </a:cubicBezTo>
                <a:cubicBezTo>
                  <a:pt x="442" y="1128"/>
                  <a:pt x="441" y="1126"/>
                  <a:pt x="442" y="1125"/>
                </a:cubicBezTo>
                <a:cubicBezTo>
                  <a:pt x="442" y="1124"/>
                  <a:pt x="443" y="1123"/>
                  <a:pt x="446" y="1123"/>
                </a:cubicBezTo>
                <a:cubicBezTo>
                  <a:pt x="450" y="1122"/>
                  <a:pt x="451" y="1122"/>
                  <a:pt x="452" y="1122"/>
                </a:cubicBezTo>
                <a:cubicBezTo>
                  <a:pt x="453" y="1121"/>
                  <a:pt x="455" y="1119"/>
                  <a:pt x="458" y="1115"/>
                </a:cubicBezTo>
                <a:cubicBezTo>
                  <a:pt x="454" y="1114"/>
                  <a:pt x="452" y="1114"/>
                  <a:pt x="451" y="1114"/>
                </a:cubicBezTo>
                <a:cubicBezTo>
                  <a:pt x="451" y="1108"/>
                  <a:pt x="451" y="1106"/>
                  <a:pt x="451" y="1104"/>
                </a:cubicBezTo>
                <a:cubicBezTo>
                  <a:pt x="451" y="1101"/>
                  <a:pt x="454" y="1099"/>
                  <a:pt x="458" y="1097"/>
                </a:cubicBezTo>
                <a:cubicBezTo>
                  <a:pt x="459" y="1100"/>
                  <a:pt x="460" y="1101"/>
                  <a:pt x="461" y="1101"/>
                </a:cubicBezTo>
                <a:cubicBezTo>
                  <a:pt x="465" y="1101"/>
                  <a:pt x="467" y="1100"/>
                  <a:pt x="469" y="1097"/>
                </a:cubicBezTo>
                <a:cubicBezTo>
                  <a:pt x="471" y="1094"/>
                  <a:pt x="473" y="1092"/>
                  <a:pt x="475" y="1093"/>
                </a:cubicBezTo>
                <a:cubicBezTo>
                  <a:pt x="478" y="1093"/>
                  <a:pt x="481" y="1095"/>
                  <a:pt x="485" y="1099"/>
                </a:cubicBezTo>
                <a:cubicBezTo>
                  <a:pt x="487" y="1099"/>
                  <a:pt x="488" y="1098"/>
                  <a:pt x="490" y="1095"/>
                </a:cubicBezTo>
                <a:cubicBezTo>
                  <a:pt x="492" y="1093"/>
                  <a:pt x="493" y="1092"/>
                  <a:pt x="495" y="1092"/>
                </a:cubicBezTo>
                <a:cubicBezTo>
                  <a:pt x="499" y="1093"/>
                  <a:pt x="501" y="1096"/>
                  <a:pt x="503" y="1103"/>
                </a:cubicBezTo>
                <a:cubicBezTo>
                  <a:pt x="505" y="1110"/>
                  <a:pt x="507" y="1113"/>
                  <a:pt x="508" y="1113"/>
                </a:cubicBezTo>
                <a:cubicBezTo>
                  <a:pt x="510" y="1114"/>
                  <a:pt x="511" y="1113"/>
                  <a:pt x="512" y="1112"/>
                </a:cubicBezTo>
                <a:cubicBezTo>
                  <a:pt x="514" y="1111"/>
                  <a:pt x="515" y="1110"/>
                  <a:pt x="517" y="1111"/>
                </a:cubicBezTo>
                <a:cubicBezTo>
                  <a:pt x="520" y="1111"/>
                  <a:pt x="521" y="1111"/>
                  <a:pt x="522" y="1112"/>
                </a:cubicBezTo>
                <a:cubicBezTo>
                  <a:pt x="525" y="1112"/>
                  <a:pt x="527" y="1114"/>
                  <a:pt x="529" y="1117"/>
                </a:cubicBezTo>
                <a:cubicBezTo>
                  <a:pt x="531" y="1120"/>
                  <a:pt x="535" y="1122"/>
                  <a:pt x="540" y="1123"/>
                </a:cubicBezTo>
                <a:cubicBezTo>
                  <a:pt x="542" y="1123"/>
                  <a:pt x="544" y="1121"/>
                  <a:pt x="544" y="1118"/>
                </a:cubicBezTo>
                <a:cubicBezTo>
                  <a:pt x="544" y="1116"/>
                  <a:pt x="544" y="1114"/>
                  <a:pt x="544" y="1113"/>
                </a:cubicBezTo>
                <a:cubicBezTo>
                  <a:pt x="544" y="1112"/>
                  <a:pt x="545" y="1110"/>
                  <a:pt x="548" y="1106"/>
                </a:cubicBezTo>
                <a:cubicBezTo>
                  <a:pt x="551" y="1103"/>
                  <a:pt x="553" y="1101"/>
                  <a:pt x="554" y="1101"/>
                </a:cubicBezTo>
                <a:cubicBezTo>
                  <a:pt x="557" y="1101"/>
                  <a:pt x="560" y="1103"/>
                  <a:pt x="565" y="1105"/>
                </a:cubicBezTo>
                <a:cubicBezTo>
                  <a:pt x="571" y="1108"/>
                  <a:pt x="573" y="1111"/>
                  <a:pt x="573" y="1113"/>
                </a:cubicBezTo>
                <a:cubicBezTo>
                  <a:pt x="573" y="1115"/>
                  <a:pt x="572" y="1117"/>
                  <a:pt x="570" y="1120"/>
                </a:cubicBezTo>
                <a:cubicBezTo>
                  <a:pt x="569" y="1123"/>
                  <a:pt x="568" y="1125"/>
                  <a:pt x="568" y="1126"/>
                </a:cubicBezTo>
                <a:cubicBezTo>
                  <a:pt x="567" y="1129"/>
                  <a:pt x="568" y="1130"/>
                  <a:pt x="570" y="1131"/>
                </a:cubicBezTo>
                <a:cubicBezTo>
                  <a:pt x="571" y="1131"/>
                  <a:pt x="574" y="1130"/>
                  <a:pt x="579" y="1130"/>
                </a:cubicBezTo>
                <a:cubicBezTo>
                  <a:pt x="582" y="1130"/>
                  <a:pt x="583" y="1131"/>
                  <a:pt x="583" y="1132"/>
                </a:cubicBezTo>
                <a:cubicBezTo>
                  <a:pt x="584" y="1132"/>
                  <a:pt x="584" y="1134"/>
                  <a:pt x="583" y="1138"/>
                </a:cubicBezTo>
                <a:cubicBezTo>
                  <a:pt x="583" y="1139"/>
                  <a:pt x="583" y="1141"/>
                  <a:pt x="584" y="1142"/>
                </a:cubicBezTo>
                <a:cubicBezTo>
                  <a:pt x="585" y="1144"/>
                  <a:pt x="585" y="1145"/>
                  <a:pt x="585" y="1147"/>
                </a:cubicBezTo>
                <a:cubicBezTo>
                  <a:pt x="585" y="1147"/>
                  <a:pt x="584" y="1150"/>
                  <a:pt x="583" y="1153"/>
                </a:cubicBezTo>
                <a:cubicBezTo>
                  <a:pt x="582" y="1156"/>
                  <a:pt x="583" y="1157"/>
                  <a:pt x="584" y="1158"/>
                </a:cubicBezTo>
                <a:cubicBezTo>
                  <a:pt x="587" y="1159"/>
                  <a:pt x="589" y="1160"/>
                  <a:pt x="591" y="1163"/>
                </a:cubicBezTo>
                <a:cubicBezTo>
                  <a:pt x="595" y="1164"/>
                  <a:pt x="600" y="1166"/>
                  <a:pt x="606" y="1168"/>
                </a:cubicBezTo>
                <a:cubicBezTo>
                  <a:pt x="607" y="1169"/>
                  <a:pt x="613" y="1172"/>
                  <a:pt x="623" y="1178"/>
                </a:cubicBezTo>
                <a:cubicBezTo>
                  <a:pt x="624" y="1178"/>
                  <a:pt x="625" y="1177"/>
                  <a:pt x="628" y="1177"/>
                </a:cubicBezTo>
                <a:cubicBezTo>
                  <a:pt x="630" y="1176"/>
                  <a:pt x="632" y="1176"/>
                  <a:pt x="634" y="1176"/>
                </a:cubicBezTo>
                <a:cubicBezTo>
                  <a:pt x="636" y="1176"/>
                  <a:pt x="639" y="1177"/>
                  <a:pt x="642" y="1179"/>
                </a:cubicBezTo>
                <a:cubicBezTo>
                  <a:pt x="645" y="1181"/>
                  <a:pt x="647" y="1182"/>
                  <a:pt x="649" y="1182"/>
                </a:cubicBezTo>
                <a:cubicBezTo>
                  <a:pt x="651" y="1183"/>
                  <a:pt x="653" y="1182"/>
                  <a:pt x="655" y="1182"/>
                </a:cubicBezTo>
                <a:cubicBezTo>
                  <a:pt x="656" y="1181"/>
                  <a:pt x="658" y="1181"/>
                  <a:pt x="659" y="1181"/>
                </a:cubicBezTo>
                <a:cubicBezTo>
                  <a:pt x="662" y="1182"/>
                  <a:pt x="664" y="1183"/>
                  <a:pt x="666" y="1185"/>
                </a:cubicBezTo>
                <a:cubicBezTo>
                  <a:pt x="669" y="1187"/>
                  <a:pt x="671" y="1189"/>
                  <a:pt x="674" y="1189"/>
                </a:cubicBezTo>
                <a:lnTo>
                  <a:pt x="685" y="1187"/>
                </a:lnTo>
                <a:cubicBezTo>
                  <a:pt x="687" y="1187"/>
                  <a:pt x="688" y="1185"/>
                  <a:pt x="690" y="1183"/>
                </a:cubicBezTo>
                <a:cubicBezTo>
                  <a:pt x="691" y="1181"/>
                  <a:pt x="692" y="1179"/>
                  <a:pt x="693" y="1178"/>
                </a:cubicBezTo>
                <a:cubicBezTo>
                  <a:pt x="695" y="1176"/>
                  <a:pt x="699" y="1175"/>
                  <a:pt x="704" y="1175"/>
                </a:cubicBezTo>
                <a:cubicBezTo>
                  <a:pt x="707" y="1175"/>
                  <a:pt x="711" y="1173"/>
                  <a:pt x="714" y="1169"/>
                </a:cubicBezTo>
                <a:cubicBezTo>
                  <a:pt x="716" y="1169"/>
                  <a:pt x="720" y="1168"/>
                  <a:pt x="724" y="1167"/>
                </a:cubicBezTo>
                <a:cubicBezTo>
                  <a:pt x="728" y="1166"/>
                  <a:pt x="731" y="1163"/>
                  <a:pt x="733" y="1160"/>
                </a:cubicBezTo>
                <a:cubicBezTo>
                  <a:pt x="739" y="1149"/>
                  <a:pt x="745" y="1144"/>
                  <a:pt x="751" y="1145"/>
                </a:cubicBezTo>
                <a:cubicBezTo>
                  <a:pt x="752" y="1145"/>
                  <a:pt x="754" y="1146"/>
                  <a:pt x="757" y="1147"/>
                </a:cubicBezTo>
                <a:cubicBezTo>
                  <a:pt x="762" y="1148"/>
                  <a:pt x="764" y="1150"/>
                  <a:pt x="765" y="1151"/>
                </a:cubicBezTo>
                <a:cubicBezTo>
                  <a:pt x="766" y="1151"/>
                  <a:pt x="768" y="1152"/>
                  <a:pt x="772" y="1153"/>
                </a:cubicBezTo>
                <a:cubicBezTo>
                  <a:pt x="775" y="1154"/>
                  <a:pt x="776" y="1155"/>
                  <a:pt x="776" y="1157"/>
                </a:cubicBezTo>
                <a:cubicBezTo>
                  <a:pt x="778" y="1157"/>
                  <a:pt x="780" y="1155"/>
                  <a:pt x="784" y="1150"/>
                </a:cubicBezTo>
                <a:cubicBezTo>
                  <a:pt x="787" y="1145"/>
                  <a:pt x="789" y="1142"/>
                  <a:pt x="789" y="1142"/>
                </a:cubicBezTo>
                <a:cubicBezTo>
                  <a:pt x="789" y="1138"/>
                  <a:pt x="788" y="1135"/>
                  <a:pt x="785" y="1131"/>
                </a:cubicBezTo>
                <a:cubicBezTo>
                  <a:pt x="781" y="1127"/>
                  <a:pt x="780" y="1125"/>
                  <a:pt x="780" y="1123"/>
                </a:cubicBezTo>
                <a:cubicBezTo>
                  <a:pt x="780" y="1121"/>
                  <a:pt x="783" y="1117"/>
                  <a:pt x="788" y="1110"/>
                </a:cubicBezTo>
                <a:cubicBezTo>
                  <a:pt x="793" y="1103"/>
                  <a:pt x="796" y="1099"/>
                  <a:pt x="796" y="1097"/>
                </a:cubicBezTo>
                <a:cubicBezTo>
                  <a:pt x="796" y="1096"/>
                  <a:pt x="794" y="1093"/>
                  <a:pt x="791" y="1089"/>
                </a:cubicBezTo>
                <a:cubicBezTo>
                  <a:pt x="788" y="1084"/>
                  <a:pt x="786" y="1079"/>
                  <a:pt x="787" y="1074"/>
                </a:cubicBezTo>
                <a:cubicBezTo>
                  <a:pt x="788" y="1074"/>
                  <a:pt x="788" y="1073"/>
                  <a:pt x="788" y="1072"/>
                </a:cubicBezTo>
                <a:cubicBezTo>
                  <a:pt x="788" y="1071"/>
                  <a:pt x="787" y="1069"/>
                  <a:pt x="785" y="1066"/>
                </a:cubicBezTo>
                <a:cubicBezTo>
                  <a:pt x="783" y="1063"/>
                  <a:pt x="782" y="1061"/>
                  <a:pt x="783" y="1058"/>
                </a:cubicBezTo>
                <a:cubicBezTo>
                  <a:pt x="783" y="1055"/>
                  <a:pt x="785" y="1052"/>
                  <a:pt x="789" y="1050"/>
                </a:cubicBezTo>
                <a:cubicBezTo>
                  <a:pt x="790" y="1049"/>
                  <a:pt x="791" y="1048"/>
                  <a:pt x="792" y="1046"/>
                </a:cubicBezTo>
                <a:cubicBezTo>
                  <a:pt x="793" y="1043"/>
                  <a:pt x="793" y="1042"/>
                  <a:pt x="795" y="1041"/>
                </a:cubicBezTo>
                <a:cubicBezTo>
                  <a:pt x="799" y="1039"/>
                  <a:pt x="806" y="1037"/>
                  <a:pt x="816" y="1037"/>
                </a:cubicBezTo>
                <a:cubicBezTo>
                  <a:pt x="819" y="1037"/>
                  <a:pt x="826" y="1036"/>
                  <a:pt x="840" y="1034"/>
                </a:cubicBezTo>
                <a:cubicBezTo>
                  <a:pt x="847" y="1032"/>
                  <a:pt x="853" y="1032"/>
                  <a:pt x="859" y="1032"/>
                </a:cubicBezTo>
                <a:cubicBezTo>
                  <a:pt x="859" y="1032"/>
                  <a:pt x="860" y="1032"/>
                  <a:pt x="860" y="1032"/>
                </a:cubicBezTo>
                <a:cubicBezTo>
                  <a:pt x="862" y="1032"/>
                  <a:pt x="863" y="1032"/>
                  <a:pt x="864" y="1032"/>
                </a:cubicBezTo>
                <a:cubicBezTo>
                  <a:pt x="874" y="1032"/>
                  <a:pt x="882" y="1031"/>
                  <a:pt x="888" y="1032"/>
                </a:cubicBezTo>
                <a:cubicBezTo>
                  <a:pt x="891" y="1032"/>
                  <a:pt x="899" y="1035"/>
                  <a:pt x="910" y="1039"/>
                </a:cubicBezTo>
                <a:cubicBezTo>
                  <a:pt x="921" y="1043"/>
                  <a:pt x="929" y="1045"/>
                  <a:pt x="933" y="1046"/>
                </a:cubicBezTo>
                <a:cubicBezTo>
                  <a:pt x="938" y="1047"/>
                  <a:pt x="946" y="1049"/>
                  <a:pt x="955" y="1054"/>
                </a:cubicBezTo>
                <a:cubicBezTo>
                  <a:pt x="965" y="1059"/>
                  <a:pt x="972" y="1061"/>
                  <a:pt x="977" y="1062"/>
                </a:cubicBezTo>
                <a:cubicBezTo>
                  <a:pt x="979" y="1062"/>
                  <a:pt x="983" y="1062"/>
                  <a:pt x="987" y="1061"/>
                </a:cubicBezTo>
                <a:cubicBezTo>
                  <a:pt x="992" y="1060"/>
                  <a:pt x="995" y="1060"/>
                  <a:pt x="997" y="1060"/>
                </a:cubicBezTo>
                <a:cubicBezTo>
                  <a:pt x="998" y="1060"/>
                  <a:pt x="1002" y="1063"/>
                  <a:pt x="1009" y="1068"/>
                </a:cubicBezTo>
                <a:cubicBezTo>
                  <a:pt x="1016" y="1074"/>
                  <a:pt x="1021" y="1078"/>
                  <a:pt x="1023" y="1080"/>
                </a:cubicBezTo>
                <a:cubicBezTo>
                  <a:pt x="1024" y="1083"/>
                  <a:pt x="1029" y="1086"/>
                  <a:pt x="1035" y="1091"/>
                </a:cubicBezTo>
                <a:cubicBezTo>
                  <a:pt x="1041" y="1095"/>
                  <a:pt x="1045" y="1099"/>
                  <a:pt x="1047" y="1102"/>
                </a:cubicBezTo>
                <a:cubicBezTo>
                  <a:pt x="1049" y="1105"/>
                  <a:pt x="1059" y="1110"/>
                  <a:pt x="1077" y="1117"/>
                </a:cubicBezTo>
                <a:cubicBezTo>
                  <a:pt x="1094" y="1125"/>
                  <a:pt x="1106" y="1128"/>
                  <a:pt x="1113" y="1129"/>
                </a:cubicBezTo>
                <a:cubicBezTo>
                  <a:pt x="1124" y="1130"/>
                  <a:pt x="1140" y="1126"/>
                  <a:pt x="1161" y="1116"/>
                </a:cubicBezTo>
                <a:cubicBezTo>
                  <a:pt x="1161" y="1116"/>
                  <a:pt x="1169" y="1112"/>
                  <a:pt x="1182" y="1105"/>
                </a:cubicBezTo>
                <a:cubicBezTo>
                  <a:pt x="1190" y="1102"/>
                  <a:pt x="1195" y="1099"/>
                  <a:pt x="1198" y="1099"/>
                </a:cubicBezTo>
                <a:cubicBezTo>
                  <a:pt x="1199" y="1098"/>
                  <a:pt x="1202" y="1097"/>
                  <a:pt x="1209" y="1095"/>
                </a:cubicBezTo>
                <a:cubicBezTo>
                  <a:pt x="1213" y="1094"/>
                  <a:pt x="1217" y="1093"/>
                  <a:pt x="1221" y="1093"/>
                </a:cubicBezTo>
                <a:cubicBezTo>
                  <a:pt x="1228" y="1094"/>
                  <a:pt x="1235" y="1091"/>
                  <a:pt x="1241" y="1087"/>
                </a:cubicBezTo>
                <a:cubicBezTo>
                  <a:pt x="1242" y="1085"/>
                  <a:pt x="1245" y="1084"/>
                  <a:pt x="1249" y="1083"/>
                </a:cubicBezTo>
                <a:cubicBezTo>
                  <a:pt x="1253" y="1083"/>
                  <a:pt x="1256" y="1081"/>
                  <a:pt x="1258" y="1079"/>
                </a:cubicBezTo>
                <a:cubicBezTo>
                  <a:pt x="1259" y="1078"/>
                  <a:pt x="1262" y="1075"/>
                  <a:pt x="1266" y="1071"/>
                </a:cubicBezTo>
                <a:cubicBezTo>
                  <a:pt x="1269" y="1069"/>
                  <a:pt x="1271" y="1066"/>
                  <a:pt x="1272" y="1064"/>
                </a:cubicBezTo>
                <a:cubicBezTo>
                  <a:pt x="1272" y="1063"/>
                  <a:pt x="1272" y="1062"/>
                  <a:pt x="1272" y="1061"/>
                </a:cubicBezTo>
                <a:cubicBezTo>
                  <a:pt x="1272" y="1058"/>
                  <a:pt x="1274" y="1056"/>
                  <a:pt x="1277" y="1056"/>
                </a:cubicBezTo>
                <a:lnTo>
                  <a:pt x="1287" y="1053"/>
                </a:lnTo>
                <a:cubicBezTo>
                  <a:pt x="1297" y="1052"/>
                  <a:pt x="1302" y="1046"/>
                  <a:pt x="1303" y="1037"/>
                </a:cubicBezTo>
                <a:cubicBezTo>
                  <a:pt x="1302" y="1035"/>
                  <a:pt x="1302" y="1033"/>
                  <a:pt x="1302" y="1031"/>
                </a:cubicBezTo>
                <a:cubicBezTo>
                  <a:pt x="1302" y="1029"/>
                  <a:pt x="1304" y="1026"/>
                  <a:pt x="1306" y="1023"/>
                </a:cubicBezTo>
                <a:cubicBezTo>
                  <a:pt x="1307" y="1021"/>
                  <a:pt x="1309" y="1019"/>
                  <a:pt x="1311" y="1016"/>
                </a:cubicBezTo>
                <a:cubicBezTo>
                  <a:pt x="1312" y="1015"/>
                  <a:pt x="1313" y="1012"/>
                  <a:pt x="1315" y="1007"/>
                </a:cubicBezTo>
                <a:cubicBezTo>
                  <a:pt x="1317" y="1002"/>
                  <a:pt x="1318" y="999"/>
                  <a:pt x="1319" y="998"/>
                </a:cubicBezTo>
                <a:cubicBezTo>
                  <a:pt x="1322" y="996"/>
                  <a:pt x="1326" y="991"/>
                  <a:pt x="1330" y="985"/>
                </a:cubicBezTo>
                <a:cubicBezTo>
                  <a:pt x="1334" y="977"/>
                  <a:pt x="1337" y="972"/>
                  <a:pt x="1340" y="970"/>
                </a:cubicBezTo>
                <a:cubicBezTo>
                  <a:pt x="1342" y="967"/>
                  <a:pt x="1345" y="963"/>
                  <a:pt x="1350" y="955"/>
                </a:cubicBezTo>
                <a:cubicBezTo>
                  <a:pt x="1354" y="950"/>
                  <a:pt x="1358" y="946"/>
                  <a:pt x="1363" y="945"/>
                </a:cubicBezTo>
                <a:cubicBezTo>
                  <a:pt x="1369" y="943"/>
                  <a:pt x="1380" y="942"/>
                  <a:pt x="1396" y="941"/>
                </a:cubicBezTo>
                <a:cubicBezTo>
                  <a:pt x="1397" y="941"/>
                  <a:pt x="1400" y="942"/>
                  <a:pt x="1405" y="945"/>
                </a:cubicBezTo>
                <a:cubicBezTo>
                  <a:pt x="1410" y="948"/>
                  <a:pt x="1414" y="950"/>
                  <a:pt x="1416" y="950"/>
                </a:cubicBezTo>
                <a:cubicBezTo>
                  <a:pt x="1417" y="951"/>
                  <a:pt x="1420" y="950"/>
                  <a:pt x="1424" y="949"/>
                </a:cubicBezTo>
                <a:lnTo>
                  <a:pt x="1428" y="951"/>
                </a:lnTo>
                <a:moveTo>
                  <a:pt x="86" y="560"/>
                </a:moveTo>
                <a:lnTo>
                  <a:pt x="86" y="560"/>
                </a:lnTo>
                <a:cubicBezTo>
                  <a:pt x="89" y="557"/>
                  <a:pt x="91" y="555"/>
                  <a:pt x="91" y="554"/>
                </a:cubicBezTo>
                <a:cubicBezTo>
                  <a:pt x="93" y="553"/>
                  <a:pt x="95" y="552"/>
                  <a:pt x="96" y="551"/>
                </a:cubicBezTo>
                <a:cubicBezTo>
                  <a:pt x="98" y="549"/>
                  <a:pt x="99" y="548"/>
                  <a:pt x="99" y="547"/>
                </a:cubicBezTo>
                <a:cubicBezTo>
                  <a:pt x="100" y="546"/>
                  <a:pt x="101" y="545"/>
                  <a:pt x="101" y="544"/>
                </a:cubicBezTo>
                <a:cubicBezTo>
                  <a:pt x="100" y="539"/>
                  <a:pt x="100" y="536"/>
                  <a:pt x="101" y="535"/>
                </a:cubicBezTo>
                <a:cubicBezTo>
                  <a:pt x="101" y="531"/>
                  <a:pt x="103" y="527"/>
                  <a:pt x="107" y="524"/>
                </a:cubicBezTo>
                <a:cubicBezTo>
                  <a:pt x="113" y="520"/>
                  <a:pt x="116" y="518"/>
                  <a:pt x="118" y="516"/>
                </a:cubicBezTo>
                <a:cubicBezTo>
                  <a:pt x="126" y="509"/>
                  <a:pt x="131" y="502"/>
                  <a:pt x="133" y="496"/>
                </a:cubicBezTo>
                <a:cubicBezTo>
                  <a:pt x="137" y="488"/>
                  <a:pt x="142" y="481"/>
                  <a:pt x="151" y="476"/>
                </a:cubicBezTo>
                <a:cubicBezTo>
                  <a:pt x="157" y="473"/>
                  <a:pt x="161" y="471"/>
                  <a:pt x="163" y="470"/>
                </a:cubicBezTo>
                <a:cubicBezTo>
                  <a:pt x="164" y="469"/>
                  <a:pt x="166" y="467"/>
                  <a:pt x="167" y="465"/>
                </a:cubicBezTo>
                <a:cubicBezTo>
                  <a:pt x="170" y="462"/>
                  <a:pt x="171" y="460"/>
                  <a:pt x="171" y="459"/>
                </a:cubicBezTo>
                <a:cubicBezTo>
                  <a:pt x="172" y="458"/>
                  <a:pt x="174" y="457"/>
                  <a:pt x="177" y="456"/>
                </a:cubicBezTo>
                <a:cubicBezTo>
                  <a:pt x="180" y="455"/>
                  <a:pt x="182" y="454"/>
                  <a:pt x="182" y="453"/>
                </a:cubicBezTo>
                <a:cubicBezTo>
                  <a:pt x="186" y="449"/>
                  <a:pt x="190" y="446"/>
                  <a:pt x="193" y="446"/>
                </a:cubicBezTo>
                <a:cubicBezTo>
                  <a:pt x="201" y="445"/>
                  <a:pt x="208" y="440"/>
                  <a:pt x="214" y="431"/>
                </a:cubicBezTo>
                <a:cubicBezTo>
                  <a:pt x="223" y="420"/>
                  <a:pt x="229" y="413"/>
                  <a:pt x="231" y="408"/>
                </a:cubicBezTo>
                <a:cubicBezTo>
                  <a:pt x="236" y="402"/>
                  <a:pt x="238" y="394"/>
                  <a:pt x="240" y="383"/>
                </a:cubicBezTo>
                <a:cubicBezTo>
                  <a:pt x="240" y="381"/>
                  <a:pt x="243" y="377"/>
                  <a:pt x="248" y="373"/>
                </a:cubicBezTo>
                <a:cubicBezTo>
                  <a:pt x="253" y="370"/>
                  <a:pt x="256" y="368"/>
                  <a:pt x="258" y="367"/>
                </a:cubicBezTo>
                <a:cubicBezTo>
                  <a:pt x="263" y="367"/>
                  <a:pt x="272" y="367"/>
                  <a:pt x="286" y="369"/>
                </a:cubicBezTo>
                <a:cubicBezTo>
                  <a:pt x="292" y="369"/>
                  <a:pt x="297" y="367"/>
                  <a:pt x="300" y="363"/>
                </a:cubicBezTo>
                <a:cubicBezTo>
                  <a:pt x="309" y="354"/>
                  <a:pt x="315" y="349"/>
                  <a:pt x="317" y="347"/>
                </a:cubicBezTo>
                <a:cubicBezTo>
                  <a:pt x="322" y="344"/>
                  <a:pt x="330" y="344"/>
                  <a:pt x="340" y="345"/>
                </a:cubicBezTo>
                <a:cubicBezTo>
                  <a:pt x="343" y="345"/>
                  <a:pt x="349" y="346"/>
                  <a:pt x="360" y="349"/>
                </a:cubicBezTo>
                <a:cubicBezTo>
                  <a:pt x="371" y="351"/>
                  <a:pt x="377" y="352"/>
                  <a:pt x="379" y="353"/>
                </a:cubicBezTo>
                <a:cubicBezTo>
                  <a:pt x="380" y="351"/>
                  <a:pt x="380" y="350"/>
                  <a:pt x="380" y="349"/>
                </a:cubicBezTo>
                <a:cubicBezTo>
                  <a:pt x="376" y="343"/>
                  <a:pt x="374" y="340"/>
                  <a:pt x="374" y="340"/>
                </a:cubicBezTo>
                <a:lnTo>
                  <a:pt x="375" y="340"/>
                </a:lnTo>
                <a:cubicBezTo>
                  <a:pt x="382" y="347"/>
                  <a:pt x="386" y="353"/>
                  <a:pt x="387" y="357"/>
                </a:cubicBezTo>
                <a:cubicBezTo>
                  <a:pt x="388" y="357"/>
                  <a:pt x="393" y="356"/>
                  <a:pt x="403" y="354"/>
                </a:cubicBezTo>
                <a:cubicBezTo>
                  <a:pt x="411" y="353"/>
                  <a:pt x="417" y="351"/>
                  <a:pt x="422" y="350"/>
                </a:cubicBezTo>
                <a:cubicBezTo>
                  <a:pt x="438" y="345"/>
                  <a:pt x="446" y="338"/>
                  <a:pt x="447" y="327"/>
                </a:cubicBezTo>
                <a:cubicBezTo>
                  <a:pt x="448" y="325"/>
                  <a:pt x="447" y="323"/>
                  <a:pt x="445" y="320"/>
                </a:cubicBezTo>
                <a:cubicBezTo>
                  <a:pt x="443" y="317"/>
                  <a:pt x="443" y="315"/>
                  <a:pt x="443" y="313"/>
                </a:cubicBezTo>
                <a:cubicBezTo>
                  <a:pt x="443" y="312"/>
                  <a:pt x="444" y="311"/>
                  <a:pt x="445" y="309"/>
                </a:cubicBezTo>
                <a:cubicBezTo>
                  <a:pt x="447" y="307"/>
                  <a:pt x="448" y="306"/>
                  <a:pt x="448" y="304"/>
                </a:cubicBezTo>
                <a:cubicBezTo>
                  <a:pt x="447" y="302"/>
                  <a:pt x="446" y="300"/>
                  <a:pt x="446" y="298"/>
                </a:cubicBezTo>
                <a:cubicBezTo>
                  <a:pt x="421" y="295"/>
                  <a:pt x="403" y="291"/>
                  <a:pt x="393" y="289"/>
                </a:cubicBezTo>
                <a:cubicBezTo>
                  <a:pt x="377" y="286"/>
                  <a:pt x="361" y="280"/>
                  <a:pt x="345" y="273"/>
                </a:cubicBezTo>
                <a:cubicBezTo>
                  <a:pt x="335" y="269"/>
                  <a:pt x="328" y="266"/>
                  <a:pt x="323" y="264"/>
                </a:cubicBezTo>
                <a:cubicBezTo>
                  <a:pt x="314" y="260"/>
                  <a:pt x="308" y="256"/>
                  <a:pt x="304" y="251"/>
                </a:cubicBezTo>
                <a:cubicBezTo>
                  <a:pt x="297" y="243"/>
                  <a:pt x="291" y="237"/>
                  <a:pt x="288" y="232"/>
                </a:cubicBezTo>
                <a:cubicBezTo>
                  <a:pt x="281" y="223"/>
                  <a:pt x="278" y="217"/>
                  <a:pt x="278" y="214"/>
                </a:cubicBezTo>
                <a:cubicBezTo>
                  <a:pt x="278" y="213"/>
                  <a:pt x="280" y="211"/>
                  <a:pt x="282" y="210"/>
                </a:cubicBezTo>
                <a:cubicBezTo>
                  <a:pt x="285" y="208"/>
                  <a:pt x="286" y="206"/>
                  <a:pt x="287" y="204"/>
                </a:cubicBezTo>
                <a:cubicBezTo>
                  <a:pt x="287" y="198"/>
                  <a:pt x="286" y="192"/>
                  <a:pt x="283" y="186"/>
                </a:cubicBezTo>
                <a:lnTo>
                  <a:pt x="283" y="186"/>
                </a:lnTo>
                <a:cubicBezTo>
                  <a:pt x="279" y="187"/>
                  <a:pt x="275" y="187"/>
                  <a:pt x="270" y="186"/>
                </a:cubicBezTo>
                <a:cubicBezTo>
                  <a:pt x="264" y="185"/>
                  <a:pt x="259" y="184"/>
                  <a:pt x="256" y="184"/>
                </a:cubicBezTo>
                <a:cubicBezTo>
                  <a:pt x="258" y="190"/>
                  <a:pt x="257" y="193"/>
                  <a:pt x="252" y="194"/>
                </a:cubicBezTo>
                <a:cubicBezTo>
                  <a:pt x="246" y="195"/>
                  <a:pt x="241" y="195"/>
                  <a:pt x="238" y="196"/>
                </a:cubicBezTo>
                <a:cubicBezTo>
                  <a:pt x="237" y="196"/>
                  <a:pt x="234" y="198"/>
                  <a:pt x="229" y="201"/>
                </a:cubicBezTo>
                <a:cubicBezTo>
                  <a:pt x="225" y="203"/>
                  <a:pt x="221" y="204"/>
                  <a:pt x="217" y="203"/>
                </a:cubicBezTo>
                <a:cubicBezTo>
                  <a:pt x="209" y="202"/>
                  <a:pt x="202" y="199"/>
                  <a:pt x="197" y="193"/>
                </a:cubicBezTo>
                <a:cubicBezTo>
                  <a:pt x="192" y="186"/>
                  <a:pt x="186" y="183"/>
                  <a:pt x="181" y="183"/>
                </a:cubicBezTo>
                <a:cubicBezTo>
                  <a:pt x="178" y="182"/>
                  <a:pt x="176" y="183"/>
                  <a:pt x="173" y="184"/>
                </a:cubicBezTo>
                <a:cubicBezTo>
                  <a:pt x="171" y="186"/>
                  <a:pt x="170" y="187"/>
                  <a:pt x="171" y="190"/>
                </a:cubicBezTo>
                <a:cubicBezTo>
                  <a:pt x="161" y="187"/>
                  <a:pt x="152" y="189"/>
                  <a:pt x="145" y="195"/>
                </a:cubicBezTo>
                <a:cubicBezTo>
                  <a:pt x="143" y="197"/>
                  <a:pt x="141" y="199"/>
                  <a:pt x="137" y="203"/>
                </a:cubicBezTo>
                <a:cubicBezTo>
                  <a:pt x="133" y="206"/>
                  <a:pt x="130" y="207"/>
                  <a:pt x="126" y="208"/>
                </a:cubicBezTo>
                <a:cubicBezTo>
                  <a:pt x="113" y="209"/>
                  <a:pt x="104" y="211"/>
                  <a:pt x="99" y="213"/>
                </a:cubicBezTo>
                <a:cubicBezTo>
                  <a:pt x="88" y="216"/>
                  <a:pt x="85" y="225"/>
                  <a:pt x="89" y="238"/>
                </a:cubicBezTo>
                <a:cubicBezTo>
                  <a:pt x="81" y="239"/>
                  <a:pt x="74" y="243"/>
                  <a:pt x="68" y="250"/>
                </a:cubicBezTo>
                <a:cubicBezTo>
                  <a:pt x="64" y="255"/>
                  <a:pt x="62" y="260"/>
                  <a:pt x="60" y="267"/>
                </a:cubicBezTo>
                <a:cubicBezTo>
                  <a:pt x="63" y="268"/>
                  <a:pt x="67" y="269"/>
                  <a:pt x="70" y="269"/>
                </a:cubicBezTo>
                <a:cubicBezTo>
                  <a:pt x="74" y="269"/>
                  <a:pt x="79" y="270"/>
                  <a:pt x="82" y="272"/>
                </a:cubicBezTo>
                <a:cubicBezTo>
                  <a:pt x="84" y="273"/>
                  <a:pt x="88" y="276"/>
                  <a:pt x="92" y="279"/>
                </a:cubicBezTo>
                <a:cubicBezTo>
                  <a:pt x="92" y="279"/>
                  <a:pt x="94" y="279"/>
                  <a:pt x="97" y="280"/>
                </a:cubicBezTo>
                <a:cubicBezTo>
                  <a:pt x="99" y="280"/>
                  <a:pt x="101" y="282"/>
                  <a:pt x="101" y="284"/>
                </a:cubicBezTo>
                <a:cubicBezTo>
                  <a:pt x="102" y="289"/>
                  <a:pt x="103" y="294"/>
                  <a:pt x="104" y="297"/>
                </a:cubicBezTo>
                <a:cubicBezTo>
                  <a:pt x="105" y="300"/>
                  <a:pt x="107" y="303"/>
                  <a:pt x="110" y="308"/>
                </a:cubicBezTo>
                <a:cubicBezTo>
                  <a:pt x="112" y="311"/>
                  <a:pt x="113" y="316"/>
                  <a:pt x="112" y="320"/>
                </a:cubicBezTo>
                <a:cubicBezTo>
                  <a:pt x="112" y="322"/>
                  <a:pt x="109" y="325"/>
                  <a:pt x="103" y="328"/>
                </a:cubicBezTo>
                <a:cubicBezTo>
                  <a:pt x="96" y="332"/>
                  <a:pt x="92" y="334"/>
                  <a:pt x="92" y="335"/>
                </a:cubicBezTo>
                <a:cubicBezTo>
                  <a:pt x="90" y="337"/>
                  <a:pt x="87" y="340"/>
                  <a:pt x="83" y="345"/>
                </a:cubicBezTo>
                <a:cubicBezTo>
                  <a:pt x="76" y="348"/>
                  <a:pt x="73" y="351"/>
                  <a:pt x="73" y="353"/>
                </a:cubicBezTo>
                <a:cubicBezTo>
                  <a:pt x="73" y="357"/>
                  <a:pt x="73" y="363"/>
                  <a:pt x="75" y="370"/>
                </a:cubicBezTo>
                <a:cubicBezTo>
                  <a:pt x="76" y="374"/>
                  <a:pt x="76" y="377"/>
                  <a:pt x="76" y="379"/>
                </a:cubicBezTo>
                <a:cubicBezTo>
                  <a:pt x="76" y="379"/>
                  <a:pt x="77" y="380"/>
                  <a:pt x="79" y="382"/>
                </a:cubicBezTo>
                <a:cubicBezTo>
                  <a:pt x="81" y="384"/>
                  <a:pt x="82" y="385"/>
                  <a:pt x="82" y="386"/>
                </a:cubicBezTo>
                <a:cubicBezTo>
                  <a:pt x="81" y="388"/>
                  <a:pt x="81" y="392"/>
                  <a:pt x="79" y="396"/>
                </a:cubicBezTo>
                <a:cubicBezTo>
                  <a:pt x="79" y="398"/>
                  <a:pt x="79" y="401"/>
                  <a:pt x="80" y="404"/>
                </a:cubicBezTo>
                <a:cubicBezTo>
                  <a:pt x="79" y="407"/>
                  <a:pt x="78" y="410"/>
                  <a:pt x="74" y="411"/>
                </a:cubicBezTo>
                <a:cubicBezTo>
                  <a:pt x="70" y="413"/>
                  <a:pt x="68" y="415"/>
                  <a:pt x="68" y="415"/>
                </a:cubicBezTo>
                <a:cubicBezTo>
                  <a:pt x="68" y="416"/>
                  <a:pt x="68" y="418"/>
                  <a:pt x="69" y="422"/>
                </a:cubicBezTo>
                <a:cubicBezTo>
                  <a:pt x="69" y="423"/>
                  <a:pt x="67" y="425"/>
                  <a:pt x="63" y="427"/>
                </a:cubicBezTo>
                <a:cubicBezTo>
                  <a:pt x="60" y="430"/>
                  <a:pt x="58" y="432"/>
                  <a:pt x="58" y="433"/>
                </a:cubicBezTo>
                <a:cubicBezTo>
                  <a:pt x="58" y="434"/>
                  <a:pt x="59" y="436"/>
                  <a:pt x="60" y="439"/>
                </a:cubicBezTo>
                <a:cubicBezTo>
                  <a:pt x="59" y="439"/>
                  <a:pt x="56" y="443"/>
                  <a:pt x="49" y="448"/>
                </a:cubicBezTo>
                <a:cubicBezTo>
                  <a:pt x="50" y="450"/>
                  <a:pt x="51" y="453"/>
                  <a:pt x="52" y="459"/>
                </a:cubicBezTo>
                <a:cubicBezTo>
                  <a:pt x="54" y="465"/>
                  <a:pt x="56" y="468"/>
                  <a:pt x="59" y="468"/>
                </a:cubicBezTo>
                <a:cubicBezTo>
                  <a:pt x="67" y="469"/>
                  <a:pt x="74" y="468"/>
                  <a:pt x="81" y="467"/>
                </a:cubicBezTo>
                <a:cubicBezTo>
                  <a:pt x="93" y="464"/>
                  <a:pt x="101" y="463"/>
                  <a:pt x="104" y="462"/>
                </a:cubicBezTo>
                <a:cubicBezTo>
                  <a:pt x="106" y="462"/>
                  <a:pt x="114" y="460"/>
                  <a:pt x="126" y="455"/>
                </a:cubicBezTo>
                <a:cubicBezTo>
                  <a:pt x="138" y="451"/>
                  <a:pt x="145" y="449"/>
                  <a:pt x="146" y="449"/>
                </a:cubicBezTo>
                <a:cubicBezTo>
                  <a:pt x="149" y="449"/>
                  <a:pt x="151" y="450"/>
                  <a:pt x="152" y="452"/>
                </a:cubicBezTo>
                <a:cubicBezTo>
                  <a:pt x="153" y="454"/>
                  <a:pt x="153" y="455"/>
                  <a:pt x="152" y="457"/>
                </a:cubicBezTo>
                <a:lnTo>
                  <a:pt x="152" y="457"/>
                </a:lnTo>
                <a:cubicBezTo>
                  <a:pt x="134" y="468"/>
                  <a:pt x="121" y="477"/>
                  <a:pt x="112" y="484"/>
                </a:cubicBezTo>
                <a:cubicBezTo>
                  <a:pt x="109" y="487"/>
                  <a:pt x="103" y="492"/>
                  <a:pt x="95" y="502"/>
                </a:cubicBezTo>
                <a:cubicBezTo>
                  <a:pt x="88" y="508"/>
                  <a:pt x="81" y="514"/>
                  <a:pt x="76" y="517"/>
                </a:cubicBezTo>
                <a:cubicBezTo>
                  <a:pt x="77" y="519"/>
                  <a:pt x="79" y="523"/>
                  <a:pt x="82" y="528"/>
                </a:cubicBezTo>
                <a:cubicBezTo>
                  <a:pt x="84" y="534"/>
                  <a:pt x="85" y="537"/>
                  <a:pt x="85" y="539"/>
                </a:cubicBezTo>
                <a:cubicBezTo>
                  <a:pt x="85" y="541"/>
                  <a:pt x="84" y="544"/>
                  <a:pt x="81" y="547"/>
                </a:cubicBezTo>
                <a:cubicBezTo>
                  <a:pt x="79" y="551"/>
                  <a:pt x="78" y="554"/>
                  <a:pt x="77" y="557"/>
                </a:cubicBezTo>
                <a:cubicBezTo>
                  <a:pt x="77" y="562"/>
                  <a:pt x="78" y="564"/>
                  <a:pt x="81" y="564"/>
                </a:cubicBezTo>
                <a:cubicBezTo>
                  <a:pt x="82" y="564"/>
                  <a:pt x="84" y="563"/>
                  <a:pt x="86" y="560"/>
                </a:cubicBezTo>
                <a:lnTo>
                  <a:pt x="86" y="5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Freeform 201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" name="Freeform 202"/>
          <p:cNvSpPr/>
          <p:nvPr/>
        </p:nvSpPr>
        <p:spPr bwMode="auto">
          <a:xfrm>
            <a:off x="8023585" y="4407448"/>
            <a:ext cx="597428" cy="370336"/>
          </a:xfrm>
          <a:custGeom>
            <a:avLst/>
            <a:gdLst>
              <a:gd name="T0" fmla="*/ 379 w 571"/>
              <a:gd name="T1" fmla="*/ 15 h 355"/>
              <a:gd name="T2" fmla="*/ 371 w 571"/>
              <a:gd name="T3" fmla="*/ 9 h 355"/>
              <a:gd name="T4" fmla="*/ 335 w 571"/>
              <a:gd name="T5" fmla="*/ 15 h 355"/>
              <a:gd name="T6" fmla="*/ 332 w 571"/>
              <a:gd name="T7" fmla="*/ 38 h 355"/>
              <a:gd name="T8" fmla="*/ 282 w 571"/>
              <a:gd name="T9" fmla="*/ 35 h 355"/>
              <a:gd name="T10" fmla="*/ 248 w 571"/>
              <a:gd name="T11" fmla="*/ 32 h 355"/>
              <a:gd name="T12" fmla="*/ 230 w 571"/>
              <a:gd name="T13" fmla="*/ 19 h 355"/>
              <a:gd name="T14" fmla="*/ 185 w 571"/>
              <a:gd name="T15" fmla="*/ 46 h 355"/>
              <a:gd name="T16" fmla="*/ 153 w 571"/>
              <a:gd name="T17" fmla="*/ 39 h 355"/>
              <a:gd name="T18" fmla="*/ 154 w 571"/>
              <a:gd name="T19" fmla="*/ 61 h 355"/>
              <a:gd name="T20" fmla="*/ 91 w 571"/>
              <a:gd name="T21" fmla="*/ 115 h 355"/>
              <a:gd name="T22" fmla="*/ 57 w 571"/>
              <a:gd name="T23" fmla="*/ 156 h 355"/>
              <a:gd name="T24" fmla="*/ 37 w 571"/>
              <a:gd name="T25" fmla="*/ 180 h 355"/>
              <a:gd name="T26" fmla="*/ 24 w 571"/>
              <a:gd name="T27" fmla="*/ 204 h 355"/>
              <a:gd name="T28" fmla="*/ 8 w 571"/>
              <a:gd name="T29" fmla="*/ 235 h 355"/>
              <a:gd name="T30" fmla="*/ 25 w 571"/>
              <a:gd name="T31" fmla="*/ 246 h 355"/>
              <a:gd name="T32" fmla="*/ 84 w 571"/>
              <a:gd name="T33" fmla="*/ 213 h 355"/>
              <a:gd name="T34" fmla="*/ 104 w 571"/>
              <a:gd name="T35" fmla="*/ 248 h 355"/>
              <a:gd name="T36" fmla="*/ 121 w 571"/>
              <a:gd name="T37" fmla="*/ 287 h 355"/>
              <a:gd name="T38" fmla="*/ 144 w 571"/>
              <a:gd name="T39" fmla="*/ 320 h 355"/>
              <a:gd name="T40" fmla="*/ 192 w 571"/>
              <a:gd name="T41" fmla="*/ 303 h 355"/>
              <a:gd name="T42" fmla="*/ 232 w 571"/>
              <a:gd name="T43" fmla="*/ 312 h 355"/>
              <a:gd name="T44" fmla="*/ 256 w 571"/>
              <a:gd name="T45" fmla="*/ 290 h 355"/>
              <a:gd name="T46" fmla="*/ 264 w 571"/>
              <a:gd name="T47" fmla="*/ 266 h 355"/>
              <a:gd name="T48" fmla="*/ 291 w 571"/>
              <a:gd name="T49" fmla="*/ 236 h 355"/>
              <a:gd name="T50" fmla="*/ 310 w 571"/>
              <a:gd name="T51" fmla="*/ 257 h 355"/>
              <a:gd name="T52" fmla="*/ 340 w 571"/>
              <a:gd name="T53" fmla="*/ 300 h 355"/>
              <a:gd name="T54" fmla="*/ 350 w 571"/>
              <a:gd name="T55" fmla="*/ 328 h 355"/>
              <a:gd name="T56" fmla="*/ 378 w 571"/>
              <a:gd name="T57" fmla="*/ 341 h 355"/>
              <a:gd name="T58" fmla="*/ 396 w 571"/>
              <a:gd name="T59" fmla="*/ 294 h 355"/>
              <a:gd name="T60" fmla="*/ 417 w 571"/>
              <a:gd name="T61" fmla="*/ 239 h 355"/>
              <a:gd name="T62" fmla="*/ 439 w 571"/>
              <a:gd name="T63" fmla="*/ 267 h 355"/>
              <a:gd name="T64" fmla="*/ 465 w 571"/>
              <a:gd name="T65" fmla="*/ 277 h 355"/>
              <a:gd name="T66" fmla="*/ 502 w 571"/>
              <a:gd name="T67" fmla="*/ 291 h 355"/>
              <a:gd name="T68" fmla="*/ 513 w 571"/>
              <a:gd name="T69" fmla="*/ 276 h 355"/>
              <a:gd name="T70" fmla="*/ 514 w 571"/>
              <a:gd name="T71" fmla="*/ 236 h 355"/>
              <a:gd name="T72" fmla="*/ 554 w 571"/>
              <a:gd name="T73" fmla="*/ 246 h 355"/>
              <a:gd name="T74" fmla="*/ 558 w 571"/>
              <a:gd name="T75" fmla="*/ 209 h 355"/>
              <a:gd name="T76" fmla="*/ 571 w 571"/>
              <a:gd name="T77" fmla="*/ 176 h 355"/>
              <a:gd name="T78" fmla="*/ 519 w 571"/>
              <a:gd name="T79" fmla="*/ 183 h 355"/>
              <a:gd name="T80" fmla="*/ 486 w 571"/>
              <a:gd name="T81" fmla="*/ 149 h 355"/>
              <a:gd name="T82" fmla="*/ 463 w 571"/>
              <a:gd name="T83" fmla="*/ 146 h 355"/>
              <a:gd name="T84" fmla="*/ 447 w 571"/>
              <a:gd name="T85" fmla="*/ 148 h 355"/>
              <a:gd name="T86" fmla="*/ 452 w 571"/>
              <a:gd name="T87" fmla="*/ 126 h 355"/>
              <a:gd name="T88" fmla="*/ 460 w 571"/>
              <a:gd name="T89" fmla="*/ 103 h 355"/>
              <a:gd name="T90" fmla="*/ 474 w 571"/>
              <a:gd name="T91" fmla="*/ 82 h 355"/>
              <a:gd name="T92" fmla="*/ 469 w 571"/>
              <a:gd name="T93" fmla="*/ 68 h 355"/>
              <a:gd name="T94" fmla="*/ 427 w 571"/>
              <a:gd name="T95" fmla="*/ 35 h 355"/>
              <a:gd name="T96" fmla="*/ 408 w 571"/>
              <a:gd name="T97" fmla="*/ 26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1" h="355">
                <a:moveTo>
                  <a:pt x="391" y="29"/>
                </a:moveTo>
                <a:lnTo>
                  <a:pt x="391" y="29"/>
                </a:lnTo>
                <a:cubicBezTo>
                  <a:pt x="389" y="29"/>
                  <a:pt x="387" y="26"/>
                  <a:pt x="385" y="22"/>
                </a:cubicBezTo>
                <a:cubicBezTo>
                  <a:pt x="383" y="17"/>
                  <a:pt x="381" y="15"/>
                  <a:pt x="379" y="15"/>
                </a:cubicBezTo>
                <a:cubicBezTo>
                  <a:pt x="379" y="15"/>
                  <a:pt x="378" y="17"/>
                  <a:pt x="377" y="20"/>
                </a:cubicBezTo>
                <a:cubicBezTo>
                  <a:pt x="376" y="22"/>
                  <a:pt x="374" y="23"/>
                  <a:pt x="371" y="22"/>
                </a:cubicBezTo>
                <a:lnTo>
                  <a:pt x="370" y="21"/>
                </a:lnTo>
                <a:lnTo>
                  <a:pt x="371" y="9"/>
                </a:lnTo>
                <a:cubicBezTo>
                  <a:pt x="369" y="9"/>
                  <a:pt x="367" y="7"/>
                  <a:pt x="363" y="4"/>
                </a:cubicBezTo>
                <a:cubicBezTo>
                  <a:pt x="359" y="2"/>
                  <a:pt x="357" y="1"/>
                  <a:pt x="356" y="0"/>
                </a:cubicBezTo>
                <a:cubicBezTo>
                  <a:pt x="353" y="0"/>
                  <a:pt x="348" y="2"/>
                  <a:pt x="343" y="5"/>
                </a:cubicBezTo>
                <a:cubicBezTo>
                  <a:pt x="338" y="9"/>
                  <a:pt x="336" y="12"/>
                  <a:pt x="335" y="15"/>
                </a:cubicBezTo>
                <a:cubicBezTo>
                  <a:pt x="335" y="17"/>
                  <a:pt x="336" y="19"/>
                  <a:pt x="337" y="22"/>
                </a:cubicBezTo>
                <a:lnTo>
                  <a:pt x="349" y="23"/>
                </a:lnTo>
                <a:lnTo>
                  <a:pt x="348" y="32"/>
                </a:lnTo>
                <a:cubicBezTo>
                  <a:pt x="342" y="37"/>
                  <a:pt x="337" y="39"/>
                  <a:pt x="332" y="38"/>
                </a:cubicBezTo>
                <a:cubicBezTo>
                  <a:pt x="326" y="38"/>
                  <a:pt x="322" y="35"/>
                  <a:pt x="319" y="31"/>
                </a:cubicBezTo>
                <a:cubicBezTo>
                  <a:pt x="317" y="27"/>
                  <a:pt x="314" y="25"/>
                  <a:pt x="309" y="24"/>
                </a:cubicBezTo>
                <a:cubicBezTo>
                  <a:pt x="307" y="24"/>
                  <a:pt x="303" y="26"/>
                  <a:pt x="296" y="30"/>
                </a:cubicBezTo>
                <a:cubicBezTo>
                  <a:pt x="289" y="34"/>
                  <a:pt x="285" y="36"/>
                  <a:pt x="282" y="35"/>
                </a:cubicBezTo>
                <a:cubicBezTo>
                  <a:pt x="279" y="35"/>
                  <a:pt x="276" y="34"/>
                  <a:pt x="273" y="31"/>
                </a:cubicBezTo>
                <a:cubicBezTo>
                  <a:pt x="271" y="28"/>
                  <a:pt x="268" y="27"/>
                  <a:pt x="265" y="26"/>
                </a:cubicBezTo>
                <a:cubicBezTo>
                  <a:pt x="264" y="26"/>
                  <a:pt x="262" y="27"/>
                  <a:pt x="258" y="29"/>
                </a:cubicBezTo>
                <a:cubicBezTo>
                  <a:pt x="255" y="31"/>
                  <a:pt x="251" y="32"/>
                  <a:pt x="248" y="32"/>
                </a:cubicBezTo>
                <a:cubicBezTo>
                  <a:pt x="241" y="31"/>
                  <a:pt x="235" y="27"/>
                  <a:pt x="231" y="18"/>
                </a:cubicBezTo>
                <a:cubicBezTo>
                  <a:pt x="231" y="18"/>
                  <a:pt x="231" y="18"/>
                  <a:pt x="230" y="18"/>
                </a:cubicBezTo>
                <a:lnTo>
                  <a:pt x="230" y="18"/>
                </a:lnTo>
                <a:cubicBezTo>
                  <a:pt x="230" y="19"/>
                  <a:pt x="230" y="19"/>
                  <a:pt x="230" y="19"/>
                </a:cubicBezTo>
                <a:cubicBezTo>
                  <a:pt x="229" y="22"/>
                  <a:pt x="228" y="23"/>
                  <a:pt x="226" y="23"/>
                </a:cubicBezTo>
                <a:cubicBezTo>
                  <a:pt x="222" y="24"/>
                  <a:pt x="219" y="24"/>
                  <a:pt x="218" y="25"/>
                </a:cubicBezTo>
                <a:cubicBezTo>
                  <a:pt x="218" y="32"/>
                  <a:pt x="216" y="36"/>
                  <a:pt x="213" y="39"/>
                </a:cubicBezTo>
                <a:cubicBezTo>
                  <a:pt x="209" y="43"/>
                  <a:pt x="199" y="45"/>
                  <a:pt x="185" y="46"/>
                </a:cubicBezTo>
                <a:cubicBezTo>
                  <a:pt x="181" y="46"/>
                  <a:pt x="178" y="43"/>
                  <a:pt x="175" y="37"/>
                </a:cubicBezTo>
                <a:cubicBezTo>
                  <a:pt x="172" y="32"/>
                  <a:pt x="168" y="28"/>
                  <a:pt x="162" y="28"/>
                </a:cubicBezTo>
                <a:cubicBezTo>
                  <a:pt x="160" y="28"/>
                  <a:pt x="158" y="28"/>
                  <a:pt x="157" y="30"/>
                </a:cubicBezTo>
                <a:cubicBezTo>
                  <a:pt x="156" y="30"/>
                  <a:pt x="155" y="33"/>
                  <a:pt x="153" y="39"/>
                </a:cubicBezTo>
                <a:cubicBezTo>
                  <a:pt x="153" y="39"/>
                  <a:pt x="151" y="41"/>
                  <a:pt x="148" y="44"/>
                </a:cubicBezTo>
                <a:cubicBezTo>
                  <a:pt x="145" y="48"/>
                  <a:pt x="144" y="51"/>
                  <a:pt x="143" y="52"/>
                </a:cubicBezTo>
                <a:cubicBezTo>
                  <a:pt x="143" y="53"/>
                  <a:pt x="145" y="55"/>
                  <a:pt x="148" y="57"/>
                </a:cubicBezTo>
                <a:cubicBezTo>
                  <a:pt x="151" y="59"/>
                  <a:pt x="154" y="61"/>
                  <a:pt x="154" y="61"/>
                </a:cubicBezTo>
                <a:cubicBezTo>
                  <a:pt x="150" y="65"/>
                  <a:pt x="144" y="69"/>
                  <a:pt x="138" y="74"/>
                </a:cubicBezTo>
                <a:cubicBezTo>
                  <a:pt x="133" y="78"/>
                  <a:pt x="129" y="83"/>
                  <a:pt x="124" y="89"/>
                </a:cubicBezTo>
                <a:cubicBezTo>
                  <a:pt x="120" y="95"/>
                  <a:pt x="114" y="100"/>
                  <a:pt x="108" y="104"/>
                </a:cubicBezTo>
                <a:cubicBezTo>
                  <a:pt x="105" y="106"/>
                  <a:pt x="99" y="110"/>
                  <a:pt x="91" y="115"/>
                </a:cubicBezTo>
                <a:cubicBezTo>
                  <a:pt x="89" y="116"/>
                  <a:pt x="86" y="117"/>
                  <a:pt x="82" y="118"/>
                </a:cubicBezTo>
                <a:cubicBezTo>
                  <a:pt x="79" y="119"/>
                  <a:pt x="77" y="123"/>
                  <a:pt x="76" y="129"/>
                </a:cubicBezTo>
                <a:cubicBezTo>
                  <a:pt x="74" y="138"/>
                  <a:pt x="71" y="146"/>
                  <a:pt x="67" y="150"/>
                </a:cubicBezTo>
                <a:cubicBezTo>
                  <a:pt x="65" y="152"/>
                  <a:pt x="62" y="154"/>
                  <a:pt x="57" y="156"/>
                </a:cubicBezTo>
                <a:cubicBezTo>
                  <a:pt x="53" y="158"/>
                  <a:pt x="49" y="159"/>
                  <a:pt x="48" y="160"/>
                </a:cubicBezTo>
                <a:cubicBezTo>
                  <a:pt x="46" y="162"/>
                  <a:pt x="44" y="165"/>
                  <a:pt x="41" y="169"/>
                </a:cubicBezTo>
                <a:cubicBezTo>
                  <a:pt x="38" y="173"/>
                  <a:pt x="35" y="174"/>
                  <a:pt x="32" y="175"/>
                </a:cubicBezTo>
                <a:cubicBezTo>
                  <a:pt x="33" y="176"/>
                  <a:pt x="34" y="178"/>
                  <a:pt x="37" y="180"/>
                </a:cubicBezTo>
                <a:lnTo>
                  <a:pt x="37" y="182"/>
                </a:lnTo>
                <a:lnTo>
                  <a:pt x="28" y="186"/>
                </a:lnTo>
                <a:cubicBezTo>
                  <a:pt x="22" y="189"/>
                  <a:pt x="19" y="192"/>
                  <a:pt x="19" y="195"/>
                </a:cubicBezTo>
                <a:cubicBezTo>
                  <a:pt x="18" y="199"/>
                  <a:pt x="20" y="202"/>
                  <a:pt x="24" y="204"/>
                </a:cubicBezTo>
                <a:cubicBezTo>
                  <a:pt x="27" y="205"/>
                  <a:pt x="29" y="208"/>
                  <a:pt x="29" y="211"/>
                </a:cubicBezTo>
                <a:cubicBezTo>
                  <a:pt x="28" y="214"/>
                  <a:pt x="27" y="218"/>
                  <a:pt x="24" y="221"/>
                </a:cubicBezTo>
                <a:cubicBezTo>
                  <a:pt x="20" y="225"/>
                  <a:pt x="18" y="229"/>
                  <a:pt x="17" y="230"/>
                </a:cubicBezTo>
                <a:cubicBezTo>
                  <a:pt x="16" y="234"/>
                  <a:pt x="12" y="235"/>
                  <a:pt x="8" y="235"/>
                </a:cubicBezTo>
                <a:cubicBezTo>
                  <a:pt x="3" y="235"/>
                  <a:pt x="1" y="237"/>
                  <a:pt x="0" y="242"/>
                </a:cubicBezTo>
                <a:cubicBezTo>
                  <a:pt x="0" y="245"/>
                  <a:pt x="0" y="246"/>
                  <a:pt x="1" y="248"/>
                </a:cubicBezTo>
                <a:cubicBezTo>
                  <a:pt x="2" y="249"/>
                  <a:pt x="4" y="250"/>
                  <a:pt x="8" y="251"/>
                </a:cubicBezTo>
                <a:cubicBezTo>
                  <a:pt x="13" y="251"/>
                  <a:pt x="18" y="250"/>
                  <a:pt x="25" y="246"/>
                </a:cubicBezTo>
                <a:cubicBezTo>
                  <a:pt x="32" y="242"/>
                  <a:pt x="37" y="240"/>
                  <a:pt x="42" y="240"/>
                </a:cubicBezTo>
                <a:cubicBezTo>
                  <a:pt x="39" y="235"/>
                  <a:pt x="37" y="231"/>
                  <a:pt x="38" y="227"/>
                </a:cubicBezTo>
                <a:cubicBezTo>
                  <a:pt x="38" y="223"/>
                  <a:pt x="45" y="220"/>
                  <a:pt x="59" y="217"/>
                </a:cubicBezTo>
                <a:cubicBezTo>
                  <a:pt x="71" y="214"/>
                  <a:pt x="79" y="213"/>
                  <a:pt x="84" y="213"/>
                </a:cubicBezTo>
                <a:cubicBezTo>
                  <a:pt x="89" y="214"/>
                  <a:pt x="94" y="218"/>
                  <a:pt x="100" y="225"/>
                </a:cubicBezTo>
                <a:cubicBezTo>
                  <a:pt x="105" y="232"/>
                  <a:pt x="109" y="237"/>
                  <a:pt x="110" y="238"/>
                </a:cubicBezTo>
                <a:lnTo>
                  <a:pt x="110" y="238"/>
                </a:lnTo>
                <a:cubicBezTo>
                  <a:pt x="109" y="241"/>
                  <a:pt x="107" y="244"/>
                  <a:pt x="104" y="248"/>
                </a:cubicBezTo>
                <a:cubicBezTo>
                  <a:pt x="102" y="251"/>
                  <a:pt x="101" y="256"/>
                  <a:pt x="100" y="260"/>
                </a:cubicBezTo>
                <a:cubicBezTo>
                  <a:pt x="100" y="262"/>
                  <a:pt x="102" y="265"/>
                  <a:pt x="106" y="268"/>
                </a:cubicBezTo>
                <a:cubicBezTo>
                  <a:pt x="109" y="271"/>
                  <a:pt x="111" y="275"/>
                  <a:pt x="110" y="280"/>
                </a:cubicBezTo>
                <a:cubicBezTo>
                  <a:pt x="115" y="280"/>
                  <a:pt x="119" y="282"/>
                  <a:pt x="121" y="287"/>
                </a:cubicBezTo>
                <a:cubicBezTo>
                  <a:pt x="123" y="289"/>
                  <a:pt x="124" y="294"/>
                  <a:pt x="125" y="300"/>
                </a:cubicBezTo>
                <a:lnTo>
                  <a:pt x="125" y="301"/>
                </a:lnTo>
                <a:cubicBezTo>
                  <a:pt x="127" y="307"/>
                  <a:pt x="128" y="312"/>
                  <a:pt x="130" y="314"/>
                </a:cubicBezTo>
                <a:cubicBezTo>
                  <a:pt x="133" y="319"/>
                  <a:pt x="138" y="321"/>
                  <a:pt x="144" y="320"/>
                </a:cubicBezTo>
                <a:cubicBezTo>
                  <a:pt x="145" y="314"/>
                  <a:pt x="148" y="311"/>
                  <a:pt x="154" y="312"/>
                </a:cubicBezTo>
                <a:cubicBezTo>
                  <a:pt x="157" y="312"/>
                  <a:pt x="162" y="313"/>
                  <a:pt x="170" y="315"/>
                </a:cubicBezTo>
                <a:cubicBezTo>
                  <a:pt x="173" y="315"/>
                  <a:pt x="177" y="313"/>
                  <a:pt x="182" y="309"/>
                </a:cubicBezTo>
                <a:cubicBezTo>
                  <a:pt x="187" y="305"/>
                  <a:pt x="191" y="303"/>
                  <a:pt x="192" y="303"/>
                </a:cubicBezTo>
                <a:cubicBezTo>
                  <a:pt x="194" y="303"/>
                  <a:pt x="199" y="306"/>
                  <a:pt x="205" y="312"/>
                </a:cubicBezTo>
                <a:cubicBezTo>
                  <a:pt x="212" y="318"/>
                  <a:pt x="217" y="321"/>
                  <a:pt x="221" y="321"/>
                </a:cubicBezTo>
                <a:cubicBezTo>
                  <a:pt x="223" y="321"/>
                  <a:pt x="225" y="320"/>
                  <a:pt x="227" y="317"/>
                </a:cubicBezTo>
                <a:cubicBezTo>
                  <a:pt x="229" y="314"/>
                  <a:pt x="231" y="312"/>
                  <a:pt x="232" y="312"/>
                </a:cubicBezTo>
                <a:cubicBezTo>
                  <a:pt x="234" y="311"/>
                  <a:pt x="237" y="311"/>
                  <a:pt x="240" y="310"/>
                </a:cubicBezTo>
                <a:cubicBezTo>
                  <a:pt x="243" y="309"/>
                  <a:pt x="246" y="308"/>
                  <a:pt x="247" y="305"/>
                </a:cubicBezTo>
                <a:cubicBezTo>
                  <a:pt x="246" y="299"/>
                  <a:pt x="247" y="295"/>
                  <a:pt x="249" y="293"/>
                </a:cubicBezTo>
                <a:cubicBezTo>
                  <a:pt x="250" y="291"/>
                  <a:pt x="252" y="290"/>
                  <a:pt x="256" y="290"/>
                </a:cubicBezTo>
                <a:cubicBezTo>
                  <a:pt x="259" y="289"/>
                  <a:pt x="262" y="288"/>
                  <a:pt x="263" y="287"/>
                </a:cubicBezTo>
                <a:cubicBezTo>
                  <a:pt x="266" y="286"/>
                  <a:pt x="267" y="283"/>
                  <a:pt x="268" y="278"/>
                </a:cubicBezTo>
                <a:cubicBezTo>
                  <a:pt x="268" y="276"/>
                  <a:pt x="267" y="274"/>
                  <a:pt x="266" y="271"/>
                </a:cubicBezTo>
                <a:cubicBezTo>
                  <a:pt x="265" y="268"/>
                  <a:pt x="264" y="267"/>
                  <a:pt x="264" y="266"/>
                </a:cubicBezTo>
                <a:cubicBezTo>
                  <a:pt x="265" y="263"/>
                  <a:pt x="267" y="261"/>
                  <a:pt x="273" y="259"/>
                </a:cubicBezTo>
                <a:cubicBezTo>
                  <a:pt x="279" y="258"/>
                  <a:pt x="282" y="256"/>
                  <a:pt x="283" y="254"/>
                </a:cubicBezTo>
                <a:cubicBezTo>
                  <a:pt x="286" y="251"/>
                  <a:pt x="288" y="248"/>
                  <a:pt x="290" y="246"/>
                </a:cubicBezTo>
                <a:cubicBezTo>
                  <a:pt x="292" y="243"/>
                  <a:pt x="293" y="240"/>
                  <a:pt x="291" y="236"/>
                </a:cubicBezTo>
                <a:cubicBezTo>
                  <a:pt x="295" y="233"/>
                  <a:pt x="300" y="231"/>
                  <a:pt x="306" y="232"/>
                </a:cubicBezTo>
                <a:cubicBezTo>
                  <a:pt x="307" y="232"/>
                  <a:pt x="309" y="234"/>
                  <a:pt x="311" y="238"/>
                </a:cubicBezTo>
                <a:cubicBezTo>
                  <a:pt x="313" y="242"/>
                  <a:pt x="314" y="245"/>
                  <a:pt x="314" y="247"/>
                </a:cubicBezTo>
                <a:cubicBezTo>
                  <a:pt x="313" y="249"/>
                  <a:pt x="312" y="253"/>
                  <a:pt x="310" y="257"/>
                </a:cubicBezTo>
                <a:cubicBezTo>
                  <a:pt x="308" y="262"/>
                  <a:pt x="307" y="265"/>
                  <a:pt x="307" y="267"/>
                </a:cubicBezTo>
                <a:cubicBezTo>
                  <a:pt x="306" y="270"/>
                  <a:pt x="309" y="275"/>
                  <a:pt x="315" y="282"/>
                </a:cubicBezTo>
                <a:cubicBezTo>
                  <a:pt x="318" y="285"/>
                  <a:pt x="321" y="289"/>
                  <a:pt x="325" y="293"/>
                </a:cubicBezTo>
                <a:cubicBezTo>
                  <a:pt x="326" y="294"/>
                  <a:pt x="331" y="296"/>
                  <a:pt x="340" y="300"/>
                </a:cubicBezTo>
                <a:cubicBezTo>
                  <a:pt x="347" y="303"/>
                  <a:pt x="350" y="307"/>
                  <a:pt x="349" y="310"/>
                </a:cubicBezTo>
                <a:cubicBezTo>
                  <a:pt x="349" y="312"/>
                  <a:pt x="349" y="314"/>
                  <a:pt x="347" y="316"/>
                </a:cubicBezTo>
                <a:cubicBezTo>
                  <a:pt x="346" y="318"/>
                  <a:pt x="345" y="320"/>
                  <a:pt x="345" y="321"/>
                </a:cubicBezTo>
                <a:cubicBezTo>
                  <a:pt x="345" y="323"/>
                  <a:pt x="346" y="325"/>
                  <a:pt x="350" y="328"/>
                </a:cubicBezTo>
                <a:cubicBezTo>
                  <a:pt x="354" y="330"/>
                  <a:pt x="357" y="333"/>
                  <a:pt x="358" y="337"/>
                </a:cubicBezTo>
                <a:cubicBezTo>
                  <a:pt x="358" y="339"/>
                  <a:pt x="359" y="343"/>
                  <a:pt x="359" y="348"/>
                </a:cubicBezTo>
                <a:cubicBezTo>
                  <a:pt x="360" y="352"/>
                  <a:pt x="362" y="354"/>
                  <a:pt x="366" y="354"/>
                </a:cubicBezTo>
                <a:cubicBezTo>
                  <a:pt x="369" y="355"/>
                  <a:pt x="374" y="350"/>
                  <a:pt x="378" y="341"/>
                </a:cubicBezTo>
                <a:cubicBezTo>
                  <a:pt x="378" y="339"/>
                  <a:pt x="377" y="337"/>
                  <a:pt x="375" y="334"/>
                </a:cubicBezTo>
                <a:cubicBezTo>
                  <a:pt x="372" y="332"/>
                  <a:pt x="371" y="330"/>
                  <a:pt x="371" y="328"/>
                </a:cubicBezTo>
                <a:cubicBezTo>
                  <a:pt x="372" y="325"/>
                  <a:pt x="375" y="320"/>
                  <a:pt x="382" y="311"/>
                </a:cubicBezTo>
                <a:cubicBezTo>
                  <a:pt x="388" y="303"/>
                  <a:pt x="393" y="297"/>
                  <a:pt x="396" y="294"/>
                </a:cubicBezTo>
                <a:cubicBezTo>
                  <a:pt x="405" y="287"/>
                  <a:pt x="410" y="281"/>
                  <a:pt x="410" y="276"/>
                </a:cubicBezTo>
                <a:cubicBezTo>
                  <a:pt x="410" y="268"/>
                  <a:pt x="410" y="261"/>
                  <a:pt x="411" y="254"/>
                </a:cubicBezTo>
                <a:cubicBezTo>
                  <a:pt x="411" y="249"/>
                  <a:pt x="412" y="246"/>
                  <a:pt x="412" y="244"/>
                </a:cubicBezTo>
                <a:cubicBezTo>
                  <a:pt x="413" y="240"/>
                  <a:pt x="414" y="238"/>
                  <a:pt x="417" y="239"/>
                </a:cubicBezTo>
                <a:cubicBezTo>
                  <a:pt x="419" y="239"/>
                  <a:pt x="420" y="240"/>
                  <a:pt x="422" y="242"/>
                </a:cubicBezTo>
                <a:cubicBezTo>
                  <a:pt x="423" y="243"/>
                  <a:pt x="425" y="244"/>
                  <a:pt x="427" y="244"/>
                </a:cubicBezTo>
                <a:cubicBezTo>
                  <a:pt x="427" y="244"/>
                  <a:pt x="429" y="244"/>
                  <a:pt x="432" y="241"/>
                </a:cubicBezTo>
                <a:cubicBezTo>
                  <a:pt x="435" y="249"/>
                  <a:pt x="437" y="257"/>
                  <a:pt x="439" y="267"/>
                </a:cubicBezTo>
                <a:cubicBezTo>
                  <a:pt x="440" y="275"/>
                  <a:pt x="445" y="278"/>
                  <a:pt x="453" y="279"/>
                </a:cubicBezTo>
                <a:cubicBezTo>
                  <a:pt x="453" y="279"/>
                  <a:pt x="454" y="279"/>
                  <a:pt x="456" y="279"/>
                </a:cubicBezTo>
                <a:cubicBezTo>
                  <a:pt x="457" y="279"/>
                  <a:pt x="459" y="278"/>
                  <a:pt x="460" y="275"/>
                </a:cubicBezTo>
                <a:cubicBezTo>
                  <a:pt x="460" y="275"/>
                  <a:pt x="462" y="276"/>
                  <a:pt x="465" y="277"/>
                </a:cubicBezTo>
                <a:cubicBezTo>
                  <a:pt x="466" y="276"/>
                  <a:pt x="467" y="274"/>
                  <a:pt x="467" y="270"/>
                </a:cubicBezTo>
                <a:cubicBezTo>
                  <a:pt x="470" y="271"/>
                  <a:pt x="476" y="271"/>
                  <a:pt x="483" y="270"/>
                </a:cubicBezTo>
                <a:cubicBezTo>
                  <a:pt x="489" y="271"/>
                  <a:pt x="494" y="275"/>
                  <a:pt x="498" y="283"/>
                </a:cubicBezTo>
                <a:cubicBezTo>
                  <a:pt x="500" y="287"/>
                  <a:pt x="501" y="290"/>
                  <a:pt x="502" y="291"/>
                </a:cubicBezTo>
                <a:cubicBezTo>
                  <a:pt x="505" y="294"/>
                  <a:pt x="508" y="295"/>
                  <a:pt x="511" y="296"/>
                </a:cubicBezTo>
                <a:cubicBezTo>
                  <a:pt x="515" y="296"/>
                  <a:pt x="517" y="295"/>
                  <a:pt x="517" y="291"/>
                </a:cubicBezTo>
                <a:cubicBezTo>
                  <a:pt x="517" y="289"/>
                  <a:pt x="517" y="286"/>
                  <a:pt x="515" y="283"/>
                </a:cubicBezTo>
                <a:cubicBezTo>
                  <a:pt x="513" y="280"/>
                  <a:pt x="513" y="277"/>
                  <a:pt x="513" y="276"/>
                </a:cubicBezTo>
                <a:cubicBezTo>
                  <a:pt x="513" y="275"/>
                  <a:pt x="514" y="273"/>
                  <a:pt x="516" y="271"/>
                </a:cubicBezTo>
                <a:cubicBezTo>
                  <a:pt x="518" y="268"/>
                  <a:pt x="519" y="267"/>
                  <a:pt x="520" y="266"/>
                </a:cubicBezTo>
                <a:cubicBezTo>
                  <a:pt x="512" y="263"/>
                  <a:pt x="509" y="257"/>
                  <a:pt x="510" y="248"/>
                </a:cubicBezTo>
                <a:cubicBezTo>
                  <a:pt x="510" y="244"/>
                  <a:pt x="512" y="240"/>
                  <a:pt x="514" y="236"/>
                </a:cubicBezTo>
                <a:cubicBezTo>
                  <a:pt x="518" y="232"/>
                  <a:pt x="520" y="229"/>
                  <a:pt x="521" y="227"/>
                </a:cubicBezTo>
                <a:lnTo>
                  <a:pt x="532" y="228"/>
                </a:lnTo>
                <a:cubicBezTo>
                  <a:pt x="533" y="232"/>
                  <a:pt x="536" y="236"/>
                  <a:pt x="541" y="240"/>
                </a:cubicBezTo>
                <a:cubicBezTo>
                  <a:pt x="546" y="244"/>
                  <a:pt x="550" y="245"/>
                  <a:pt x="554" y="246"/>
                </a:cubicBezTo>
                <a:cubicBezTo>
                  <a:pt x="556" y="246"/>
                  <a:pt x="559" y="241"/>
                  <a:pt x="564" y="232"/>
                </a:cubicBezTo>
                <a:cubicBezTo>
                  <a:pt x="562" y="229"/>
                  <a:pt x="559" y="228"/>
                  <a:pt x="556" y="227"/>
                </a:cubicBezTo>
                <a:cubicBezTo>
                  <a:pt x="553" y="227"/>
                  <a:pt x="553" y="225"/>
                  <a:pt x="553" y="221"/>
                </a:cubicBezTo>
                <a:cubicBezTo>
                  <a:pt x="553" y="219"/>
                  <a:pt x="555" y="215"/>
                  <a:pt x="558" y="209"/>
                </a:cubicBezTo>
                <a:cubicBezTo>
                  <a:pt x="561" y="204"/>
                  <a:pt x="563" y="198"/>
                  <a:pt x="564" y="191"/>
                </a:cubicBezTo>
                <a:cubicBezTo>
                  <a:pt x="564" y="191"/>
                  <a:pt x="564" y="190"/>
                  <a:pt x="564" y="189"/>
                </a:cubicBezTo>
                <a:cubicBezTo>
                  <a:pt x="565" y="188"/>
                  <a:pt x="566" y="185"/>
                  <a:pt x="568" y="182"/>
                </a:cubicBezTo>
                <a:cubicBezTo>
                  <a:pt x="569" y="179"/>
                  <a:pt x="570" y="177"/>
                  <a:pt x="571" y="176"/>
                </a:cubicBezTo>
                <a:cubicBezTo>
                  <a:pt x="571" y="172"/>
                  <a:pt x="569" y="169"/>
                  <a:pt x="566" y="167"/>
                </a:cubicBezTo>
                <a:cubicBezTo>
                  <a:pt x="563" y="165"/>
                  <a:pt x="560" y="164"/>
                  <a:pt x="556" y="163"/>
                </a:cubicBezTo>
                <a:cubicBezTo>
                  <a:pt x="554" y="163"/>
                  <a:pt x="549" y="167"/>
                  <a:pt x="541" y="174"/>
                </a:cubicBezTo>
                <a:cubicBezTo>
                  <a:pt x="533" y="181"/>
                  <a:pt x="526" y="184"/>
                  <a:pt x="519" y="183"/>
                </a:cubicBezTo>
                <a:cubicBezTo>
                  <a:pt x="511" y="182"/>
                  <a:pt x="506" y="180"/>
                  <a:pt x="502" y="176"/>
                </a:cubicBezTo>
                <a:cubicBezTo>
                  <a:pt x="500" y="174"/>
                  <a:pt x="499" y="171"/>
                  <a:pt x="497" y="165"/>
                </a:cubicBezTo>
                <a:cubicBezTo>
                  <a:pt x="496" y="159"/>
                  <a:pt x="494" y="155"/>
                  <a:pt x="492" y="153"/>
                </a:cubicBezTo>
                <a:cubicBezTo>
                  <a:pt x="490" y="151"/>
                  <a:pt x="488" y="150"/>
                  <a:pt x="486" y="149"/>
                </a:cubicBezTo>
                <a:cubicBezTo>
                  <a:pt x="484" y="148"/>
                  <a:pt x="481" y="147"/>
                  <a:pt x="477" y="146"/>
                </a:cubicBezTo>
                <a:cubicBezTo>
                  <a:pt x="473" y="145"/>
                  <a:pt x="470" y="144"/>
                  <a:pt x="468" y="144"/>
                </a:cubicBezTo>
                <a:cubicBezTo>
                  <a:pt x="468" y="144"/>
                  <a:pt x="467" y="145"/>
                  <a:pt x="466" y="145"/>
                </a:cubicBezTo>
                <a:cubicBezTo>
                  <a:pt x="464" y="146"/>
                  <a:pt x="463" y="146"/>
                  <a:pt x="463" y="146"/>
                </a:cubicBezTo>
                <a:cubicBezTo>
                  <a:pt x="462" y="146"/>
                  <a:pt x="461" y="145"/>
                  <a:pt x="460" y="144"/>
                </a:cubicBezTo>
                <a:cubicBezTo>
                  <a:pt x="459" y="143"/>
                  <a:pt x="459" y="142"/>
                  <a:pt x="458" y="142"/>
                </a:cubicBezTo>
                <a:cubicBezTo>
                  <a:pt x="458" y="142"/>
                  <a:pt x="456" y="143"/>
                  <a:pt x="453" y="144"/>
                </a:cubicBezTo>
                <a:cubicBezTo>
                  <a:pt x="450" y="146"/>
                  <a:pt x="448" y="147"/>
                  <a:pt x="447" y="148"/>
                </a:cubicBezTo>
                <a:cubicBezTo>
                  <a:pt x="447" y="147"/>
                  <a:pt x="447" y="146"/>
                  <a:pt x="447" y="145"/>
                </a:cubicBezTo>
                <a:cubicBezTo>
                  <a:pt x="447" y="143"/>
                  <a:pt x="448" y="141"/>
                  <a:pt x="451" y="139"/>
                </a:cubicBezTo>
                <a:cubicBezTo>
                  <a:pt x="453" y="136"/>
                  <a:pt x="454" y="134"/>
                  <a:pt x="454" y="134"/>
                </a:cubicBezTo>
                <a:cubicBezTo>
                  <a:pt x="454" y="132"/>
                  <a:pt x="454" y="129"/>
                  <a:pt x="452" y="126"/>
                </a:cubicBezTo>
                <a:cubicBezTo>
                  <a:pt x="451" y="122"/>
                  <a:pt x="450" y="120"/>
                  <a:pt x="450" y="118"/>
                </a:cubicBezTo>
                <a:cubicBezTo>
                  <a:pt x="451" y="115"/>
                  <a:pt x="452" y="111"/>
                  <a:pt x="455" y="108"/>
                </a:cubicBezTo>
                <a:cubicBezTo>
                  <a:pt x="457" y="106"/>
                  <a:pt x="458" y="104"/>
                  <a:pt x="459" y="103"/>
                </a:cubicBezTo>
                <a:cubicBezTo>
                  <a:pt x="460" y="103"/>
                  <a:pt x="460" y="103"/>
                  <a:pt x="460" y="103"/>
                </a:cubicBezTo>
                <a:cubicBezTo>
                  <a:pt x="460" y="102"/>
                  <a:pt x="461" y="102"/>
                  <a:pt x="462" y="101"/>
                </a:cubicBezTo>
                <a:cubicBezTo>
                  <a:pt x="462" y="100"/>
                  <a:pt x="462" y="100"/>
                  <a:pt x="463" y="100"/>
                </a:cubicBezTo>
                <a:cubicBezTo>
                  <a:pt x="471" y="91"/>
                  <a:pt x="475" y="85"/>
                  <a:pt x="475" y="82"/>
                </a:cubicBezTo>
                <a:cubicBezTo>
                  <a:pt x="475" y="82"/>
                  <a:pt x="475" y="82"/>
                  <a:pt x="474" y="82"/>
                </a:cubicBezTo>
                <a:cubicBezTo>
                  <a:pt x="474" y="80"/>
                  <a:pt x="474" y="80"/>
                  <a:pt x="474" y="79"/>
                </a:cubicBezTo>
                <a:cubicBezTo>
                  <a:pt x="474" y="77"/>
                  <a:pt x="474" y="76"/>
                  <a:pt x="474" y="75"/>
                </a:cubicBezTo>
                <a:cubicBezTo>
                  <a:pt x="474" y="73"/>
                  <a:pt x="473" y="71"/>
                  <a:pt x="472" y="70"/>
                </a:cubicBezTo>
                <a:cubicBezTo>
                  <a:pt x="471" y="69"/>
                  <a:pt x="470" y="68"/>
                  <a:pt x="469" y="68"/>
                </a:cubicBezTo>
                <a:cubicBezTo>
                  <a:pt x="467" y="67"/>
                  <a:pt x="466" y="67"/>
                  <a:pt x="465" y="66"/>
                </a:cubicBezTo>
                <a:cubicBezTo>
                  <a:pt x="456" y="64"/>
                  <a:pt x="450" y="60"/>
                  <a:pt x="448" y="54"/>
                </a:cubicBezTo>
                <a:cubicBezTo>
                  <a:pt x="446" y="50"/>
                  <a:pt x="442" y="46"/>
                  <a:pt x="435" y="41"/>
                </a:cubicBezTo>
                <a:cubicBezTo>
                  <a:pt x="431" y="38"/>
                  <a:pt x="429" y="37"/>
                  <a:pt x="427" y="35"/>
                </a:cubicBezTo>
                <a:cubicBezTo>
                  <a:pt x="424" y="33"/>
                  <a:pt x="423" y="32"/>
                  <a:pt x="422" y="30"/>
                </a:cubicBezTo>
                <a:cubicBezTo>
                  <a:pt x="422" y="29"/>
                  <a:pt x="422" y="29"/>
                  <a:pt x="422" y="29"/>
                </a:cubicBezTo>
                <a:lnTo>
                  <a:pt x="421" y="29"/>
                </a:lnTo>
                <a:cubicBezTo>
                  <a:pt x="417" y="28"/>
                  <a:pt x="412" y="27"/>
                  <a:pt x="408" y="26"/>
                </a:cubicBezTo>
                <a:cubicBezTo>
                  <a:pt x="406" y="26"/>
                  <a:pt x="404" y="26"/>
                  <a:pt x="400" y="28"/>
                </a:cubicBezTo>
                <a:cubicBezTo>
                  <a:pt x="396" y="29"/>
                  <a:pt x="393" y="29"/>
                  <a:pt x="391" y="29"/>
                </a:cubicBezTo>
                <a:lnTo>
                  <a:pt x="391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" name="Freeform 203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7 w 1081"/>
              <a:gd name="T3" fmla="*/ 1180 h 2498"/>
              <a:gd name="T4" fmla="*/ 695 w 1081"/>
              <a:gd name="T5" fmla="*/ 1637 h 2498"/>
              <a:gd name="T6" fmla="*/ 703 w 1081"/>
              <a:gd name="T7" fmla="*/ 1789 h 2498"/>
              <a:gd name="T8" fmla="*/ 673 w 1081"/>
              <a:gd name="T9" fmla="*/ 1803 h 2498"/>
              <a:gd name="T10" fmla="*/ 663 w 1081"/>
              <a:gd name="T11" fmla="*/ 1863 h 2498"/>
              <a:gd name="T12" fmla="*/ 532 w 1081"/>
              <a:gd name="T13" fmla="*/ 1964 h 2498"/>
              <a:gd name="T14" fmla="*/ 482 w 1081"/>
              <a:gd name="T15" fmla="*/ 2311 h 2498"/>
              <a:gd name="T16" fmla="*/ 763 w 1081"/>
              <a:gd name="T17" fmla="*/ 1959 h 2498"/>
              <a:gd name="T18" fmla="*/ 707 w 1081"/>
              <a:gd name="T19" fmla="*/ 2162 h 2498"/>
              <a:gd name="T20" fmla="*/ 674 w 1081"/>
              <a:gd name="T21" fmla="*/ 2080 h 2498"/>
              <a:gd name="T22" fmla="*/ 745 w 1081"/>
              <a:gd name="T23" fmla="*/ 2030 h 2498"/>
              <a:gd name="T24" fmla="*/ 40 w 1081"/>
              <a:gd name="T25" fmla="*/ 2010 h 2498"/>
              <a:gd name="T26" fmla="*/ 18 w 1081"/>
              <a:gd name="T27" fmla="*/ 1967 h 2498"/>
              <a:gd name="T28" fmla="*/ 31 w 1081"/>
              <a:gd name="T29" fmla="*/ 2022 h 2498"/>
              <a:gd name="T30" fmla="*/ 908 w 1081"/>
              <a:gd name="T31" fmla="*/ 682 h 2498"/>
              <a:gd name="T32" fmla="*/ 855 w 1081"/>
              <a:gd name="T33" fmla="*/ 979 h 2498"/>
              <a:gd name="T34" fmla="*/ 577 w 1081"/>
              <a:gd name="T35" fmla="*/ 1236 h 2498"/>
              <a:gd name="T36" fmla="*/ 878 w 1081"/>
              <a:gd name="T37" fmla="*/ 81 h 2498"/>
              <a:gd name="T38" fmla="*/ 1025 w 1081"/>
              <a:gd name="T39" fmla="*/ 320 h 2498"/>
              <a:gd name="T40" fmla="*/ 1049 w 1081"/>
              <a:gd name="T41" fmla="*/ 591 h 2498"/>
              <a:gd name="T42" fmla="*/ 974 w 1081"/>
              <a:gd name="T43" fmla="*/ 597 h 2498"/>
              <a:gd name="T44" fmla="*/ 937 w 1081"/>
              <a:gd name="T45" fmla="*/ 641 h 2498"/>
              <a:gd name="T46" fmla="*/ 907 w 1081"/>
              <a:gd name="T47" fmla="*/ 678 h 2498"/>
              <a:gd name="T48" fmla="*/ 892 w 1081"/>
              <a:gd name="T49" fmla="*/ 741 h 2498"/>
              <a:gd name="T50" fmla="*/ 882 w 1081"/>
              <a:gd name="T51" fmla="*/ 826 h 2498"/>
              <a:gd name="T52" fmla="*/ 860 w 1081"/>
              <a:gd name="T53" fmla="*/ 912 h 2498"/>
              <a:gd name="T54" fmla="*/ 758 w 1081"/>
              <a:gd name="T55" fmla="*/ 1044 h 2498"/>
              <a:gd name="T56" fmla="*/ 709 w 1081"/>
              <a:gd name="T57" fmla="*/ 1082 h 2498"/>
              <a:gd name="T58" fmla="*/ 669 w 1081"/>
              <a:gd name="T59" fmla="*/ 1114 h 2498"/>
              <a:gd name="T60" fmla="*/ 641 w 1081"/>
              <a:gd name="T61" fmla="*/ 1161 h 2498"/>
              <a:gd name="T62" fmla="*/ 622 w 1081"/>
              <a:gd name="T63" fmla="*/ 1177 h 2498"/>
              <a:gd name="T64" fmla="*/ 583 w 1081"/>
              <a:gd name="T65" fmla="*/ 1294 h 2498"/>
              <a:gd name="T66" fmla="*/ 566 w 1081"/>
              <a:gd name="T67" fmla="*/ 1368 h 2498"/>
              <a:gd name="T68" fmla="*/ 561 w 1081"/>
              <a:gd name="T69" fmla="*/ 1421 h 2498"/>
              <a:gd name="T70" fmla="*/ 577 w 1081"/>
              <a:gd name="T71" fmla="*/ 1550 h 2498"/>
              <a:gd name="T72" fmla="*/ 654 w 1081"/>
              <a:gd name="T73" fmla="*/ 1602 h 2498"/>
              <a:gd name="T74" fmla="*/ 693 w 1081"/>
              <a:gd name="T75" fmla="*/ 1643 h 2498"/>
              <a:gd name="T76" fmla="*/ 675 w 1081"/>
              <a:gd name="T77" fmla="*/ 1759 h 2498"/>
              <a:gd name="T78" fmla="*/ 694 w 1081"/>
              <a:gd name="T79" fmla="*/ 1801 h 2498"/>
              <a:gd name="T80" fmla="*/ 617 w 1081"/>
              <a:gd name="T81" fmla="*/ 1865 h 2498"/>
              <a:gd name="T82" fmla="*/ 579 w 1081"/>
              <a:gd name="T83" fmla="*/ 1897 h 2498"/>
              <a:gd name="T84" fmla="*/ 478 w 1081"/>
              <a:gd name="T85" fmla="*/ 1917 h 2498"/>
              <a:gd name="T86" fmla="*/ 528 w 1081"/>
              <a:gd name="T87" fmla="*/ 2001 h 2498"/>
              <a:gd name="T88" fmla="*/ 505 w 1081"/>
              <a:gd name="T89" fmla="*/ 2085 h 2498"/>
              <a:gd name="T90" fmla="*/ 502 w 1081"/>
              <a:gd name="T91" fmla="*/ 2195 h 2498"/>
              <a:gd name="T92" fmla="*/ 433 w 1081"/>
              <a:gd name="T93" fmla="*/ 2364 h 2498"/>
              <a:gd name="T94" fmla="*/ 313 w 1081"/>
              <a:gd name="T95" fmla="*/ 2355 h 2498"/>
              <a:gd name="T96" fmla="*/ 222 w 1081"/>
              <a:gd name="T97" fmla="*/ 2483 h 2498"/>
              <a:gd name="T98" fmla="*/ 124 w 1081"/>
              <a:gd name="T99" fmla="*/ 2396 h 2498"/>
              <a:gd name="T100" fmla="*/ 137 w 1081"/>
              <a:gd name="T101" fmla="*/ 2290 h 2498"/>
              <a:gd name="T102" fmla="*/ 51 w 1081"/>
              <a:gd name="T103" fmla="*/ 2112 h 2498"/>
              <a:gd name="T104" fmla="*/ 51 w 1081"/>
              <a:gd name="T105" fmla="*/ 2000 h 2498"/>
              <a:gd name="T106" fmla="*/ 35 w 1081"/>
              <a:gd name="T107" fmla="*/ 1930 h 2498"/>
              <a:gd name="T108" fmla="*/ 8 w 1081"/>
              <a:gd name="T109" fmla="*/ 1873 h 2498"/>
              <a:gd name="T110" fmla="*/ 69 w 1081"/>
              <a:gd name="T111" fmla="*/ 1714 h 2498"/>
              <a:gd name="T112" fmla="*/ 186 w 1081"/>
              <a:gd name="T113" fmla="*/ 1411 h 2498"/>
              <a:gd name="T114" fmla="*/ 154 w 1081"/>
              <a:gd name="T115" fmla="*/ 1016 h 2498"/>
              <a:gd name="T116" fmla="*/ 352 w 1081"/>
              <a:gd name="T117" fmla="*/ 697 h 2498"/>
              <a:gd name="T118" fmla="*/ 484 w 1081"/>
              <a:gd name="T119" fmla="*/ 317 h 2498"/>
              <a:gd name="T120" fmla="*/ 671 w 1081"/>
              <a:gd name="T121" fmla="*/ 108 h 2498"/>
              <a:gd name="T122" fmla="*/ 828 w 1081"/>
              <a:gd name="T123" fmla="*/ 36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" name="Freeform 204"/>
          <p:cNvSpPr>
            <a:spLocks noEditPoints="1"/>
          </p:cNvSpPr>
          <p:nvPr/>
        </p:nvSpPr>
        <p:spPr bwMode="auto">
          <a:xfrm>
            <a:off x="8884790" y="443808"/>
            <a:ext cx="1128476" cy="2611566"/>
          </a:xfrm>
          <a:custGeom>
            <a:avLst/>
            <a:gdLst>
              <a:gd name="T0" fmla="*/ 949 w 1081"/>
              <a:gd name="T1" fmla="*/ 650 h 2498"/>
              <a:gd name="T2" fmla="*/ 639 w 1081"/>
              <a:gd name="T3" fmla="*/ 1174 h 2498"/>
              <a:gd name="T4" fmla="*/ 696 w 1081"/>
              <a:gd name="T5" fmla="*/ 1628 h 2498"/>
              <a:gd name="T6" fmla="*/ 689 w 1081"/>
              <a:gd name="T7" fmla="*/ 1762 h 2498"/>
              <a:gd name="T8" fmla="*/ 690 w 1081"/>
              <a:gd name="T9" fmla="*/ 1804 h 2498"/>
              <a:gd name="T10" fmla="*/ 679 w 1081"/>
              <a:gd name="T11" fmla="*/ 1835 h 2498"/>
              <a:gd name="T12" fmla="*/ 646 w 1081"/>
              <a:gd name="T13" fmla="*/ 1844 h 2498"/>
              <a:gd name="T14" fmla="*/ 509 w 1081"/>
              <a:gd name="T15" fmla="*/ 2286 h 2498"/>
              <a:gd name="T16" fmla="*/ 548 w 1081"/>
              <a:gd name="T17" fmla="*/ 2143 h 2498"/>
              <a:gd name="T18" fmla="*/ 713 w 1081"/>
              <a:gd name="T19" fmla="*/ 2103 h 2498"/>
              <a:gd name="T20" fmla="*/ 651 w 1081"/>
              <a:gd name="T21" fmla="*/ 2153 h 2498"/>
              <a:gd name="T22" fmla="*/ 742 w 1081"/>
              <a:gd name="T23" fmla="*/ 2049 h 2498"/>
              <a:gd name="T24" fmla="*/ 51 w 1081"/>
              <a:gd name="T25" fmla="*/ 1961 h 2498"/>
              <a:gd name="T26" fmla="*/ 33 w 1081"/>
              <a:gd name="T27" fmla="*/ 2054 h 2498"/>
              <a:gd name="T28" fmla="*/ 24 w 1081"/>
              <a:gd name="T29" fmla="*/ 1967 h 2498"/>
              <a:gd name="T30" fmla="*/ 944 w 1081"/>
              <a:gd name="T31" fmla="*/ 667 h 2498"/>
              <a:gd name="T32" fmla="*/ 914 w 1081"/>
              <a:gd name="T33" fmla="*/ 700 h 2498"/>
              <a:gd name="T34" fmla="*/ 857 w 1081"/>
              <a:gd name="T35" fmla="*/ 990 h 2498"/>
              <a:gd name="T36" fmla="*/ 974 w 1081"/>
              <a:gd name="T37" fmla="*/ 608 h 2498"/>
              <a:gd name="T38" fmla="*/ 995 w 1081"/>
              <a:gd name="T39" fmla="*/ 175 h 2498"/>
              <a:gd name="T40" fmla="*/ 1031 w 1081"/>
              <a:gd name="T41" fmla="*/ 478 h 2498"/>
              <a:gd name="T42" fmla="*/ 1008 w 1081"/>
              <a:gd name="T43" fmla="*/ 603 h 2498"/>
              <a:gd name="T44" fmla="*/ 951 w 1081"/>
              <a:gd name="T45" fmla="*/ 619 h 2498"/>
              <a:gd name="T46" fmla="*/ 929 w 1081"/>
              <a:gd name="T47" fmla="*/ 662 h 2498"/>
              <a:gd name="T48" fmla="*/ 903 w 1081"/>
              <a:gd name="T49" fmla="*/ 693 h 2498"/>
              <a:gd name="T50" fmla="*/ 870 w 1081"/>
              <a:gd name="T51" fmla="*/ 789 h 2498"/>
              <a:gd name="T52" fmla="*/ 881 w 1081"/>
              <a:gd name="T53" fmla="*/ 882 h 2498"/>
              <a:gd name="T54" fmla="*/ 779 w 1081"/>
              <a:gd name="T55" fmla="*/ 1010 h 2498"/>
              <a:gd name="T56" fmla="*/ 720 w 1081"/>
              <a:gd name="T57" fmla="*/ 1065 h 2498"/>
              <a:gd name="T58" fmla="*/ 672 w 1081"/>
              <a:gd name="T59" fmla="*/ 1105 h 2498"/>
              <a:gd name="T60" fmla="*/ 645 w 1081"/>
              <a:gd name="T61" fmla="*/ 1155 h 2498"/>
              <a:gd name="T62" fmla="*/ 622 w 1081"/>
              <a:gd name="T63" fmla="*/ 1167 h 2498"/>
              <a:gd name="T64" fmla="*/ 583 w 1081"/>
              <a:gd name="T65" fmla="*/ 1294 h 2498"/>
              <a:gd name="T66" fmla="*/ 564 w 1081"/>
              <a:gd name="T67" fmla="*/ 1370 h 2498"/>
              <a:gd name="T68" fmla="*/ 560 w 1081"/>
              <a:gd name="T69" fmla="*/ 1433 h 2498"/>
              <a:gd name="T70" fmla="*/ 599 w 1081"/>
              <a:gd name="T71" fmla="*/ 1555 h 2498"/>
              <a:gd name="T72" fmla="*/ 673 w 1081"/>
              <a:gd name="T73" fmla="*/ 1616 h 2498"/>
              <a:gd name="T74" fmla="*/ 712 w 1081"/>
              <a:gd name="T75" fmla="*/ 1678 h 2498"/>
              <a:gd name="T76" fmla="*/ 643 w 1081"/>
              <a:gd name="T77" fmla="*/ 1773 h 2498"/>
              <a:gd name="T78" fmla="*/ 672 w 1081"/>
              <a:gd name="T79" fmla="*/ 1821 h 2498"/>
              <a:gd name="T80" fmla="*/ 612 w 1081"/>
              <a:gd name="T81" fmla="*/ 1854 h 2498"/>
              <a:gd name="T82" fmla="*/ 551 w 1081"/>
              <a:gd name="T83" fmla="*/ 1910 h 2498"/>
              <a:gd name="T84" fmla="*/ 504 w 1081"/>
              <a:gd name="T85" fmla="*/ 1953 h 2498"/>
              <a:gd name="T86" fmla="*/ 518 w 1081"/>
              <a:gd name="T87" fmla="*/ 2039 h 2498"/>
              <a:gd name="T88" fmla="*/ 506 w 1081"/>
              <a:gd name="T89" fmla="*/ 2128 h 2498"/>
              <a:gd name="T90" fmla="*/ 454 w 1081"/>
              <a:gd name="T91" fmla="*/ 2310 h 2498"/>
              <a:gd name="T92" fmla="*/ 372 w 1081"/>
              <a:gd name="T93" fmla="*/ 2352 h 2498"/>
              <a:gd name="T94" fmla="*/ 261 w 1081"/>
              <a:gd name="T95" fmla="*/ 2479 h 2498"/>
              <a:gd name="T96" fmla="*/ 139 w 1081"/>
              <a:gd name="T97" fmla="*/ 2424 h 2498"/>
              <a:gd name="T98" fmla="*/ 114 w 1081"/>
              <a:gd name="T99" fmla="*/ 2290 h 2498"/>
              <a:gd name="T100" fmla="*/ 59 w 1081"/>
              <a:gd name="T101" fmla="*/ 2127 h 2498"/>
              <a:gd name="T102" fmla="*/ 52 w 1081"/>
              <a:gd name="T103" fmla="*/ 2003 h 2498"/>
              <a:gd name="T104" fmla="*/ 35 w 1081"/>
              <a:gd name="T105" fmla="*/ 1930 h 2498"/>
              <a:gd name="T106" fmla="*/ 6 w 1081"/>
              <a:gd name="T107" fmla="*/ 1848 h 2498"/>
              <a:gd name="T108" fmla="*/ 78 w 1081"/>
              <a:gd name="T109" fmla="*/ 1689 h 2498"/>
              <a:gd name="T110" fmla="*/ 162 w 1081"/>
              <a:gd name="T111" fmla="*/ 1373 h 2498"/>
              <a:gd name="T112" fmla="*/ 239 w 1081"/>
              <a:gd name="T113" fmla="*/ 917 h 2498"/>
              <a:gd name="T114" fmla="*/ 357 w 1081"/>
              <a:gd name="T115" fmla="*/ 558 h 2498"/>
              <a:gd name="T116" fmla="*/ 551 w 1081"/>
              <a:gd name="T117" fmla="*/ 197 h 2498"/>
              <a:gd name="T118" fmla="*/ 751 w 1081"/>
              <a:gd name="T119" fmla="*/ 98 h 2498"/>
              <a:gd name="T120" fmla="*/ 860 w 1081"/>
              <a:gd name="T121" fmla="*/ 912 h 2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1" h="2498">
                <a:moveTo>
                  <a:pt x="1057" y="597"/>
                </a:moveTo>
                <a:lnTo>
                  <a:pt x="1057" y="597"/>
                </a:lnTo>
                <a:cubicBezTo>
                  <a:pt x="1057" y="596"/>
                  <a:pt x="1056" y="596"/>
                  <a:pt x="1056" y="596"/>
                </a:cubicBezTo>
                <a:lnTo>
                  <a:pt x="1055" y="596"/>
                </a:lnTo>
                <a:lnTo>
                  <a:pt x="1054" y="595"/>
                </a:lnTo>
                <a:cubicBezTo>
                  <a:pt x="1052" y="595"/>
                  <a:pt x="1050" y="596"/>
                  <a:pt x="1049" y="597"/>
                </a:cubicBezTo>
                <a:cubicBezTo>
                  <a:pt x="1048" y="599"/>
                  <a:pt x="1047" y="600"/>
                  <a:pt x="1046" y="600"/>
                </a:cubicBezTo>
                <a:cubicBezTo>
                  <a:pt x="1046" y="601"/>
                  <a:pt x="1047" y="602"/>
                  <a:pt x="1048" y="604"/>
                </a:cubicBezTo>
                <a:cubicBezTo>
                  <a:pt x="1049" y="606"/>
                  <a:pt x="1050" y="607"/>
                  <a:pt x="1051" y="607"/>
                </a:cubicBezTo>
                <a:cubicBezTo>
                  <a:pt x="1052" y="608"/>
                  <a:pt x="1054" y="606"/>
                  <a:pt x="1056" y="604"/>
                </a:cubicBezTo>
                <a:cubicBezTo>
                  <a:pt x="1059" y="602"/>
                  <a:pt x="1060" y="600"/>
                  <a:pt x="1060" y="600"/>
                </a:cubicBezTo>
                <a:cubicBezTo>
                  <a:pt x="1060" y="599"/>
                  <a:pt x="1059" y="598"/>
                  <a:pt x="1057" y="597"/>
                </a:cubicBezTo>
                <a:lnTo>
                  <a:pt x="1057" y="597"/>
                </a:lnTo>
                <a:close/>
                <a:moveTo>
                  <a:pt x="949" y="650"/>
                </a:moveTo>
                <a:lnTo>
                  <a:pt x="949" y="650"/>
                </a:lnTo>
                <a:cubicBezTo>
                  <a:pt x="950" y="651"/>
                  <a:pt x="950" y="652"/>
                  <a:pt x="951" y="652"/>
                </a:cubicBezTo>
                <a:cubicBezTo>
                  <a:pt x="948" y="654"/>
                  <a:pt x="946" y="655"/>
                  <a:pt x="945" y="655"/>
                </a:cubicBezTo>
                <a:cubicBezTo>
                  <a:pt x="944" y="655"/>
                  <a:pt x="943" y="655"/>
                  <a:pt x="942" y="654"/>
                </a:cubicBezTo>
                <a:cubicBezTo>
                  <a:pt x="942" y="653"/>
                  <a:pt x="942" y="652"/>
                  <a:pt x="942" y="650"/>
                </a:cubicBezTo>
                <a:cubicBezTo>
                  <a:pt x="942" y="649"/>
                  <a:pt x="944" y="649"/>
                  <a:pt x="946" y="649"/>
                </a:cubicBezTo>
                <a:cubicBezTo>
                  <a:pt x="947" y="649"/>
                  <a:pt x="949" y="649"/>
                  <a:pt x="949" y="650"/>
                </a:cubicBezTo>
                <a:lnTo>
                  <a:pt x="949" y="650"/>
                </a:lnTo>
                <a:close/>
                <a:moveTo>
                  <a:pt x="972" y="636"/>
                </a:moveTo>
                <a:lnTo>
                  <a:pt x="972" y="636"/>
                </a:lnTo>
                <a:cubicBezTo>
                  <a:pt x="974" y="636"/>
                  <a:pt x="974" y="637"/>
                  <a:pt x="974" y="638"/>
                </a:cubicBezTo>
                <a:cubicBezTo>
                  <a:pt x="974" y="640"/>
                  <a:pt x="972" y="641"/>
                  <a:pt x="968" y="641"/>
                </a:cubicBezTo>
                <a:cubicBezTo>
                  <a:pt x="966" y="641"/>
                  <a:pt x="965" y="640"/>
                  <a:pt x="964" y="639"/>
                </a:cubicBezTo>
                <a:cubicBezTo>
                  <a:pt x="965" y="638"/>
                  <a:pt x="967" y="637"/>
                  <a:pt x="970" y="636"/>
                </a:cubicBezTo>
                <a:cubicBezTo>
                  <a:pt x="970" y="635"/>
                  <a:pt x="971" y="635"/>
                  <a:pt x="971" y="635"/>
                </a:cubicBezTo>
                <a:cubicBezTo>
                  <a:pt x="971" y="635"/>
                  <a:pt x="971" y="635"/>
                  <a:pt x="972" y="635"/>
                </a:cubicBezTo>
                <a:cubicBezTo>
                  <a:pt x="972" y="635"/>
                  <a:pt x="972" y="635"/>
                  <a:pt x="972" y="636"/>
                </a:cubicBezTo>
                <a:lnTo>
                  <a:pt x="972" y="636"/>
                </a:lnTo>
                <a:close/>
                <a:moveTo>
                  <a:pt x="677" y="1112"/>
                </a:moveTo>
                <a:lnTo>
                  <a:pt x="677" y="1112"/>
                </a:lnTo>
                <a:cubicBezTo>
                  <a:pt x="678" y="1112"/>
                  <a:pt x="679" y="1113"/>
                  <a:pt x="680" y="1113"/>
                </a:cubicBezTo>
                <a:cubicBezTo>
                  <a:pt x="681" y="1114"/>
                  <a:pt x="682" y="1115"/>
                  <a:pt x="682" y="1117"/>
                </a:cubicBezTo>
                <a:cubicBezTo>
                  <a:pt x="682" y="1119"/>
                  <a:pt x="681" y="1120"/>
                  <a:pt x="679" y="1120"/>
                </a:cubicBezTo>
                <a:cubicBezTo>
                  <a:pt x="678" y="1120"/>
                  <a:pt x="677" y="1119"/>
                  <a:pt x="677" y="1117"/>
                </a:cubicBezTo>
                <a:cubicBezTo>
                  <a:pt x="676" y="1116"/>
                  <a:pt x="676" y="1115"/>
                  <a:pt x="676" y="1114"/>
                </a:cubicBezTo>
                <a:cubicBezTo>
                  <a:pt x="676" y="1113"/>
                  <a:pt x="676" y="1112"/>
                  <a:pt x="677" y="1112"/>
                </a:cubicBezTo>
                <a:lnTo>
                  <a:pt x="677" y="1112"/>
                </a:lnTo>
                <a:close/>
                <a:moveTo>
                  <a:pt x="639" y="1174"/>
                </a:moveTo>
                <a:lnTo>
                  <a:pt x="639" y="1174"/>
                </a:lnTo>
                <a:cubicBezTo>
                  <a:pt x="638" y="1174"/>
                  <a:pt x="638" y="1177"/>
                  <a:pt x="637" y="1180"/>
                </a:cubicBezTo>
                <a:cubicBezTo>
                  <a:pt x="636" y="1183"/>
                  <a:pt x="634" y="1185"/>
                  <a:pt x="632" y="1184"/>
                </a:cubicBezTo>
                <a:cubicBezTo>
                  <a:pt x="631" y="1184"/>
                  <a:pt x="630" y="1183"/>
                  <a:pt x="629" y="1180"/>
                </a:cubicBezTo>
                <a:cubicBezTo>
                  <a:pt x="628" y="1178"/>
                  <a:pt x="627" y="1177"/>
                  <a:pt x="627" y="1175"/>
                </a:cubicBezTo>
                <a:cubicBezTo>
                  <a:pt x="628" y="1174"/>
                  <a:pt x="628" y="1173"/>
                  <a:pt x="628" y="1172"/>
                </a:cubicBezTo>
                <a:cubicBezTo>
                  <a:pt x="631" y="1173"/>
                  <a:pt x="634" y="1173"/>
                  <a:pt x="639" y="1174"/>
                </a:cubicBezTo>
                <a:lnTo>
                  <a:pt x="639" y="1174"/>
                </a:lnTo>
                <a:close/>
                <a:moveTo>
                  <a:pt x="683" y="1608"/>
                </a:moveTo>
                <a:lnTo>
                  <a:pt x="683" y="1608"/>
                </a:lnTo>
                <a:cubicBezTo>
                  <a:pt x="683" y="1609"/>
                  <a:pt x="683" y="1610"/>
                  <a:pt x="682" y="1611"/>
                </a:cubicBezTo>
                <a:cubicBezTo>
                  <a:pt x="681" y="1612"/>
                  <a:pt x="680" y="1613"/>
                  <a:pt x="679" y="1613"/>
                </a:cubicBezTo>
                <a:cubicBezTo>
                  <a:pt x="673" y="1607"/>
                  <a:pt x="669" y="1603"/>
                  <a:pt x="668" y="1603"/>
                </a:cubicBezTo>
                <a:cubicBezTo>
                  <a:pt x="667" y="1601"/>
                  <a:pt x="666" y="1599"/>
                  <a:pt x="665" y="1596"/>
                </a:cubicBezTo>
                <a:cubicBezTo>
                  <a:pt x="665" y="1593"/>
                  <a:pt x="664" y="1590"/>
                  <a:pt x="663" y="1589"/>
                </a:cubicBezTo>
                <a:lnTo>
                  <a:pt x="664" y="1582"/>
                </a:lnTo>
                <a:cubicBezTo>
                  <a:pt x="665" y="1582"/>
                  <a:pt x="667" y="1583"/>
                  <a:pt x="668" y="1585"/>
                </a:cubicBezTo>
                <a:cubicBezTo>
                  <a:pt x="670" y="1587"/>
                  <a:pt x="672" y="1590"/>
                  <a:pt x="673" y="1593"/>
                </a:cubicBezTo>
                <a:cubicBezTo>
                  <a:pt x="675" y="1599"/>
                  <a:pt x="678" y="1604"/>
                  <a:pt x="683" y="1608"/>
                </a:cubicBezTo>
                <a:lnTo>
                  <a:pt x="683" y="1608"/>
                </a:lnTo>
                <a:close/>
                <a:moveTo>
                  <a:pt x="696" y="1628"/>
                </a:moveTo>
                <a:lnTo>
                  <a:pt x="696" y="1628"/>
                </a:lnTo>
                <a:cubicBezTo>
                  <a:pt x="698" y="1629"/>
                  <a:pt x="700" y="1630"/>
                  <a:pt x="701" y="1631"/>
                </a:cubicBezTo>
                <a:cubicBezTo>
                  <a:pt x="700" y="1634"/>
                  <a:pt x="698" y="1636"/>
                  <a:pt x="695" y="1637"/>
                </a:cubicBezTo>
                <a:cubicBezTo>
                  <a:pt x="694" y="1634"/>
                  <a:pt x="693" y="1633"/>
                  <a:pt x="693" y="1632"/>
                </a:cubicBezTo>
                <a:cubicBezTo>
                  <a:pt x="693" y="1631"/>
                  <a:pt x="694" y="1630"/>
                  <a:pt x="696" y="1628"/>
                </a:cubicBezTo>
                <a:lnTo>
                  <a:pt x="696" y="1628"/>
                </a:lnTo>
                <a:close/>
                <a:moveTo>
                  <a:pt x="713" y="1740"/>
                </a:moveTo>
                <a:lnTo>
                  <a:pt x="713" y="1740"/>
                </a:lnTo>
                <a:cubicBezTo>
                  <a:pt x="712" y="1742"/>
                  <a:pt x="711" y="1743"/>
                  <a:pt x="708" y="1743"/>
                </a:cubicBezTo>
                <a:cubicBezTo>
                  <a:pt x="708" y="1741"/>
                  <a:pt x="708" y="1740"/>
                  <a:pt x="708" y="1739"/>
                </a:cubicBezTo>
                <a:cubicBezTo>
                  <a:pt x="711" y="1736"/>
                  <a:pt x="712" y="1733"/>
                  <a:pt x="713" y="1733"/>
                </a:cubicBezTo>
                <a:cubicBezTo>
                  <a:pt x="713" y="1733"/>
                  <a:pt x="713" y="1733"/>
                  <a:pt x="713" y="1733"/>
                </a:cubicBezTo>
                <a:lnTo>
                  <a:pt x="713" y="1733"/>
                </a:lnTo>
                <a:cubicBezTo>
                  <a:pt x="714" y="1733"/>
                  <a:pt x="715" y="1733"/>
                  <a:pt x="716" y="1733"/>
                </a:cubicBezTo>
                <a:lnTo>
                  <a:pt x="716" y="1736"/>
                </a:lnTo>
                <a:cubicBezTo>
                  <a:pt x="716" y="1736"/>
                  <a:pt x="715" y="1738"/>
                  <a:pt x="713" y="1740"/>
                </a:cubicBezTo>
                <a:lnTo>
                  <a:pt x="713" y="1740"/>
                </a:lnTo>
                <a:close/>
                <a:moveTo>
                  <a:pt x="691" y="1756"/>
                </a:moveTo>
                <a:lnTo>
                  <a:pt x="691" y="1756"/>
                </a:lnTo>
                <a:cubicBezTo>
                  <a:pt x="691" y="1756"/>
                  <a:pt x="692" y="1757"/>
                  <a:pt x="693" y="1758"/>
                </a:cubicBezTo>
                <a:cubicBezTo>
                  <a:pt x="693" y="1758"/>
                  <a:pt x="691" y="1759"/>
                  <a:pt x="689" y="1762"/>
                </a:cubicBezTo>
                <a:cubicBezTo>
                  <a:pt x="687" y="1764"/>
                  <a:pt x="685" y="1765"/>
                  <a:pt x="683" y="1765"/>
                </a:cubicBezTo>
                <a:cubicBezTo>
                  <a:pt x="685" y="1761"/>
                  <a:pt x="686" y="1758"/>
                  <a:pt x="687" y="1756"/>
                </a:cubicBezTo>
                <a:cubicBezTo>
                  <a:pt x="688" y="1756"/>
                  <a:pt x="689" y="1756"/>
                  <a:pt x="691" y="1756"/>
                </a:cubicBezTo>
                <a:lnTo>
                  <a:pt x="691" y="1756"/>
                </a:lnTo>
                <a:close/>
                <a:moveTo>
                  <a:pt x="703" y="1789"/>
                </a:moveTo>
                <a:lnTo>
                  <a:pt x="703" y="1789"/>
                </a:lnTo>
                <a:cubicBezTo>
                  <a:pt x="703" y="1790"/>
                  <a:pt x="703" y="1790"/>
                  <a:pt x="703" y="1790"/>
                </a:cubicBezTo>
                <a:lnTo>
                  <a:pt x="699" y="1790"/>
                </a:lnTo>
                <a:cubicBezTo>
                  <a:pt x="698" y="1790"/>
                  <a:pt x="698" y="1789"/>
                  <a:pt x="696" y="1788"/>
                </a:cubicBezTo>
                <a:cubicBezTo>
                  <a:pt x="695" y="1787"/>
                  <a:pt x="695" y="1785"/>
                  <a:pt x="695" y="1785"/>
                </a:cubicBezTo>
                <a:cubicBezTo>
                  <a:pt x="695" y="1784"/>
                  <a:pt x="696" y="1783"/>
                  <a:pt x="698" y="1781"/>
                </a:cubicBezTo>
                <a:lnTo>
                  <a:pt x="700" y="1781"/>
                </a:lnTo>
                <a:cubicBezTo>
                  <a:pt x="700" y="1781"/>
                  <a:pt x="700" y="1781"/>
                  <a:pt x="700" y="1781"/>
                </a:cubicBezTo>
                <a:cubicBezTo>
                  <a:pt x="703" y="1783"/>
                  <a:pt x="704" y="1786"/>
                  <a:pt x="703" y="1789"/>
                </a:cubicBezTo>
                <a:lnTo>
                  <a:pt x="703" y="1789"/>
                </a:lnTo>
                <a:close/>
                <a:moveTo>
                  <a:pt x="681" y="1798"/>
                </a:moveTo>
                <a:lnTo>
                  <a:pt x="681" y="1798"/>
                </a:lnTo>
                <a:cubicBezTo>
                  <a:pt x="681" y="1798"/>
                  <a:pt x="681" y="1798"/>
                  <a:pt x="682" y="1799"/>
                </a:cubicBezTo>
                <a:cubicBezTo>
                  <a:pt x="682" y="1799"/>
                  <a:pt x="682" y="1799"/>
                  <a:pt x="683" y="1799"/>
                </a:cubicBezTo>
                <a:cubicBezTo>
                  <a:pt x="685" y="1801"/>
                  <a:pt x="686" y="1801"/>
                  <a:pt x="687" y="1802"/>
                </a:cubicBezTo>
                <a:cubicBezTo>
                  <a:pt x="688" y="1802"/>
                  <a:pt x="689" y="1803"/>
                  <a:pt x="690" y="1804"/>
                </a:cubicBezTo>
                <a:cubicBezTo>
                  <a:pt x="691" y="1806"/>
                  <a:pt x="692" y="1807"/>
                  <a:pt x="692" y="1807"/>
                </a:cubicBezTo>
                <a:cubicBezTo>
                  <a:pt x="688" y="1811"/>
                  <a:pt x="684" y="1812"/>
                  <a:pt x="681" y="1812"/>
                </a:cubicBezTo>
                <a:cubicBezTo>
                  <a:pt x="680" y="1812"/>
                  <a:pt x="679" y="1811"/>
                  <a:pt x="678" y="1810"/>
                </a:cubicBezTo>
                <a:cubicBezTo>
                  <a:pt x="678" y="1808"/>
                  <a:pt x="677" y="1807"/>
                  <a:pt x="676" y="1806"/>
                </a:cubicBezTo>
                <a:cubicBezTo>
                  <a:pt x="675" y="1805"/>
                  <a:pt x="674" y="1804"/>
                  <a:pt x="673" y="1803"/>
                </a:cubicBezTo>
                <a:cubicBezTo>
                  <a:pt x="671" y="1802"/>
                  <a:pt x="670" y="1801"/>
                  <a:pt x="670" y="1800"/>
                </a:cubicBezTo>
                <a:cubicBezTo>
                  <a:pt x="671" y="1798"/>
                  <a:pt x="672" y="1797"/>
                  <a:pt x="674" y="1797"/>
                </a:cubicBezTo>
                <a:cubicBezTo>
                  <a:pt x="675" y="1797"/>
                  <a:pt x="676" y="1797"/>
                  <a:pt x="677" y="1797"/>
                </a:cubicBezTo>
                <a:cubicBezTo>
                  <a:pt x="677" y="1797"/>
                  <a:pt x="678" y="1798"/>
                  <a:pt x="679" y="1798"/>
                </a:cubicBezTo>
                <a:cubicBezTo>
                  <a:pt x="679" y="1798"/>
                  <a:pt x="680" y="1798"/>
                  <a:pt x="681" y="1798"/>
                </a:cubicBezTo>
                <a:lnTo>
                  <a:pt x="681" y="1798"/>
                </a:lnTo>
                <a:close/>
                <a:moveTo>
                  <a:pt x="676" y="1841"/>
                </a:moveTo>
                <a:lnTo>
                  <a:pt x="676" y="1841"/>
                </a:lnTo>
                <a:cubicBezTo>
                  <a:pt x="673" y="1843"/>
                  <a:pt x="670" y="1844"/>
                  <a:pt x="667" y="1846"/>
                </a:cubicBezTo>
                <a:lnTo>
                  <a:pt x="666" y="1846"/>
                </a:lnTo>
                <a:lnTo>
                  <a:pt x="666" y="1844"/>
                </a:lnTo>
                <a:cubicBezTo>
                  <a:pt x="669" y="1842"/>
                  <a:pt x="670" y="1840"/>
                  <a:pt x="670" y="1838"/>
                </a:cubicBezTo>
                <a:cubicBezTo>
                  <a:pt x="671" y="1833"/>
                  <a:pt x="672" y="1831"/>
                  <a:pt x="674" y="1830"/>
                </a:cubicBezTo>
                <a:cubicBezTo>
                  <a:pt x="674" y="1830"/>
                  <a:pt x="674" y="1830"/>
                  <a:pt x="675" y="1830"/>
                </a:cubicBezTo>
                <a:cubicBezTo>
                  <a:pt x="676" y="1830"/>
                  <a:pt x="677" y="1830"/>
                  <a:pt x="678" y="1830"/>
                </a:cubicBezTo>
                <a:cubicBezTo>
                  <a:pt x="679" y="1831"/>
                  <a:pt x="679" y="1832"/>
                  <a:pt x="679" y="1835"/>
                </a:cubicBezTo>
                <a:cubicBezTo>
                  <a:pt x="678" y="1838"/>
                  <a:pt x="678" y="1840"/>
                  <a:pt x="676" y="1841"/>
                </a:cubicBezTo>
                <a:lnTo>
                  <a:pt x="676" y="1841"/>
                </a:lnTo>
                <a:close/>
                <a:moveTo>
                  <a:pt x="667" y="1857"/>
                </a:moveTo>
                <a:lnTo>
                  <a:pt x="667" y="1857"/>
                </a:lnTo>
                <a:lnTo>
                  <a:pt x="667" y="1858"/>
                </a:lnTo>
                <a:cubicBezTo>
                  <a:pt x="666" y="1860"/>
                  <a:pt x="664" y="1862"/>
                  <a:pt x="663" y="1863"/>
                </a:cubicBezTo>
                <a:cubicBezTo>
                  <a:pt x="661" y="1865"/>
                  <a:pt x="658" y="1866"/>
                  <a:pt x="654" y="1867"/>
                </a:cubicBezTo>
                <a:lnTo>
                  <a:pt x="655" y="1861"/>
                </a:lnTo>
                <a:cubicBezTo>
                  <a:pt x="656" y="1860"/>
                  <a:pt x="657" y="1859"/>
                  <a:pt x="657" y="1857"/>
                </a:cubicBezTo>
                <a:cubicBezTo>
                  <a:pt x="658" y="1856"/>
                  <a:pt x="659" y="1855"/>
                  <a:pt x="661" y="1855"/>
                </a:cubicBezTo>
                <a:cubicBezTo>
                  <a:pt x="661" y="1855"/>
                  <a:pt x="662" y="1855"/>
                  <a:pt x="662" y="1855"/>
                </a:cubicBezTo>
                <a:cubicBezTo>
                  <a:pt x="663" y="1856"/>
                  <a:pt x="665" y="1856"/>
                  <a:pt x="667" y="1857"/>
                </a:cubicBezTo>
                <a:lnTo>
                  <a:pt x="667" y="1857"/>
                </a:lnTo>
                <a:close/>
                <a:moveTo>
                  <a:pt x="646" y="1855"/>
                </a:moveTo>
                <a:lnTo>
                  <a:pt x="646" y="1855"/>
                </a:lnTo>
                <a:cubicBezTo>
                  <a:pt x="646" y="1855"/>
                  <a:pt x="645" y="1856"/>
                  <a:pt x="642" y="1855"/>
                </a:cubicBezTo>
                <a:cubicBezTo>
                  <a:pt x="641" y="1855"/>
                  <a:pt x="641" y="1855"/>
                  <a:pt x="640" y="1855"/>
                </a:cubicBezTo>
                <a:lnTo>
                  <a:pt x="640" y="1853"/>
                </a:lnTo>
                <a:cubicBezTo>
                  <a:pt x="640" y="1853"/>
                  <a:pt x="640" y="1852"/>
                  <a:pt x="640" y="1852"/>
                </a:cubicBezTo>
                <a:cubicBezTo>
                  <a:pt x="641" y="1850"/>
                  <a:pt x="641" y="1848"/>
                  <a:pt x="641" y="1847"/>
                </a:cubicBezTo>
                <a:cubicBezTo>
                  <a:pt x="642" y="1846"/>
                  <a:pt x="643" y="1845"/>
                  <a:pt x="646" y="1844"/>
                </a:cubicBezTo>
                <a:cubicBezTo>
                  <a:pt x="649" y="1845"/>
                  <a:pt x="651" y="1845"/>
                  <a:pt x="651" y="1845"/>
                </a:cubicBezTo>
                <a:lnTo>
                  <a:pt x="651" y="1851"/>
                </a:lnTo>
                <a:cubicBezTo>
                  <a:pt x="649" y="1852"/>
                  <a:pt x="648" y="1853"/>
                  <a:pt x="646" y="1855"/>
                </a:cubicBezTo>
                <a:lnTo>
                  <a:pt x="646" y="1855"/>
                </a:lnTo>
                <a:close/>
                <a:moveTo>
                  <a:pt x="533" y="1959"/>
                </a:moveTo>
                <a:lnTo>
                  <a:pt x="533" y="1959"/>
                </a:lnTo>
                <a:lnTo>
                  <a:pt x="532" y="1964"/>
                </a:lnTo>
                <a:cubicBezTo>
                  <a:pt x="529" y="1966"/>
                  <a:pt x="527" y="1968"/>
                  <a:pt x="525" y="1968"/>
                </a:cubicBezTo>
                <a:cubicBezTo>
                  <a:pt x="524" y="1965"/>
                  <a:pt x="523" y="1962"/>
                  <a:pt x="523" y="1958"/>
                </a:cubicBezTo>
                <a:cubicBezTo>
                  <a:pt x="524" y="1958"/>
                  <a:pt x="524" y="1958"/>
                  <a:pt x="524" y="1958"/>
                </a:cubicBezTo>
                <a:lnTo>
                  <a:pt x="533" y="1959"/>
                </a:lnTo>
                <a:lnTo>
                  <a:pt x="533" y="1959"/>
                </a:lnTo>
                <a:close/>
                <a:moveTo>
                  <a:pt x="550" y="2156"/>
                </a:moveTo>
                <a:lnTo>
                  <a:pt x="550" y="2156"/>
                </a:lnTo>
                <a:cubicBezTo>
                  <a:pt x="547" y="2159"/>
                  <a:pt x="545" y="2161"/>
                  <a:pt x="544" y="2162"/>
                </a:cubicBezTo>
                <a:cubicBezTo>
                  <a:pt x="545" y="2162"/>
                  <a:pt x="546" y="2163"/>
                  <a:pt x="548" y="2165"/>
                </a:cubicBezTo>
                <a:cubicBezTo>
                  <a:pt x="549" y="2165"/>
                  <a:pt x="550" y="2167"/>
                  <a:pt x="550" y="2168"/>
                </a:cubicBezTo>
                <a:cubicBezTo>
                  <a:pt x="549" y="2175"/>
                  <a:pt x="543" y="2191"/>
                  <a:pt x="530" y="2216"/>
                </a:cubicBezTo>
                <a:cubicBezTo>
                  <a:pt x="530" y="2217"/>
                  <a:pt x="531" y="2220"/>
                  <a:pt x="532" y="2223"/>
                </a:cubicBezTo>
                <a:cubicBezTo>
                  <a:pt x="532" y="2225"/>
                  <a:pt x="527" y="2235"/>
                  <a:pt x="520" y="2253"/>
                </a:cubicBezTo>
                <a:cubicBezTo>
                  <a:pt x="517" y="2261"/>
                  <a:pt x="513" y="2272"/>
                  <a:pt x="509" y="2286"/>
                </a:cubicBezTo>
                <a:cubicBezTo>
                  <a:pt x="506" y="2293"/>
                  <a:pt x="503" y="2304"/>
                  <a:pt x="499" y="2321"/>
                </a:cubicBezTo>
                <a:cubicBezTo>
                  <a:pt x="495" y="2335"/>
                  <a:pt x="490" y="2344"/>
                  <a:pt x="483" y="2349"/>
                </a:cubicBezTo>
                <a:lnTo>
                  <a:pt x="482" y="2348"/>
                </a:lnTo>
                <a:cubicBezTo>
                  <a:pt x="482" y="2346"/>
                  <a:pt x="482" y="2344"/>
                  <a:pt x="482" y="2341"/>
                </a:cubicBezTo>
                <a:cubicBezTo>
                  <a:pt x="481" y="2338"/>
                  <a:pt x="481" y="2336"/>
                  <a:pt x="481" y="2334"/>
                </a:cubicBezTo>
                <a:cubicBezTo>
                  <a:pt x="483" y="2328"/>
                  <a:pt x="484" y="2324"/>
                  <a:pt x="484" y="2322"/>
                </a:cubicBezTo>
                <a:cubicBezTo>
                  <a:pt x="485" y="2317"/>
                  <a:pt x="484" y="2313"/>
                  <a:pt x="482" y="2311"/>
                </a:cubicBezTo>
                <a:cubicBezTo>
                  <a:pt x="481" y="2308"/>
                  <a:pt x="480" y="2302"/>
                  <a:pt x="481" y="2293"/>
                </a:cubicBezTo>
                <a:cubicBezTo>
                  <a:pt x="481" y="2288"/>
                  <a:pt x="482" y="2285"/>
                  <a:pt x="483" y="2284"/>
                </a:cubicBezTo>
                <a:cubicBezTo>
                  <a:pt x="483" y="2283"/>
                  <a:pt x="485" y="2280"/>
                  <a:pt x="488" y="2276"/>
                </a:cubicBezTo>
                <a:cubicBezTo>
                  <a:pt x="490" y="2274"/>
                  <a:pt x="491" y="2271"/>
                  <a:pt x="492" y="2267"/>
                </a:cubicBezTo>
                <a:cubicBezTo>
                  <a:pt x="493" y="2262"/>
                  <a:pt x="494" y="2260"/>
                  <a:pt x="495" y="2258"/>
                </a:cubicBezTo>
                <a:cubicBezTo>
                  <a:pt x="496" y="2256"/>
                  <a:pt x="497" y="2253"/>
                  <a:pt x="498" y="2251"/>
                </a:cubicBezTo>
                <a:cubicBezTo>
                  <a:pt x="499" y="2246"/>
                  <a:pt x="500" y="2242"/>
                  <a:pt x="502" y="2240"/>
                </a:cubicBezTo>
                <a:cubicBezTo>
                  <a:pt x="504" y="2232"/>
                  <a:pt x="509" y="2228"/>
                  <a:pt x="514" y="2229"/>
                </a:cubicBezTo>
                <a:cubicBezTo>
                  <a:pt x="515" y="2221"/>
                  <a:pt x="516" y="2216"/>
                  <a:pt x="518" y="2213"/>
                </a:cubicBezTo>
                <a:cubicBezTo>
                  <a:pt x="524" y="2203"/>
                  <a:pt x="527" y="2198"/>
                  <a:pt x="527" y="2196"/>
                </a:cubicBezTo>
                <a:cubicBezTo>
                  <a:pt x="528" y="2191"/>
                  <a:pt x="529" y="2186"/>
                  <a:pt x="532" y="2181"/>
                </a:cubicBezTo>
                <a:cubicBezTo>
                  <a:pt x="534" y="2176"/>
                  <a:pt x="535" y="2173"/>
                  <a:pt x="535" y="2172"/>
                </a:cubicBezTo>
                <a:cubicBezTo>
                  <a:pt x="534" y="2169"/>
                  <a:pt x="534" y="2167"/>
                  <a:pt x="534" y="2167"/>
                </a:cubicBezTo>
                <a:cubicBezTo>
                  <a:pt x="536" y="2154"/>
                  <a:pt x="540" y="2146"/>
                  <a:pt x="548" y="2143"/>
                </a:cubicBezTo>
                <a:cubicBezTo>
                  <a:pt x="549" y="2144"/>
                  <a:pt x="549" y="2145"/>
                  <a:pt x="551" y="2146"/>
                </a:cubicBezTo>
                <a:cubicBezTo>
                  <a:pt x="553" y="2149"/>
                  <a:pt x="554" y="2151"/>
                  <a:pt x="554" y="2151"/>
                </a:cubicBezTo>
                <a:cubicBezTo>
                  <a:pt x="554" y="2152"/>
                  <a:pt x="552" y="2153"/>
                  <a:pt x="550" y="2156"/>
                </a:cubicBezTo>
                <a:lnTo>
                  <a:pt x="550" y="2156"/>
                </a:lnTo>
                <a:close/>
                <a:moveTo>
                  <a:pt x="756" y="1957"/>
                </a:moveTo>
                <a:lnTo>
                  <a:pt x="756" y="1957"/>
                </a:lnTo>
                <a:cubicBezTo>
                  <a:pt x="759" y="1957"/>
                  <a:pt x="761" y="1958"/>
                  <a:pt x="763" y="1959"/>
                </a:cubicBezTo>
                <a:lnTo>
                  <a:pt x="762" y="1962"/>
                </a:lnTo>
                <a:cubicBezTo>
                  <a:pt x="761" y="1963"/>
                  <a:pt x="759" y="1964"/>
                  <a:pt x="756" y="1963"/>
                </a:cubicBezTo>
                <a:cubicBezTo>
                  <a:pt x="754" y="1963"/>
                  <a:pt x="751" y="1961"/>
                  <a:pt x="748" y="1957"/>
                </a:cubicBezTo>
                <a:cubicBezTo>
                  <a:pt x="751" y="1957"/>
                  <a:pt x="754" y="1957"/>
                  <a:pt x="756" y="1957"/>
                </a:cubicBezTo>
                <a:lnTo>
                  <a:pt x="756" y="1957"/>
                </a:lnTo>
                <a:close/>
                <a:moveTo>
                  <a:pt x="738" y="2048"/>
                </a:moveTo>
                <a:lnTo>
                  <a:pt x="738" y="2048"/>
                </a:lnTo>
                <a:cubicBezTo>
                  <a:pt x="736" y="2051"/>
                  <a:pt x="732" y="2057"/>
                  <a:pt x="728" y="2065"/>
                </a:cubicBezTo>
                <a:cubicBezTo>
                  <a:pt x="728" y="2066"/>
                  <a:pt x="728" y="2069"/>
                  <a:pt x="729" y="2073"/>
                </a:cubicBezTo>
                <a:cubicBezTo>
                  <a:pt x="728" y="2074"/>
                  <a:pt x="728" y="2075"/>
                  <a:pt x="726" y="2076"/>
                </a:cubicBezTo>
                <a:cubicBezTo>
                  <a:pt x="723" y="2076"/>
                  <a:pt x="721" y="2076"/>
                  <a:pt x="720" y="2077"/>
                </a:cubicBezTo>
                <a:cubicBezTo>
                  <a:pt x="715" y="2078"/>
                  <a:pt x="712" y="2081"/>
                  <a:pt x="711" y="2088"/>
                </a:cubicBezTo>
                <a:cubicBezTo>
                  <a:pt x="711" y="2089"/>
                  <a:pt x="711" y="2091"/>
                  <a:pt x="712" y="2094"/>
                </a:cubicBezTo>
                <a:cubicBezTo>
                  <a:pt x="713" y="2097"/>
                  <a:pt x="714" y="2100"/>
                  <a:pt x="713" y="2103"/>
                </a:cubicBezTo>
                <a:cubicBezTo>
                  <a:pt x="713" y="2105"/>
                  <a:pt x="712" y="2108"/>
                  <a:pt x="711" y="2112"/>
                </a:cubicBezTo>
                <a:cubicBezTo>
                  <a:pt x="710" y="2118"/>
                  <a:pt x="712" y="2122"/>
                  <a:pt x="717" y="2124"/>
                </a:cubicBezTo>
                <a:cubicBezTo>
                  <a:pt x="720" y="2124"/>
                  <a:pt x="722" y="2125"/>
                  <a:pt x="722" y="2126"/>
                </a:cubicBezTo>
                <a:cubicBezTo>
                  <a:pt x="724" y="2127"/>
                  <a:pt x="725" y="2129"/>
                  <a:pt x="724" y="2132"/>
                </a:cubicBezTo>
                <a:cubicBezTo>
                  <a:pt x="724" y="2133"/>
                  <a:pt x="721" y="2136"/>
                  <a:pt x="714" y="2140"/>
                </a:cubicBezTo>
                <a:cubicBezTo>
                  <a:pt x="708" y="2145"/>
                  <a:pt x="704" y="2149"/>
                  <a:pt x="704" y="2153"/>
                </a:cubicBezTo>
                <a:cubicBezTo>
                  <a:pt x="704" y="2156"/>
                  <a:pt x="705" y="2159"/>
                  <a:pt x="707" y="2162"/>
                </a:cubicBezTo>
                <a:cubicBezTo>
                  <a:pt x="706" y="2162"/>
                  <a:pt x="699" y="2167"/>
                  <a:pt x="685" y="2176"/>
                </a:cubicBezTo>
                <a:cubicBezTo>
                  <a:pt x="682" y="2178"/>
                  <a:pt x="679" y="2182"/>
                  <a:pt x="676" y="2187"/>
                </a:cubicBezTo>
                <a:cubicBezTo>
                  <a:pt x="674" y="2191"/>
                  <a:pt x="673" y="2194"/>
                  <a:pt x="673" y="2196"/>
                </a:cubicBezTo>
                <a:cubicBezTo>
                  <a:pt x="673" y="2197"/>
                  <a:pt x="673" y="2199"/>
                  <a:pt x="674" y="2203"/>
                </a:cubicBezTo>
                <a:cubicBezTo>
                  <a:pt x="675" y="2206"/>
                  <a:pt x="676" y="2208"/>
                  <a:pt x="676" y="2208"/>
                </a:cubicBezTo>
                <a:cubicBezTo>
                  <a:pt x="673" y="2213"/>
                  <a:pt x="670" y="2216"/>
                  <a:pt x="668" y="2218"/>
                </a:cubicBezTo>
                <a:cubicBezTo>
                  <a:pt x="665" y="2222"/>
                  <a:pt x="660" y="2224"/>
                  <a:pt x="656" y="2225"/>
                </a:cubicBezTo>
                <a:cubicBezTo>
                  <a:pt x="655" y="2223"/>
                  <a:pt x="655" y="2221"/>
                  <a:pt x="655" y="2220"/>
                </a:cubicBezTo>
                <a:cubicBezTo>
                  <a:pt x="656" y="2214"/>
                  <a:pt x="658" y="2208"/>
                  <a:pt x="663" y="2205"/>
                </a:cubicBezTo>
                <a:cubicBezTo>
                  <a:pt x="667" y="2202"/>
                  <a:pt x="669" y="2199"/>
                  <a:pt x="669" y="2198"/>
                </a:cubicBezTo>
                <a:cubicBezTo>
                  <a:pt x="668" y="2194"/>
                  <a:pt x="667" y="2192"/>
                  <a:pt x="668" y="2191"/>
                </a:cubicBezTo>
                <a:cubicBezTo>
                  <a:pt x="665" y="2192"/>
                  <a:pt x="663" y="2192"/>
                  <a:pt x="662" y="2192"/>
                </a:cubicBezTo>
                <a:cubicBezTo>
                  <a:pt x="662" y="2192"/>
                  <a:pt x="657" y="2182"/>
                  <a:pt x="647" y="2162"/>
                </a:cubicBezTo>
                <a:cubicBezTo>
                  <a:pt x="648" y="2161"/>
                  <a:pt x="649" y="2157"/>
                  <a:pt x="651" y="2153"/>
                </a:cubicBezTo>
                <a:cubicBezTo>
                  <a:pt x="654" y="2149"/>
                  <a:pt x="655" y="2146"/>
                  <a:pt x="655" y="2144"/>
                </a:cubicBezTo>
                <a:cubicBezTo>
                  <a:pt x="656" y="2140"/>
                  <a:pt x="654" y="2136"/>
                  <a:pt x="652" y="2131"/>
                </a:cubicBezTo>
                <a:cubicBezTo>
                  <a:pt x="649" y="2127"/>
                  <a:pt x="647" y="2122"/>
                  <a:pt x="648" y="2116"/>
                </a:cubicBezTo>
                <a:cubicBezTo>
                  <a:pt x="649" y="2110"/>
                  <a:pt x="650" y="2105"/>
                  <a:pt x="651" y="2103"/>
                </a:cubicBezTo>
                <a:cubicBezTo>
                  <a:pt x="653" y="2101"/>
                  <a:pt x="654" y="2099"/>
                  <a:pt x="657" y="2098"/>
                </a:cubicBezTo>
                <a:cubicBezTo>
                  <a:pt x="664" y="2096"/>
                  <a:pt x="670" y="2090"/>
                  <a:pt x="674" y="2080"/>
                </a:cubicBezTo>
                <a:cubicBezTo>
                  <a:pt x="675" y="2079"/>
                  <a:pt x="676" y="2075"/>
                  <a:pt x="677" y="2069"/>
                </a:cubicBezTo>
                <a:cubicBezTo>
                  <a:pt x="678" y="2063"/>
                  <a:pt x="680" y="2060"/>
                  <a:pt x="681" y="2057"/>
                </a:cubicBezTo>
                <a:cubicBezTo>
                  <a:pt x="684" y="2054"/>
                  <a:pt x="687" y="2051"/>
                  <a:pt x="692" y="2048"/>
                </a:cubicBezTo>
                <a:cubicBezTo>
                  <a:pt x="697" y="2044"/>
                  <a:pt x="700" y="2043"/>
                  <a:pt x="701" y="2043"/>
                </a:cubicBezTo>
                <a:cubicBezTo>
                  <a:pt x="703" y="2043"/>
                  <a:pt x="705" y="2045"/>
                  <a:pt x="707" y="2047"/>
                </a:cubicBezTo>
                <a:cubicBezTo>
                  <a:pt x="708" y="2049"/>
                  <a:pt x="709" y="2051"/>
                  <a:pt x="710" y="2053"/>
                </a:cubicBezTo>
                <a:cubicBezTo>
                  <a:pt x="712" y="2051"/>
                  <a:pt x="714" y="2049"/>
                  <a:pt x="717" y="2046"/>
                </a:cubicBezTo>
                <a:cubicBezTo>
                  <a:pt x="721" y="2042"/>
                  <a:pt x="724" y="2040"/>
                  <a:pt x="726" y="2040"/>
                </a:cubicBezTo>
                <a:cubicBezTo>
                  <a:pt x="727" y="2041"/>
                  <a:pt x="729" y="2041"/>
                  <a:pt x="731" y="2043"/>
                </a:cubicBezTo>
                <a:cubicBezTo>
                  <a:pt x="733" y="2044"/>
                  <a:pt x="735" y="2046"/>
                  <a:pt x="738" y="2048"/>
                </a:cubicBezTo>
                <a:lnTo>
                  <a:pt x="738" y="2048"/>
                </a:lnTo>
                <a:close/>
                <a:moveTo>
                  <a:pt x="745" y="2030"/>
                </a:moveTo>
                <a:lnTo>
                  <a:pt x="745" y="2030"/>
                </a:lnTo>
                <a:cubicBezTo>
                  <a:pt x="751" y="2031"/>
                  <a:pt x="756" y="2032"/>
                  <a:pt x="760" y="2034"/>
                </a:cubicBezTo>
                <a:cubicBezTo>
                  <a:pt x="749" y="2037"/>
                  <a:pt x="743" y="2042"/>
                  <a:pt x="742" y="2049"/>
                </a:cubicBezTo>
                <a:lnTo>
                  <a:pt x="739" y="2049"/>
                </a:lnTo>
                <a:cubicBezTo>
                  <a:pt x="738" y="2048"/>
                  <a:pt x="738" y="2048"/>
                  <a:pt x="738" y="2048"/>
                </a:cubicBezTo>
                <a:cubicBezTo>
                  <a:pt x="737" y="2046"/>
                  <a:pt x="737" y="2046"/>
                  <a:pt x="736" y="2045"/>
                </a:cubicBezTo>
                <a:cubicBezTo>
                  <a:pt x="736" y="2045"/>
                  <a:pt x="736" y="2044"/>
                  <a:pt x="736" y="2042"/>
                </a:cubicBezTo>
                <a:cubicBezTo>
                  <a:pt x="736" y="2040"/>
                  <a:pt x="738" y="2038"/>
                  <a:pt x="741" y="2034"/>
                </a:cubicBezTo>
                <a:cubicBezTo>
                  <a:pt x="742" y="2032"/>
                  <a:pt x="743" y="2031"/>
                  <a:pt x="745" y="2030"/>
                </a:cubicBezTo>
                <a:lnTo>
                  <a:pt x="745" y="2030"/>
                </a:lnTo>
                <a:close/>
                <a:moveTo>
                  <a:pt x="44" y="1994"/>
                </a:moveTo>
                <a:lnTo>
                  <a:pt x="44" y="1994"/>
                </a:lnTo>
                <a:lnTo>
                  <a:pt x="43" y="1994"/>
                </a:lnTo>
                <a:cubicBezTo>
                  <a:pt x="43" y="1994"/>
                  <a:pt x="41" y="1993"/>
                  <a:pt x="39" y="1991"/>
                </a:cubicBezTo>
                <a:cubicBezTo>
                  <a:pt x="37" y="1989"/>
                  <a:pt x="35" y="1988"/>
                  <a:pt x="34" y="1988"/>
                </a:cubicBezTo>
                <a:cubicBezTo>
                  <a:pt x="31" y="1989"/>
                  <a:pt x="29" y="1989"/>
                  <a:pt x="28" y="1989"/>
                </a:cubicBezTo>
                <a:cubicBezTo>
                  <a:pt x="26" y="1989"/>
                  <a:pt x="24" y="1988"/>
                  <a:pt x="21" y="1986"/>
                </a:cubicBezTo>
                <a:cubicBezTo>
                  <a:pt x="18" y="1985"/>
                  <a:pt x="17" y="1983"/>
                  <a:pt x="17" y="1981"/>
                </a:cubicBezTo>
                <a:cubicBezTo>
                  <a:pt x="18" y="1978"/>
                  <a:pt x="18" y="1976"/>
                  <a:pt x="20" y="1975"/>
                </a:cubicBezTo>
                <a:cubicBezTo>
                  <a:pt x="21" y="1975"/>
                  <a:pt x="21" y="1974"/>
                  <a:pt x="21" y="1974"/>
                </a:cubicBezTo>
                <a:cubicBezTo>
                  <a:pt x="23" y="1973"/>
                  <a:pt x="25" y="1973"/>
                  <a:pt x="28" y="1972"/>
                </a:cubicBezTo>
                <a:cubicBezTo>
                  <a:pt x="29" y="1972"/>
                  <a:pt x="29" y="1971"/>
                  <a:pt x="30" y="1971"/>
                </a:cubicBezTo>
                <a:cubicBezTo>
                  <a:pt x="38" y="1969"/>
                  <a:pt x="44" y="1965"/>
                  <a:pt x="46" y="1959"/>
                </a:cubicBezTo>
                <a:cubicBezTo>
                  <a:pt x="48" y="1959"/>
                  <a:pt x="49" y="1960"/>
                  <a:pt x="51" y="1961"/>
                </a:cubicBezTo>
                <a:cubicBezTo>
                  <a:pt x="54" y="1963"/>
                  <a:pt x="55" y="1965"/>
                  <a:pt x="55" y="1967"/>
                </a:cubicBezTo>
                <a:cubicBezTo>
                  <a:pt x="54" y="1975"/>
                  <a:pt x="53" y="1981"/>
                  <a:pt x="51" y="1985"/>
                </a:cubicBezTo>
                <a:cubicBezTo>
                  <a:pt x="49" y="1991"/>
                  <a:pt x="47" y="1994"/>
                  <a:pt x="44" y="1994"/>
                </a:cubicBezTo>
                <a:lnTo>
                  <a:pt x="44" y="1994"/>
                </a:lnTo>
                <a:close/>
                <a:moveTo>
                  <a:pt x="47" y="2001"/>
                </a:moveTo>
                <a:lnTo>
                  <a:pt x="47" y="2001"/>
                </a:lnTo>
                <a:cubicBezTo>
                  <a:pt x="46" y="2003"/>
                  <a:pt x="44" y="2006"/>
                  <a:pt x="40" y="2010"/>
                </a:cubicBezTo>
                <a:cubicBezTo>
                  <a:pt x="37" y="2015"/>
                  <a:pt x="34" y="2018"/>
                  <a:pt x="31" y="2017"/>
                </a:cubicBezTo>
                <a:cubicBezTo>
                  <a:pt x="29" y="2017"/>
                  <a:pt x="28" y="2014"/>
                  <a:pt x="29" y="2008"/>
                </a:cubicBezTo>
                <a:cubicBezTo>
                  <a:pt x="27" y="2007"/>
                  <a:pt x="26" y="2006"/>
                  <a:pt x="25" y="2005"/>
                </a:cubicBezTo>
                <a:cubicBezTo>
                  <a:pt x="24" y="2004"/>
                  <a:pt x="23" y="2002"/>
                  <a:pt x="23" y="2001"/>
                </a:cubicBezTo>
                <a:cubicBezTo>
                  <a:pt x="23" y="2001"/>
                  <a:pt x="23" y="2000"/>
                  <a:pt x="24" y="2000"/>
                </a:cubicBezTo>
                <a:cubicBezTo>
                  <a:pt x="24" y="2000"/>
                  <a:pt x="24" y="1999"/>
                  <a:pt x="25" y="1999"/>
                </a:cubicBezTo>
                <a:cubicBezTo>
                  <a:pt x="25" y="1999"/>
                  <a:pt x="26" y="1999"/>
                  <a:pt x="26" y="2000"/>
                </a:cubicBezTo>
                <a:cubicBezTo>
                  <a:pt x="28" y="1999"/>
                  <a:pt x="30" y="1999"/>
                  <a:pt x="31" y="1998"/>
                </a:cubicBezTo>
                <a:cubicBezTo>
                  <a:pt x="37" y="1997"/>
                  <a:pt x="40" y="1996"/>
                  <a:pt x="42" y="1997"/>
                </a:cubicBezTo>
                <a:cubicBezTo>
                  <a:pt x="43" y="1997"/>
                  <a:pt x="44" y="1998"/>
                  <a:pt x="47" y="2000"/>
                </a:cubicBezTo>
                <a:cubicBezTo>
                  <a:pt x="47" y="2000"/>
                  <a:pt x="47" y="2001"/>
                  <a:pt x="47" y="2001"/>
                </a:cubicBezTo>
                <a:lnTo>
                  <a:pt x="47" y="2001"/>
                </a:lnTo>
                <a:close/>
                <a:moveTo>
                  <a:pt x="33" y="2054"/>
                </a:moveTo>
                <a:lnTo>
                  <a:pt x="33" y="2054"/>
                </a:lnTo>
                <a:cubicBezTo>
                  <a:pt x="33" y="2054"/>
                  <a:pt x="34" y="2053"/>
                  <a:pt x="34" y="2051"/>
                </a:cubicBezTo>
                <a:cubicBezTo>
                  <a:pt x="36" y="2052"/>
                  <a:pt x="37" y="2052"/>
                  <a:pt x="39" y="2052"/>
                </a:cubicBezTo>
                <a:cubicBezTo>
                  <a:pt x="39" y="2053"/>
                  <a:pt x="38" y="2053"/>
                  <a:pt x="38" y="2054"/>
                </a:cubicBezTo>
                <a:cubicBezTo>
                  <a:pt x="36" y="2057"/>
                  <a:pt x="34" y="2058"/>
                  <a:pt x="33" y="2058"/>
                </a:cubicBezTo>
                <a:lnTo>
                  <a:pt x="33" y="2054"/>
                </a:lnTo>
                <a:lnTo>
                  <a:pt x="33" y="2054"/>
                </a:lnTo>
                <a:close/>
                <a:moveTo>
                  <a:pt x="18" y="1967"/>
                </a:moveTo>
                <a:lnTo>
                  <a:pt x="18" y="1967"/>
                </a:lnTo>
                <a:cubicBezTo>
                  <a:pt x="18" y="1967"/>
                  <a:pt x="18" y="1968"/>
                  <a:pt x="19" y="1968"/>
                </a:cubicBezTo>
                <a:cubicBezTo>
                  <a:pt x="19" y="1969"/>
                  <a:pt x="19" y="1969"/>
                  <a:pt x="20" y="1969"/>
                </a:cubicBezTo>
                <a:cubicBezTo>
                  <a:pt x="19" y="1970"/>
                  <a:pt x="18" y="1971"/>
                  <a:pt x="17" y="1972"/>
                </a:cubicBezTo>
                <a:cubicBezTo>
                  <a:pt x="17" y="1972"/>
                  <a:pt x="16" y="1973"/>
                  <a:pt x="16" y="1973"/>
                </a:cubicBezTo>
                <a:cubicBezTo>
                  <a:pt x="15" y="1974"/>
                  <a:pt x="14" y="1974"/>
                  <a:pt x="12" y="1973"/>
                </a:cubicBezTo>
                <a:cubicBezTo>
                  <a:pt x="13" y="1970"/>
                  <a:pt x="15" y="1969"/>
                  <a:pt x="15" y="1968"/>
                </a:cubicBezTo>
                <a:cubicBezTo>
                  <a:pt x="16" y="1967"/>
                  <a:pt x="17" y="1967"/>
                  <a:pt x="18" y="1967"/>
                </a:cubicBezTo>
                <a:lnTo>
                  <a:pt x="18" y="1967"/>
                </a:lnTo>
                <a:close/>
                <a:moveTo>
                  <a:pt x="28" y="1963"/>
                </a:moveTo>
                <a:lnTo>
                  <a:pt x="28" y="1963"/>
                </a:lnTo>
                <a:cubicBezTo>
                  <a:pt x="28" y="1963"/>
                  <a:pt x="28" y="1964"/>
                  <a:pt x="28" y="1964"/>
                </a:cubicBezTo>
                <a:cubicBezTo>
                  <a:pt x="28" y="1965"/>
                  <a:pt x="28" y="1966"/>
                  <a:pt x="27" y="1967"/>
                </a:cubicBezTo>
                <a:cubicBezTo>
                  <a:pt x="26" y="1967"/>
                  <a:pt x="25" y="1967"/>
                  <a:pt x="24" y="1967"/>
                </a:cubicBezTo>
                <a:cubicBezTo>
                  <a:pt x="23" y="1967"/>
                  <a:pt x="23" y="1967"/>
                  <a:pt x="22" y="1966"/>
                </a:cubicBezTo>
                <a:cubicBezTo>
                  <a:pt x="21" y="1965"/>
                  <a:pt x="21" y="1964"/>
                  <a:pt x="21" y="1963"/>
                </a:cubicBezTo>
                <a:cubicBezTo>
                  <a:pt x="22" y="1963"/>
                  <a:pt x="22" y="1962"/>
                  <a:pt x="22" y="1962"/>
                </a:cubicBezTo>
                <a:cubicBezTo>
                  <a:pt x="23" y="1961"/>
                  <a:pt x="24" y="1960"/>
                  <a:pt x="26" y="1961"/>
                </a:cubicBezTo>
                <a:cubicBezTo>
                  <a:pt x="26" y="1962"/>
                  <a:pt x="26" y="1962"/>
                  <a:pt x="26" y="1962"/>
                </a:cubicBezTo>
                <a:cubicBezTo>
                  <a:pt x="27" y="1962"/>
                  <a:pt x="28" y="1962"/>
                  <a:pt x="28" y="1963"/>
                </a:cubicBezTo>
                <a:lnTo>
                  <a:pt x="28" y="1963"/>
                </a:lnTo>
                <a:close/>
                <a:moveTo>
                  <a:pt x="31" y="2022"/>
                </a:moveTo>
                <a:lnTo>
                  <a:pt x="31" y="2022"/>
                </a:lnTo>
                <a:cubicBezTo>
                  <a:pt x="31" y="2023"/>
                  <a:pt x="31" y="2023"/>
                  <a:pt x="31" y="2024"/>
                </a:cubicBezTo>
                <a:lnTo>
                  <a:pt x="32" y="2024"/>
                </a:lnTo>
                <a:cubicBezTo>
                  <a:pt x="34" y="2024"/>
                  <a:pt x="34" y="2025"/>
                  <a:pt x="34" y="2026"/>
                </a:cubicBezTo>
                <a:cubicBezTo>
                  <a:pt x="34" y="2027"/>
                  <a:pt x="33" y="2029"/>
                  <a:pt x="31" y="2032"/>
                </a:cubicBezTo>
                <a:cubicBezTo>
                  <a:pt x="28" y="2035"/>
                  <a:pt x="27" y="2037"/>
                  <a:pt x="26" y="2037"/>
                </a:cubicBezTo>
                <a:cubicBezTo>
                  <a:pt x="26" y="2036"/>
                  <a:pt x="26" y="2034"/>
                  <a:pt x="26" y="2031"/>
                </a:cubicBezTo>
                <a:cubicBezTo>
                  <a:pt x="26" y="2027"/>
                  <a:pt x="27" y="2025"/>
                  <a:pt x="28" y="2024"/>
                </a:cubicBezTo>
                <a:cubicBezTo>
                  <a:pt x="28" y="2023"/>
                  <a:pt x="29" y="2023"/>
                  <a:pt x="29" y="2023"/>
                </a:cubicBezTo>
                <a:cubicBezTo>
                  <a:pt x="29" y="2023"/>
                  <a:pt x="30" y="2022"/>
                  <a:pt x="31" y="2022"/>
                </a:cubicBezTo>
                <a:lnTo>
                  <a:pt x="31" y="2022"/>
                </a:lnTo>
                <a:close/>
                <a:moveTo>
                  <a:pt x="944" y="667"/>
                </a:moveTo>
                <a:lnTo>
                  <a:pt x="944" y="667"/>
                </a:lnTo>
                <a:cubicBezTo>
                  <a:pt x="944" y="668"/>
                  <a:pt x="943" y="669"/>
                  <a:pt x="942" y="669"/>
                </a:cubicBezTo>
                <a:cubicBezTo>
                  <a:pt x="941" y="668"/>
                  <a:pt x="940" y="667"/>
                  <a:pt x="938" y="665"/>
                </a:cubicBezTo>
                <a:cubicBezTo>
                  <a:pt x="937" y="664"/>
                  <a:pt x="937" y="663"/>
                  <a:pt x="937" y="662"/>
                </a:cubicBezTo>
                <a:cubicBezTo>
                  <a:pt x="937" y="662"/>
                  <a:pt x="937" y="662"/>
                  <a:pt x="938" y="662"/>
                </a:cubicBezTo>
                <a:cubicBezTo>
                  <a:pt x="939" y="663"/>
                  <a:pt x="940" y="663"/>
                  <a:pt x="942" y="664"/>
                </a:cubicBezTo>
                <a:cubicBezTo>
                  <a:pt x="944" y="665"/>
                  <a:pt x="944" y="666"/>
                  <a:pt x="944" y="667"/>
                </a:cubicBezTo>
                <a:lnTo>
                  <a:pt x="944" y="667"/>
                </a:lnTo>
                <a:close/>
                <a:moveTo>
                  <a:pt x="911" y="684"/>
                </a:moveTo>
                <a:lnTo>
                  <a:pt x="911" y="684"/>
                </a:lnTo>
                <a:cubicBezTo>
                  <a:pt x="909" y="683"/>
                  <a:pt x="908" y="683"/>
                  <a:pt x="908" y="682"/>
                </a:cubicBezTo>
                <a:cubicBezTo>
                  <a:pt x="909" y="681"/>
                  <a:pt x="910" y="681"/>
                  <a:pt x="910" y="680"/>
                </a:cubicBezTo>
                <a:cubicBezTo>
                  <a:pt x="910" y="680"/>
                  <a:pt x="911" y="680"/>
                  <a:pt x="911" y="680"/>
                </a:cubicBezTo>
                <a:cubicBezTo>
                  <a:pt x="911" y="680"/>
                  <a:pt x="911" y="680"/>
                  <a:pt x="911" y="680"/>
                </a:cubicBezTo>
                <a:cubicBezTo>
                  <a:pt x="912" y="680"/>
                  <a:pt x="913" y="682"/>
                  <a:pt x="914" y="685"/>
                </a:cubicBezTo>
                <a:lnTo>
                  <a:pt x="914" y="685"/>
                </a:lnTo>
                <a:cubicBezTo>
                  <a:pt x="912" y="685"/>
                  <a:pt x="911" y="684"/>
                  <a:pt x="911" y="684"/>
                </a:cubicBezTo>
                <a:lnTo>
                  <a:pt x="911" y="684"/>
                </a:lnTo>
                <a:close/>
                <a:moveTo>
                  <a:pt x="911" y="696"/>
                </a:moveTo>
                <a:lnTo>
                  <a:pt x="911" y="696"/>
                </a:lnTo>
                <a:cubicBezTo>
                  <a:pt x="914" y="697"/>
                  <a:pt x="915" y="698"/>
                  <a:pt x="915" y="699"/>
                </a:cubicBezTo>
                <a:lnTo>
                  <a:pt x="914" y="700"/>
                </a:lnTo>
                <a:lnTo>
                  <a:pt x="910" y="699"/>
                </a:lnTo>
                <a:cubicBezTo>
                  <a:pt x="909" y="698"/>
                  <a:pt x="909" y="697"/>
                  <a:pt x="909" y="697"/>
                </a:cubicBezTo>
                <a:cubicBezTo>
                  <a:pt x="909" y="696"/>
                  <a:pt x="909" y="696"/>
                  <a:pt x="909" y="696"/>
                </a:cubicBezTo>
                <a:cubicBezTo>
                  <a:pt x="910" y="696"/>
                  <a:pt x="911" y="696"/>
                  <a:pt x="911" y="696"/>
                </a:cubicBezTo>
                <a:lnTo>
                  <a:pt x="911" y="696"/>
                </a:lnTo>
                <a:close/>
                <a:moveTo>
                  <a:pt x="857" y="972"/>
                </a:moveTo>
                <a:lnTo>
                  <a:pt x="857" y="972"/>
                </a:lnTo>
                <a:cubicBezTo>
                  <a:pt x="858" y="972"/>
                  <a:pt x="858" y="972"/>
                  <a:pt x="858" y="972"/>
                </a:cubicBezTo>
                <a:cubicBezTo>
                  <a:pt x="859" y="972"/>
                  <a:pt x="859" y="973"/>
                  <a:pt x="859" y="975"/>
                </a:cubicBezTo>
                <a:cubicBezTo>
                  <a:pt x="858" y="976"/>
                  <a:pt x="858" y="978"/>
                  <a:pt x="857" y="978"/>
                </a:cubicBezTo>
                <a:cubicBezTo>
                  <a:pt x="856" y="979"/>
                  <a:pt x="855" y="979"/>
                  <a:pt x="855" y="979"/>
                </a:cubicBezTo>
                <a:cubicBezTo>
                  <a:pt x="852" y="979"/>
                  <a:pt x="851" y="977"/>
                  <a:pt x="851" y="976"/>
                </a:cubicBezTo>
                <a:cubicBezTo>
                  <a:pt x="852" y="975"/>
                  <a:pt x="852" y="974"/>
                  <a:pt x="854" y="973"/>
                </a:cubicBezTo>
                <a:cubicBezTo>
                  <a:pt x="854" y="973"/>
                  <a:pt x="854" y="973"/>
                  <a:pt x="854" y="973"/>
                </a:cubicBezTo>
                <a:cubicBezTo>
                  <a:pt x="855" y="972"/>
                  <a:pt x="856" y="972"/>
                  <a:pt x="857" y="972"/>
                </a:cubicBezTo>
                <a:lnTo>
                  <a:pt x="857" y="972"/>
                </a:lnTo>
                <a:close/>
                <a:moveTo>
                  <a:pt x="861" y="985"/>
                </a:moveTo>
                <a:lnTo>
                  <a:pt x="861" y="985"/>
                </a:lnTo>
                <a:cubicBezTo>
                  <a:pt x="861" y="985"/>
                  <a:pt x="861" y="985"/>
                  <a:pt x="861" y="986"/>
                </a:cubicBezTo>
                <a:lnTo>
                  <a:pt x="861" y="989"/>
                </a:lnTo>
                <a:cubicBezTo>
                  <a:pt x="859" y="990"/>
                  <a:pt x="857" y="990"/>
                  <a:pt x="857" y="990"/>
                </a:cubicBezTo>
                <a:cubicBezTo>
                  <a:pt x="857" y="989"/>
                  <a:pt x="856" y="988"/>
                  <a:pt x="856" y="987"/>
                </a:cubicBezTo>
                <a:cubicBezTo>
                  <a:pt x="856" y="987"/>
                  <a:pt x="857" y="987"/>
                  <a:pt x="858" y="986"/>
                </a:cubicBezTo>
                <a:cubicBezTo>
                  <a:pt x="858" y="985"/>
                  <a:pt x="858" y="985"/>
                  <a:pt x="858" y="985"/>
                </a:cubicBezTo>
                <a:cubicBezTo>
                  <a:pt x="859" y="985"/>
                  <a:pt x="860" y="985"/>
                  <a:pt x="861" y="985"/>
                </a:cubicBezTo>
                <a:lnTo>
                  <a:pt x="861" y="985"/>
                </a:lnTo>
                <a:close/>
                <a:moveTo>
                  <a:pt x="589" y="1227"/>
                </a:moveTo>
                <a:lnTo>
                  <a:pt x="589" y="1227"/>
                </a:lnTo>
                <a:cubicBezTo>
                  <a:pt x="590" y="1229"/>
                  <a:pt x="591" y="1231"/>
                  <a:pt x="590" y="1233"/>
                </a:cubicBezTo>
                <a:cubicBezTo>
                  <a:pt x="590" y="1235"/>
                  <a:pt x="589" y="1237"/>
                  <a:pt x="588" y="1239"/>
                </a:cubicBezTo>
                <a:cubicBezTo>
                  <a:pt x="586" y="1240"/>
                  <a:pt x="584" y="1241"/>
                  <a:pt x="581" y="1241"/>
                </a:cubicBezTo>
                <a:cubicBezTo>
                  <a:pt x="581" y="1241"/>
                  <a:pt x="580" y="1240"/>
                  <a:pt x="579" y="1239"/>
                </a:cubicBezTo>
                <a:cubicBezTo>
                  <a:pt x="578" y="1237"/>
                  <a:pt x="577" y="1236"/>
                  <a:pt x="577" y="1236"/>
                </a:cubicBezTo>
                <a:cubicBezTo>
                  <a:pt x="578" y="1229"/>
                  <a:pt x="580" y="1225"/>
                  <a:pt x="583" y="1223"/>
                </a:cubicBezTo>
                <a:cubicBezTo>
                  <a:pt x="583" y="1223"/>
                  <a:pt x="583" y="1223"/>
                  <a:pt x="584" y="1223"/>
                </a:cubicBezTo>
                <a:cubicBezTo>
                  <a:pt x="584" y="1223"/>
                  <a:pt x="585" y="1223"/>
                  <a:pt x="585" y="1223"/>
                </a:cubicBezTo>
                <a:cubicBezTo>
                  <a:pt x="587" y="1223"/>
                  <a:pt x="588" y="1225"/>
                  <a:pt x="589" y="1227"/>
                </a:cubicBezTo>
                <a:lnTo>
                  <a:pt x="589" y="1227"/>
                </a:lnTo>
                <a:close/>
                <a:moveTo>
                  <a:pt x="981" y="602"/>
                </a:moveTo>
                <a:lnTo>
                  <a:pt x="981" y="602"/>
                </a:lnTo>
                <a:cubicBezTo>
                  <a:pt x="982" y="603"/>
                  <a:pt x="983" y="607"/>
                  <a:pt x="984" y="612"/>
                </a:cubicBezTo>
                <a:cubicBezTo>
                  <a:pt x="980" y="611"/>
                  <a:pt x="976" y="609"/>
                  <a:pt x="974" y="608"/>
                </a:cubicBezTo>
                <a:cubicBezTo>
                  <a:pt x="970" y="606"/>
                  <a:pt x="968" y="603"/>
                  <a:pt x="968" y="600"/>
                </a:cubicBezTo>
                <a:cubicBezTo>
                  <a:pt x="969" y="600"/>
                  <a:pt x="971" y="599"/>
                  <a:pt x="974" y="598"/>
                </a:cubicBezTo>
                <a:lnTo>
                  <a:pt x="977" y="598"/>
                </a:lnTo>
                <a:cubicBezTo>
                  <a:pt x="979" y="599"/>
                  <a:pt x="980" y="601"/>
                  <a:pt x="981" y="602"/>
                </a:cubicBezTo>
                <a:lnTo>
                  <a:pt x="981" y="602"/>
                </a:lnTo>
                <a:close/>
                <a:moveTo>
                  <a:pt x="1011" y="590"/>
                </a:moveTo>
                <a:lnTo>
                  <a:pt x="1011" y="590"/>
                </a:lnTo>
                <a:cubicBezTo>
                  <a:pt x="1011" y="590"/>
                  <a:pt x="1012" y="590"/>
                  <a:pt x="1011" y="591"/>
                </a:cubicBezTo>
                <a:lnTo>
                  <a:pt x="1011" y="591"/>
                </a:lnTo>
                <a:lnTo>
                  <a:pt x="1011" y="590"/>
                </a:lnTo>
                <a:lnTo>
                  <a:pt x="1011" y="590"/>
                </a:lnTo>
                <a:close/>
                <a:moveTo>
                  <a:pt x="864" y="82"/>
                </a:moveTo>
                <a:lnTo>
                  <a:pt x="864" y="82"/>
                </a:lnTo>
                <a:cubicBezTo>
                  <a:pt x="867" y="82"/>
                  <a:pt x="871" y="82"/>
                  <a:pt x="878" y="81"/>
                </a:cubicBezTo>
                <a:cubicBezTo>
                  <a:pt x="881" y="81"/>
                  <a:pt x="884" y="83"/>
                  <a:pt x="886" y="86"/>
                </a:cubicBezTo>
                <a:cubicBezTo>
                  <a:pt x="887" y="88"/>
                  <a:pt x="890" y="92"/>
                  <a:pt x="893" y="97"/>
                </a:cubicBezTo>
                <a:cubicBezTo>
                  <a:pt x="901" y="107"/>
                  <a:pt x="914" y="113"/>
                  <a:pt x="934" y="115"/>
                </a:cubicBezTo>
                <a:cubicBezTo>
                  <a:pt x="946" y="116"/>
                  <a:pt x="955" y="121"/>
                  <a:pt x="964" y="129"/>
                </a:cubicBezTo>
                <a:cubicBezTo>
                  <a:pt x="972" y="137"/>
                  <a:pt x="976" y="146"/>
                  <a:pt x="976" y="157"/>
                </a:cubicBezTo>
                <a:cubicBezTo>
                  <a:pt x="982" y="157"/>
                  <a:pt x="986" y="159"/>
                  <a:pt x="989" y="163"/>
                </a:cubicBezTo>
                <a:cubicBezTo>
                  <a:pt x="991" y="165"/>
                  <a:pt x="993" y="169"/>
                  <a:pt x="995" y="175"/>
                </a:cubicBezTo>
                <a:cubicBezTo>
                  <a:pt x="998" y="182"/>
                  <a:pt x="1000" y="186"/>
                  <a:pt x="1001" y="188"/>
                </a:cubicBezTo>
                <a:cubicBezTo>
                  <a:pt x="1004" y="193"/>
                  <a:pt x="1007" y="196"/>
                  <a:pt x="1011" y="198"/>
                </a:cubicBezTo>
                <a:cubicBezTo>
                  <a:pt x="1011" y="202"/>
                  <a:pt x="1009" y="205"/>
                  <a:pt x="1007" y="207"/>
                </a:cubicBezTo>
                <a:cubicBezTo>
                  <a:pt x="1004" y="208"/>
                  <a:pt x="1002" y="212"/>
                  <a:pt x="1002" y="217"/>
                </a:cubicBezTo>
                <a:cubicBezTo>
                  <a:pt x="1001" y="228"/>
                  <a:pt x="1002" y="237"/>
                  <a:pt x="1005" y="244"/>
                </a:cubicBezTo>
                <a:cubicBezTo>
                  <a:pt x="1006" y="246"/>
                  <a:pt x="1007" y="248"/>
                  <a:pt x="1008" y="251"/>
                </a:cubicBezTo>
                <a:cubicBezTo>
                  <a:pt x="1009" y="253"/>
                  <a:pt x="1010" y="255"/>
                  <a:pt x="1010" y="257"/>
                </a:cubicBezTo>
                <a:cubicBezTo>
                  <a:pt x="1010" y="258"/>
                  <a:pt x="1007" y="261"/>
                  <a:pt x="1003" y="265"/>
                </a:cubicBezTo>
                <a:lnTo>
                  <a:pt x="1001" y="288"/>
                </a:lnTo>
                <a:cubicBezTo>
                  <a:pt x="1001" y="288"/>
                  <a:pt x="1002" y="288"/>
                  <a:pt x="1004" y="287"/>
                </a:cubicBezTo>
                <a:cubicBezTo>
                  <a:pt x="1005" y="286"/>
                  <a:pt x="1006" y="286"/>
                  <a:pt x="1007" y="286"/>
                </a:cubicBezTo>
                <a:cubicBezTo>
                  <a:pt x="1026" y="288"/>
                  <a:pt x="1035" y="297"/>
                  <a:pt x="1033" y="312"/>
                </a:cubicBezTo>
                <a:cubicBezTo>
                  <a:pt x="1033" y="315"/>
                  <a:pt x="1030" y="318"/>
                  <a:pt x="1025" y="320"/>
                </a:cubicBezTo>
                <a:cubicBezTo>
                  <a:pt x="1019" y="323"/>
                  <a:pt x="1016" y="326"/>
                  <a:pt x="1016" y="330"/>
                </a:cubicBezTo>
                <a:cubicBezTo>
                  <a:pt x="1015" y="337"/>
                  <a:pt x="1022" y="349"/>
                  <a:pt x="1035" y="367"/>
                </a:cubicBezTo>
                <a:cubicBezTo>
                  <a:pt x="1048" y="384"/>
                  <a:pt x="1055" y="396"/>
                  <a:pt x="1054" y="401"/>
                </a:cubicBezTo>
                <a:cubicBezTo>
                  <a:pt x="1051" y="408"/>
                  <a:pt x="1049" y="411"/>
                  <a:pt x="1049" y="412"/>
                </a:cubicBezTo>
                <a:cubicBezTo>
                  <a:pt x="1048" y="415"/>
                  <a:pt x="1049" y="421"/>
                  <a:pt x="1050" y="432"/>
                </a:cubicBezTo>
                <a:cubicBezTo>
                  <a:pt x="1052" y="442"/>
                  <a:pt x="1052" y="447"/>
                  <a:pt x="1052" y="447"/>
                </a:cubicBezTo>
                <a:cubicBezTo>
                  <a:pt x="1052" y="453"/>
                  <a:pt x="1048" y="459"/>
                  <a:pt x="1041" y="467"/>
                </a:cubicBezTo>
                <a:cubicBezTo>
                  <a:pt x="1034" y="474"/>
                  <a:pt x="1031" y="477"/>
                  <a:pt x="1031" y="478"/>
                </a:cubicBezTo>
                <a:cubicBezTo>
                  <a:pt x="1030" y="490"/>
                  <a:pt x="1033" y="501"/>
                  <a:pt x="1042" y="512"/>
                </a:cubicBezTo>
                <a:cubicBezTo>
                  <a:pt x="1045" y="515"/>
                  <a:pt x="1049" y="520"/>
                  <a:pt x="1054" y="526"/>
                </a:cubicBezTo>
                <a:cubicBezTo>
                  <a:pt x="1058" y="532"/>
                  <a:pt x="1062" y="537"/>
                  <a:pt x="1064" y="542"/>
                </a:cubicBezTo>
                <a:cubicBezTo>
                  <a:pt x="1066" y="546"/>
                  <a:pt x="1069" y="552"/>
                  <a:pt x="1073" y="561"/>
                </a:cubicBezTo>
                <a:cubicBezTo>
                  <a:pt x="1076" y="569"/>
                  <a:pt x="1079" y="576"/>
                  <a:pt x="1080" y="580"/>
                </a:cubicBezTo>
                <a:cubicBezTo>
                  <a:pt x="1080" y="582"/>
                  <a:pt x="1080" y="584"/>
                  <a:pt x="1081" y="586"/>
                </a:cubicBezTo>
                <a:cubicBezTo>
                  <a:pt x="1078" y="586"/>
                  <a:pt x="1076" y="588"/>
                  <a:pt x="1074" y="589"/>
                </a:cubicBezTo>
                <a:cubicBezTo>
                  <a:pt x="1070" y="592"/>
                  <a:pt x="1068" y="594"/>
                  <a:pt x="1067" y="593"/>
                </a:cubicBezTo>
                <a:cubicBezTo>
                  <a:pt x="1066" y="593"/>
                  <a:pt x="1064" y="592"/>
                  <a:pt x="1061" y="591"/>
                </a:cubicBezTo>
                <a:cubicBezTo>
                  <a:pt x="1059" y="589"/>
                  <a:pt x="1057" y="588"/>
                  <a:pt x="1055" y="588"/>
                </a:cubicBezTo>
                <a:cubicBezTo>
                  <a:pt x="1053" y="588"/>
                  <a:pt x="1051" y="589"/>
                  <a:pt x="1049" y="591"/>
                </a:cubicBezTo>
                <a:cubicBezTo>
                  <a:pt x="1049" y="591"/>
                  <a:pt x="1049" y="591"/>
                  <a:pt x="1049" y="591"/>
                </a:cubicBezTo>
                <a:cubicBezTo>
                  <a:pt x="1047" y="593"/>
                  <a:pt x="1045" y="594"/>
                  <a:pt x="1045" y="594"/>
                </a:cubicBezTo>
                <a:cubicBezTo>
                  <a:pt x="1040" y="592"/>
                  <a:pt x="1037" y="591"/>
                  <a:pt x="1034" y="591"/>
                </a:cubicBezTo>
                <a:cubicBezTo>
                  <a:pt x="1024" y="593"/>
                  <a:pt x="1019" y="593"/>
                  <a:pt x="1019" y="593"/>
                </a:cubicBezTo>
                <a:cubicBezTo>
                  <a:pt x="1017" y="592"/>
                  <a:pt x="1015" y="591"/>
                  <a:pt x="1011" y="591"/>
                </a:cubicBezTo>
                <a:cubicBezTo>
                  <a:pt x="1012" y="590"/>
                  <a:pt x="1011" y="590"/>
                  <a:pt x="1011" y="590"/>
                </a:cubicBezTo>
                <a:lnTo>
                  <a:pt x="1011" y="591"/>
                </a:lnTo>
                <a:lnTo>
                  <a:pt x="1011" y="591"/>
                </a:lnTo>
                <a:cubicBezTo>
                  <a:pt x="1014" y="595"/>
                  <a:pt x="1015" y="599"/>
                  <a:pt x="1017" y="602"/>
                </a:cubicBezTo>
                <a:cubicBezTo>
                  <a:pt x="1011" y="603"/>
                  <a:pt x="1008" y="603"/>
                  <a:pt x="1008" y="603"/>
                </a:cubicBezTo>
                <a:cubicBezTo>
                  <a:pt x="1009" y="606"/>
                  <a:pt x="1009" y="608"/>
                  <a:pt x="1009" y="609"/>
                </a:cubicBezTo>
                <a:cubicBezTo>
                  <a:pt x="1009" y="610"/>
                  <a:pt x="1009" y="610"/>
                  <a:pt x="1007" y="611"/>
                </a:cubicBezTo>
                <a:cubicBezTo>
                  <a:pt x="1006" y="609"/>
                  <a:pt x="1004" y="607"/>
                  <a:pt x="1000" y="603"/>
                </a:cubicBezTo>
                <a:cubicBezTo>
                  <a:pt x="995" y="599"/>
                  <a:pt x="992" y="596"/>
                  <a:pt x="990" y="596"/>
                </a:cubicBezTo>
                <a:cubicBezTo>
                  <a:pt x="988" y="597"/>
                  <a:pt x="987" y="597"/>
                  <a:pt x="987" y="597"/>
                </a:cubicBezTo>
                <a:cubicBezTo>
                  <a:pt x="986" y="596"/>
                  <a:pt x="985" y="594"/>
                  <a:pt x="984" y="593"/>
                </a:cubicBezTo>
                <a:cubicBezTo>
                  <a:pt x="978" y="586"/>
                  <a:pt x="975" y="582"/>
                  <a:pt x="974" y="582"/>
                </a:cubicBezTo>
                <a:cubicBezTo>
                  <a:pt x="972" y="582"/>
                  <a:pt x="971" y="583"/>
                  <a:pt x="971" y="584"/>
                </a:cubicBezTo>
                <a:cubicBezTo>
                  <a:pt x="971" y="585"/>
                  <a:pt x="972" y="587"/>
                  <a:pt x="973" y="590"/>
                </a:cubicBezTo>
                <a:cubicBezTo>
                  <a:pt x="975" y="593"/>
                  <a:pt x="976" y="595"/>
                  <a:pt x="976" y="595"/>
                </a:cubicBezTo>
                <a:cubicBezTo>
                  <a:pt x="976" y="596"/>
                  <a:pt x="975" y="597"/>
                  <a:pt x="974" y="597"/>
                </a:cubicBezTo>
                <a:cubicBezTo>
                  <a:pt x="974" y="597"/>
                  <a:pt x="973" y="598"/>
                  <a:pt x="972" y="598"/>
                </a:cubicBezTo>
                <a:cubicBezTo>
                  <a:pt x="971" y="598"/>
                  <a:pt x="969" y="598"/>
                  <a:pt x="967" y="599"/>
                </a:cubicBezTo>
                <a:cubicBezTo>
                  <a:pt x="965" y="599"/>
                  <a:pt x="964" y="600"/>
                  <a:pt x="962" y="601"/>
                </a:cubicBezTo>
                <a:cubicBezTo>
                  <a:pt x="961" y="603"/>
                  <a:pt x="960" y="603"/>
                  <a:pt x="959" y="604"/>
                </a:cubicBezTo>
                <a:cubicBezTo>
                  <a:pt x="960" y="600"/>
                  <a:pt x="960" y="596"/>
                  <a:pt x="958" y="593"/>
                </a:cubicBezTo>
                <a:cubicBezTo>
                  <a:pt x="957" y="591"/>
                  <a:pt x="955" y="589"/>
                  <a:pt x="952" y="586"/>
                </a:cubicBezTo>
                <a:cubicBezTo>
                  <a:pt x="949" y="592"/>
                  <a:pt x="948" y="597"/>
                  <a:pt x="947" y="601"/>
                </a:cubicBezTo>
                <a:cubicBezTo>
                  <a:pt x="947" y="605"/>
                  <a:pt x="948" y="609"/>
                  <a:pt x="949" y="613"/>
                </a:cubicBezTo>
                <a:cubicBezTo>
                  <a:pt x="951" y="616"/>
                  <a:pt x="952" y="618"/>
                  <a:pt x="952" y="618"/>
                </a:cubicBezTo>
                <a:cubicBezTo>
                  <a:pt x="951" y="619"/>
                  <a:pt x="951" y="619"/>
                  <a:pt x="951" y="619"/>
                </a:cubicBezTo>
                <a:cubicBezTo>
                  <a:pt x="946" y="619"/>
                  <a:pt x="941" y="620"/>
                  <a:pt x="939" y="622"/>
                </a:cubicBezTo>
                <a:cubicBezTo>
                  <a:pt x="940" y="624"/>
                  <a:pt x="943" y="625"/>
                  <a:pt x="948" y="627"/>
                </a:cubicBezTo>
                <a:cubicBezTo>
                  <a:pt x="952" y="628"/>
                  <a:pt x="955" y="629"/>
                  <a:pt x="954" y="630"/>
                </a:cubicBezTo>
                <a:cubicBezTo>
                  <a:pt x="954" y="631"/>
                  <a:pt x="954" y="632"/>
                  <a:pt x="953" y="634"/>
                </a:cubicBezTo>
                <a:cubicBezTo>
                  <a:pt x="951" y="635"/>
                  <a:pt x="951" y="637"/>
                  <a:pt x="951" y="639"/>
                </a:cubicBezTo>
                <a:cubicBezTo>
                  <a:pt x="951" y="641"/>
                  <a:pt x="951" y="642"/>
                  <a:pt x="951" y="643"/>
                </a:cubicBezTo>
                <a:cubicBezTo>
                  <a:pt x="951" y="645"/>
                  <a:pt x="950" y="646"/>
                  <a:pt x="949" y="645"/>
                </a:cubicBezTo>
                <a:lnTo>
                  <a:pt x="948" y="645"/>
                </a:lnTo>
                <a:cubicBezTo>
                  <a:pt x="947" y="645"/>
                  <a:pt x="945" y="644"/>
                  <a:pt x="942" y="643"/>
                </a:cubicBezTo>
                <a:cubicBezTo>
                  <a:pt x="939" y="642"/>
                  <a:pt x="937" y="641"/>
                  <a:pt x="937" y="641"/>
                </a:cubicBezTo>
                <a:lnTo>
                  <a:pt x="935" y="640"/>
                </a:lnTo>
                <a:cubicBezTo>
                  <a:pt x="935" y="643"/>
                  <a:pt x="935" y="645"/>
                  <a:pt x="935" y="646"/>
                </a:cubicBezTo>
                <a:cubicBezTo>
                  <a:pt x="935" y="647"/>
                  <a:pt x="935" y="647"/>
                  <a:pt x="935" y="647"/>
                </a:cubicBezTo>
                <a:cubicBezTo>
                  <a:pt x="935" y="648"/>
                  <a:pt x="934" y="649"/>
                  <a:pt x="934" y="652"/>
                </a:cubicBezTo>
                <a:cubicBezTo>
                  <a:pt x="934" y="653"/>
                  <a:pt x="933" y="654"/>
                  <a:pt x="933" y="655"/>
                </a:cubicBezTo>
                <a:cubicBezTo>
                  <a:pt x="932" y="656"/>
                  <a:pt x="932" y="656"/>
                  <a:pt x="931" y="656"/>
                </a:cubicBezTo>
                <a:cubicBezTo>
                  <a:pt x="926" y="654"/>
                  <a:pt x="922" y="652"/>
                  <a:pt x="920" y="652"/>
                </a:cubicBezTo>
                <a:lnTo>
                  <a:pt x="913" y="652"/>
                </a:lnTo>
                <a:cubicBezTo>
                  <a:pt x="914" y="652"/>
                  <a:pt x="914" y="652"/>
                  <a:pt x="914" y="653"/>
                </a:cubicBezTo>
                <a:cubicBezTo>
                  <a:pt x="915" y="654"/>
                  <a:pt x="918" y="655"/>
                  <a:pt x="921" y="658"/>
                </a:cubicBezTo>
                <a:cubicBezTo>
                  <a:pt x="924" y="660"/>
                  <a:pt x="927" y="662"/>
                  <a:pt x="929" y="662"/>
                </a:cubicBezTo>
                <a:lnTo>
                  <a:pt x="929" y="663"/>
                </a:lnTo>
                <a:cubicBezTo>
                  <a:pt x="926" y="668"/>
                  <a:pt x="923" y="671"/>
                  <a:pt x="922" y="670"/>
                </a:cubicBezTo>
                <a:cubicBezTo>
                  <a:pt x="919" y="670"/>
                  <a:pt x="918" y="671"/>
                  <a:pt x="918" y="672"/>
                </a:cubicBezTo>
                <a:cubicBezTo>
                  <a:pt x="918" y="673"/>
                  <a:pt x="918" y="674"/>
                  <a:pt x="918" y="674"/>
                </a:cubicBezTo>
                <a:cubicBezTo>
                  <a:pt x="918" y="675"/>
                  <a:pt x="918" y="675"/>
                  <a:pt x="916" y="675"/>
                </a:cubicBezTo>
                <a:cubicBezTo>
                  <a:pt x="916" y="675"/>
                  <a:pt x="915" y="676"/>
                  <a:pt x="912" y="676"/>
                </a:cubicBezTo>
                <a:cubicBezTo>
                  <a:pt x="911" y="676"/>
                  <a:pt x="911" y="677"/>
                  <a:pt x="910" y="677"/>
                </a:cubicBezTo>
                <a:cubicBezTo>
                  <a:pt x="910" y="677"/>
                  <a:pt x="909" y="677"/>
                  <a:pt x="909" y="677"/>
                </a:cubicBezTo>
                <a:cubicBezTo>
                  <a:pt x="909" y="677"/>
                  <a:pt x="908" y="677"/>
                  <a:pt x="907" y="678"/>
                </a:cubicBezTo>
                <a:cubicBezTo>
                  <a:pt x="906" y="677"/>
                  <a:pt x="905" y="677"/>
                  <a:pt x="904" y="676"/>
                </a:cubicBezTo>
                <a:cubicBezTo>
                  <a:pt x="903" y="675"/>
                  <a:pt x="902" y="674"/>
                  <a:pt x="902" y="674"/>
                </a:cubicBezTo>
                <a:cubicBezTo>
                  <a:pt x="900" y="674"/>
                  <a:pt x="899" y="674"/>
                  <a:pt x="899" y="676"/>
                </a:cubicBezTo>
                <a:cubicBezTo>
                  <a:pt x="899" y="677"/>
                  <a:pt x="899" y="679"/>
                  <a:pt x="899" y="679"/>
                </a:cubicBezTo>
                <a:lnTo>
                  <a:pt x="899" y="680"/>
                </a:lnTo>
                <a:cubicBezTo>
                  <a:pt x="897" y="679"/>
                  <a:pt x="895" y="679"/>
                  <a:pt x="892" y="679"/>
                </a:cubicBezTo>
                <a:cubicBezTo>
                  <a:pt x="888" y="680"/>
                  <a:pt x="886" y="681"/>
                  <a:pt x="886" y="683"/>
                </a:cubicBezTo>
                <a:cubicBezTo>
                  <a:pt x="885" y="689"/>
                  <a:pt x="886" y="692"/>
                  <a:pt x="889" y="693"/>
                </a:cubicBezTo>
                <a:cubicBezTo>
                  <a:pt x="891" y="693"/>
                  <a:pt x="893" y="692"/>
                  <a:pt x="895" y="690"/>
                </a:cubicBezTo>
                <a:cubicBezTo>
                  <a:pt x="897" y="688"/>
                  <a:pt x="898" y="686"/>
                  <a:pt x="900" y="687"/>
                </a:cubicBezTo>
                <a:cubicBezTo>
                  <a:pt x="903" y="688"/>
                  <a:pt x="905" y="690"/>
                  <a:pt x="905" y="692"/>
                </a:cubicBezTo>
                <a:cubicBezTo>
                  <a:pt x="904" y="692"/>
                  <a:pt x="903" y="692"/>
                  <a:pt x="903" y="693"/>
                </a:cubicBezTo>
                <a:cubicBezTo>
                  <a:pt x="903" y="694"/>
                  <a:pt x="904" y="695"/>
                  <a:pt x="904" y="695"/>
                </a:cubicBezTo>
                <a:cubicBezTo>
                  <a:pt x="904" y="696"/>
                  <a:pt x="904" y="697"/>
                  <a:pt x="904" y="698"/>
                </a:cubicBezTo>
                <a:cubicBezTo>
                  <a:pt x="904" y="699"/>
                  <a:pt x="902" y="701"/>
                  <a:pt x="898" y="704"/>
                </a:cubicBezTo>
                <a:cubicBezTo>
                  <a:pt x="895" y="706"/>
                  <a:pt x="893" y="708"/>
                  <a:pt x="893" y="708"/>
                </a:cubicBezTo>
                <a:cubicBezTo>
                  <a:pt x="895" y="711"/>
                  <a:pt x="896" y="712"/>
                  <a:pt x="896" y="712"/>
                </a:cubicBezTo>
                <a:lnTo>
                  <a:pt x="896" y="720"/>
                </a:lnTo>
                <a:cubicBezTo>
                  <a:pt x="894" y="728"/>
                  <a:pt x="892" y="734"/>
                  <a:pt x="892" y="737"/>
                </a:cubicBezTo>
                <a:cubicBezTo>
                  <a:pt x="892" y="739"/>
                  <a:pt x="892" y="740"/>
                  <a:pt x="892" y="741"/>
                </a:cubicBezTo>
                <a:lnTo>
                  <a:pt x="892" y="741"/>
                </a:lnTo>
                <a:cubicBezTo>
                  <a:pt x="891" y="741"/>
                  <a:pt x="890" y="742"/>
                  <a:pt x="889" y="743"/>
                </a:cubicBezTo>
                <a:cubicBezTo>
                  <a:pt x="887" y="745"/>
                  <a:pt x="886" y="747"/>
                  <a:pt x="886" y="748"/>
                </a:cubicBezTo>
                <a:cubicBezTo>
                  <a:pt x="886" y="749"/>
                  <a:pt x="886" y="750"/>
                  <a:pt x="886" y="751"/>
                </a:cubicBezTo>
                <a:cubicBezTo>
                  <a:pt x="886" y="752"/>
                  <a:pt x="884" y="755"/>
                  <a:pt x="879" y="759"/>
                </a:cubicBezTo>
                <a:cubicBezTo>
                  <a:pt x="873" y="763"/>
                  <a:pt x="871" y="767"/>
                  <a:pt x="870" y="769"/>
                </a:cubicBezTo>
                <a:cubicBezTo>
                  <a:pt x="872" y="774"/>
                  <a:pt x="873" y="777"/>
                  <a:pt x="872" y="779"/>
                </a:cubicBezTo>
                <a:cubicBezTo>
                  <a:pt x="872" y="781"/>
                  <a:pt x="871" y="782"/>
                  <a:pt x="869" y="782"/>
                </a:cubicBezTo>
                <a:cubicBezTo>
                  <a:pt x="866" y="782"/>
                  <a:pt x="864" y="781"/>
                  <a:pt x="863" y="780"/>
                </a:cubicBezTo>
                <a:lnTo>
                  <a:pt x="861" y="780"/>
                </a:lnTo>
                <a:lnTo>
                  <a:pt x="861" y="783"/>
                </a:lnTo>
                <a:cubicBezTo>
                  <a:pt x="862" y="783"/>
                  <a:pt x="864" y="785"/>
                  <a:pt x="867" y="788"/>
                </a:cubicBezTo>
                <a:cubicBezTo>
                  <a:pt x="867" y="788"/>
                  <a:pt x="868" y="788"/>
                  <a:pt x="870" y="789"/>
                </a:cubicBezTo>
                <a:cubicBezTo>
                  <a:pt x="872" y="790"/>
                  <a:pt x="873" y="791"/>
                  <a:pt x="874" y="792"/>
                </a:cubicBezTo>
                <a:cubicBezTo>
                  <a:pt x="873" y="800"/>
                  <a:pt x="873" y="805"/>
                  <a:pt x="876" y="808"/>
                </a:cubicBezTo>
                <a:cubicBezTo>
                  <a:pt x="873" y="808"/>
                  <a:pt x="871" y="809"/>
                  <a:pt x="869" y="808"/>
                </a:cubicBezTo>
                <a:lnTo>
                  <a:pt x="869" y="809"/>
                </a:lnTo>
                <a:cubicBezTo>
                  <a:pt x="871" y="811"/>
                  <a:pt x="873" y="814"/>
                  <a:pt x="878" y="818"/>
                </a:cubicBezTo>
                <a:cubicBezTo>
                  <a:pt x="878" y="818"/>
                  <a:pt x="879" y="820"/>
                  <a:pt x="879" y="822"/>
                </a:cubicBezTo>
                <a:cubicBezTo>
                  <a:pt x="880" y="824"/>
                  <a:pt x="881" y="825"/>
                  <a:pt x="882" y="826"/>
                </a:cubicBezTo>
                <a:cubicBezTo>
                  <a:pt x="884" y="828"/>
                  <a:pt x="887" y="829"/>
                  <a:pt x="891" y="830"/>
                </a:cubicBezTo>
                <a:cubicBezTo>
                  <a:pt x="896" y="830"/>
                  <a:pt x="899" y="832"/>
                  <a:pt x="901" y="835"/>
                </a:cubicBezTo>
                <a:lnTo>
                  <a:pt x="899" y="835"/>
                </a:lnTo>
                <a:lnTo>
                  <a:pt x="897" y="833"/>
                </a:lnTo>
                <a:lnTo>
                  <a:pt x="894" y="832"/>
                </a:lnTo>
                <a:lnTo>
                  <a:pt x="894" y="838"/>
                </a:lnTo>
                <a:cubicBezTo>
                  <a:pt x="894" y="838"/>
                  <a:pt x="895" y="839"/>
                  <a:pt x="897" y="842"/>
                </a:cubicBezTo>
                <a:cubicBezTo>
                  <a:pt x="898" y="844"/>
                  <a:pt x="898" y="846"/>
                  <a:pt x="898" y="848"/>
                </a:cubicBezTo>
                <a:cubicBezTo>
                  <a:pt x="898" y="848"/>
                  <a:pt x="899" y="849"/>
                  <a:pt x="900" y="849"/>
                </a:cubicBezTo>
                <a:cubicBezTo>
                  <a:pt x="901" y="849"/>
                  <a:pt x="902" y="849"/>
                  <a:pt x="904" y="849"/>
                </a:cubicBezTo>
                <a:cubicBezTo>
                  <a:pt x="904" y="850"/>
                  <a:pt x="903" y="850"/>
                  <a:pt x="904" y="852"/>
                </a:cubicBezTo>
                <a:cubicBezTo>
                  <a:pt x="903" y="854"/>
                  <a:pt x="900" y="860"/>
                  <a:pt x="892" y="868"/>
                </a:cubicBezTo>
                <a:cubicBezTo>
                  <a:pt x="891" y="870"/>
                  <a:pt x="890" y="873"/>
                  <a:pt x="888" y="877"/>
                </a:cubicBezTo>
                <a:cubicBezTo>
                  <a:pt x="887" y="880"/>
                  <a:pt x="884" y="882"/>
                  <a:pt x="881" y="882"/>
                </a:cubicBezTo>
                <a:cubicBezTo>
                  <a:pt x="880" y="882"/>
                  <a:pt x="878" y="884"/>
                  <a:pt x="876" y="888"/>
                </a:cubicBezTo>
                <a:cubicBezTo>
                  <a:pt x="873" y="892"/>
                  <a:pt x="872" y="895"/>
                  <a:pt x="870" y="895"/>
                </a:cubicBezTo>
                <a:cubicBezTo>
                  <a:pt x="868" y="896"/>
                  <a:pt x="866" y="899"/>
                  <a:pt x="865" y="903"/>
                </a:cubicBezTo>
                <a:cubicBezTo>
                  <a:pt x="864" y="904"/>
                  <a:pt x="863" y="907"/>
                  <a:pt x="862" y="911"/>
                </a:cubicBezTo>
                <a:cubicBezTo>
                  <a:pt x="861" y="911"/>
                  <a:pt x="861" y="912"/>
                  <a:pt x="861" y="912"/>
                </a:cubicBezTo>
                <a:cubicBezTo>
                  <a:pt x="861" y="912"/>
                  <a:pt x="860" y="912"/>
                  <a:pt x="860" y="912"/>
                </a:cubicBezTo>
                <a:cubicBezTo>
                  <a:pt x="860" y="915"/>
                  <a:pt x="859" y="919"/>
                  <a:pt x="858" y="926"/>
                </a:cubicBezTo>
                <a:cubicBezTo>
                  <a:pt x="858" y="929"/>
                  <a:pt x="857" y="931"/>
                  <a:pt x="857" y="934"/>
                </a:cubicBezTo>
                <a:cubicBezTo>
                  <a:pt x="857" y="935"/>
                  <a:pt x="854" y="937"/>
                  <a:pt x="850" y="940"/>
                </a:cubicBezTo>
                <a:cubicBezTo>
                  <a:pt x="850" y="942"/>
                  <a:pt x="850" y="945"/>
                  <a:pt x="851" y="949"/>
                </a:cubicBezTo>
                <a:cubicBezTo>
                  <a:pt x="850" y="952"/>
                  <a:pt x="848" y="957"/>
                  <a:pt x="845" y="963"/>
                </a:cubicBezTo>
                <a:cubicBezTo>
                  <a:pt x="841" y="970"/>
                  <a:pt x="837" y="974"/>
                  <a:pt x="835" y="973"/>
                </a:cubicBezTo>
                <a:cubicBezTo>
                  <a:pt x="830" y="973"/>
                  <a:pt x="826" y="974"/>
                  <a:pt x="823" y="978"/>
                </a:cubicBezTo>
                <a:cubicBezTo>
                  <a:pt x="819" y="982"/>
                  <a:pt x="818" y="987"/>
                  <a:pt x="818" y="992"/>
                </a:cubicBezTo>
                <a:cubicBezTo>
                  <a:pt x="817" y="991"/>
                  <a:pt x="815" y="989"/>
                  <a:pt x="814" y="986"/>
                </a:cubicBezTo>
                <a:cubicBezTo>
                  <a:pt x="813" y="982"/>
                  <a:pt x="811" y="980"/>
                  <a:pt x="809" y="979"/>
                </a:cubicBezTo>
                <a:cubicBezTo>
                  <a:pt x="808" y="982"/>
                  <a:pt x="808" y="987"/>
                  <a:pt x="807" y="995"/>
                </a:cubicBezTo>
                <a:cubicBezTo>
                  <a:pt x="805" y="1000"/>
                  <a:pt x="802" y="1002"/>
                  <a:pt x="797" y="1002"/>
                </a:cubicBezTo>
                <a:cubicBezTo>
                  <a:pt x="796" y="1001"/>
                  <a:pt x="795" y="1001"/>
                  <a:pt x="794" y="1001"/>
                </a:cubicBezTo>
                <a:cubicBezTo>
                  <a:pt x="792" y="1000"/>
                  <a:pt x="790" y="1002"/>
                  <a:pt x="787" y="1007"/>
                </a:cubicBezTo>
                <a:cubicBezTo>
                  <a:pt x="786" y="1008"/>
                  <a:pt x="784" y="1009"/>
                  <a:pt x="779" y="1010"/>
                </a:cubicBezTo>
                <a:cubicBezTo>
                  <a:pt x="777" y="1011"/>
                  <a:pt x="774" y="1013"/>
                  <a:pt x="770" y="1018"/>
                </a:cubicBezTo>
                <a:cubicBezTo>
                  <a:pt x="767" y="1022"/>
                  <a:pt x="765" y="1025"/>
                  <a:pt x="765" y="1026"/>
                </a:cubicBezTo>
                <a:cubicBezTo>
                  <a:pt x="765" y="1028"/>
                  <a:pt x="765" y="1029"/>
                  <a:pt x="766" y="1031"/>
                </a:cubicBezTo>
                <a:cubicBezTo>
                  <a:pt x="767" y="1032"/>
                  <a:pt x="767" y="1034"/>
                  <a:pt x="767" y="1035"/>
                </a:cubicBezTo>
                <a:cubicBezTo>
                  <a:pt x="767" y="1036"/>
                  <a:pt x="764" y="1039"/>
                  <a:pt x="758" y="1044"/>
                </a:cubicBezTo>
                <a:cubicBezTo>
                  <a:pt x="758" y="1039"/>
                  <a:pt x="756" y="1035"/>
                  <a:pt x="754" y="1031"/>
                </a:cubicBezTo>
                <a:cubicBezTo>
                  <a:pt x="751" y="1024"/>
                  <a:pt x="747" y="1021"/>
                  <a:pt x="743" y="1021"/>
                </a:cubicBezTo>
                <a:cubicBezTo>
                  <a:pt x="743" y="1021"/>
                  <a:pt x="743" y="1021"/>
                  <a:pt x="742" y="1021"/>
                </a:cubicBezTo>
                <a:cubicBezTo>
                  <a:pt x="742" y="1023"/>
                  <a:pt x="741" y="1025"/>
                  <a:pt x="740" y="1026"/>
                </a:cubicBezTo>
                <a:cubicBezTo>
                  <a:pt x="739" y="1031"/>
                  <a:pt x="742" y="1035"/>
                  <a:pt x="749" y="1037"/>
                </a:cubicBezTo>
                <a:cubicBezTo>
                  <a:pt x="746" y="1040"/>
                  <a:pt x="744" y="1041"/>
                  <a:pt x="743" y="1040"/>
                </a:cubicBezTo>
                <a:cubicBezTo>
                  <a:pt x="740" y="1040"/>
                  <a:pt x="736" y="1039"/>
                  <a:pt x="731" y="1036"/>
                </a:cubicBezTo>
                <a:cubicBezTo>
                  <a:pt x="731" y="1037"/>
                  <a:pt x="730" y="1037"/>
                  <a:pt x="730" y="1038"/>
                </a:cubicBezTo>
                <a:cubicBezTo>
                  <a:pt x="730" y="1039"/>
                  <a:pt x="730" y="1041"/>
                  <a:pt x="730" y="1045"/>
                </a:cubicBezTo>
                <a:cubicBezTo>
                  <a:pt x="730" y="1046"/>
                  <a:pt x="729" y="1049"/>
                  <a:pt x="727" y="1054"/>
                </a:cubicBezTo>
                <a:cubicBezTo>
                  <a:pt x="727" y="1055"/>
                  <a:pt x="727" y="1055"/>
                  <a:pt x="727" y="1055"/>
                </a:cubicBezTo>
                <a:cubicBezTo>
                  <a:pt x="727" y="1055"/>
                  <a:pt x="727" y="1056"/>
                  <a:pt x="727" y="1057"/>
                </a:cubicBezTo>
                <a:cubicBezTo>
                  <a:pt x="727" y="1057"/>
                  <a:pt x="727" y="1057"/>
                  <a:pt x="727" y="1058"/>
                </a:cubicBezTo>
                <a:cubicBezTo>
                  <a:pt x="727" y="1058"/>
                  <a:pt x="727" y="1059"/>
                  <a:pt x="727" y="1060"/>
                </a:cubicBezTo>
                <a:cubicBezTo>
                  <a:pt x="727" y="1061"/>
                  <a:pt x="726" y="1063"/>
                  <a:pt x="725" y="1064"/>
                </a:cubicBezTo>
                <a:cubicBezTo>
                  <a:pt x="723" y="1064"/>
                  <a:pt x="721" y="1064"/>
                  <a:pt x="720" y="1065"/>
                </a:cubicBezTo>
                <a:cubicBezTo>
                  <a:pt x="717" y="1065"/>
                  <a:pt x="715" y="1066"/>
                  <a:pt x="715" y="1067"/>
                </a:cubicBezTo>
                <a:cubicBezTo>
                  <a:pt x="715" y="1068"/>
                  <a:pt x="716" y="1069"/>
                  <a:pt x="716" y="1071"/>
                </a:cubicBezTo>
                <a:cubicBezTo>
                  <a:pt x="716" y="1072"/>
                  <a:pt x="716" y="1074"/>
                  <a:pt x="716" y="1078"/>
                </a:cubicBezTo>
                <a:cubicBezTo>
                  <a:pt x="716" y="1080"/>
                  <a:pt x="713" y="1081"/>
                  <a:pt x="709" y="1082"/>
                </a:cubicBezTo>
                <a:cubicBezTo>
                  <a:pt x="709" y="1083"/>
                  <a:pt x="710" y="1084"/>
                  <a:pt x="711" y="1086"/>
                </a:cubicBezTo>
                <a:cubicBezTo>
                  <a:pt x="710" y="1087"/>
                  <a:pt x="710" y="1088"/>
                  <a:pt x="708" y="1087"/>
                </a:cubicBezTo>
                <a:cubicBezTo>
                  <a:pt x="706" y="1087"/>
                  <a:pt x="705" y="1085"/>
                  <a:pt x="703" y="1082"/>
                </a:cubicBezTo>
                <a:cubicBezTo>
                  <a:pt x="701" y="1078"/>
                  <a:pt x="699" y="1076"/>
                  <a:pt x="698" y="1076"/>
                </a:cubicBezTo>
                <a:cubicBezTo>
                  <a:pt x="696" y="1076"/>
                  <a:pt x="693" y="1077"/>
                  <a:pt x="691" y="1079"/>
                </a:cubicBezTo>
                <a:cubicBezTo>
                  <a:pt x="692" y="1079"/>
                  <a:pt x="692" y="1079"/>
                  <a:pt x="692" y="1080"/>
                </a:cubicBezTo>
                <a:lnTo>
                  <a:pt x="695" y="1080"/>
                </a:lnTo>
                <a:cubicBezTo>
                  <a:pt x="695" y="1081"/>
                  <a:pt x="695" y="1082"/>
                  <a:pt x="695" y="1083"/>
                </a:cubicBezTo>
                <a:cubicBezTo>
                  <a:pt x="695" y="1085"/>
                  <a:pt x="694" y="1086"/>
                  <a:pt x="691" y="1086"/>
                </a:cubicBezTo>
                <a:cubicBezTo>
                  <a:pt x="690" y="1085"/>
                  <a:pt x="689" y="1085"/>
                  <a:pt x="688" y="1084"/>
                </a:cubicBezTo>
                <a:cubicBezTo>
                  <a:pt x="688" y="1083"/>
                  <a:pt x="686" y="1082"/>
                  <a:pt x="684" y="1081"/>
                </a:cubicBezTo>
                <a:lnTo>
                  <a:pt x="684" y="1081"/>
                </a:lnTo>
                <a:cubicBezTo>
                  <a:pt x="682" y="1082"/>
                  <a:pt x="682" y="1086"/>
                  <a:pt x="682" y="1091"/>
                </a:cubicBezTo>
                <a:cubicBezTo>
                  <a:pt x="681" y="1092"/>
                  <a:pt x="680" y="1093"/>
                  <a:pt x="677" y="1093"/>
                </a:cubicBezTo>
                <a:cubicBezTo>
                  <a:pt x="675" y="1093"/>
                  <a:pt x="674" y="1094"/>
                  <a:pt x="674" y="1095"/>
                </a:cubicBezTo>
                <a:cubicBezTo>
                  <a:pt x="676" y="1099"/>
                  <a:pt x="677" y="1101"/>
                  <a:pt x="677" y="1101"/>
                </a:cubicBezTo>
                <a:cubicBezTo>
                  <a:pt x="675" y="1102"/>
                  <a:pt x="673" y="1103"/>
                  <a:pt x="672" y="1105"/>
                </a:cubicBezTo>
                <a:cubicBezTo>
                  <a:pt x="671" y="1105"/>
                  <a:pt x="671" y="1106"/>
                  <a:pt x="670" y="1106"/>
                </a:cubicBezTo>
                <a:cubicBezTo>
                  <a:pt x="669" y="1108"/>
                  <a:pt x="668" y="1110"/>
                  <a:pt x="668" y="1111"/>
                </a:cubicBezTo>
                <a:cubicBezTo>
                  <a:pt x="668" y="1112"/>
                  <a:pt x="668" y="1113"/>
                  <a:pt x="669" y="1114"/>
                </a:cubicBezTo>
                <a:lnTo>
                  <a:pt x="668" y="1116"/>
                </a:lnTo>
                <a:lnTo>
                  <a:pt x="664" y="1115"/>
                </a:lnTo>
                <a:cubicBezTo>
                  <a:pt x="662" y="1114"/>
                  <a:pt x="660" y="1114"/>
                  <a:pt x="658" y="1115"/>
                </a:cubicBezTo>
                <a:cubicBezTo>
                  <a:pt x="655" y="1116"/>
                  <a:pt x="654" y="1117"/>
                  <a:pt x="654" y="1119"/>
                </a:cubicBezTo>
                <a:cubicBezTo>
                  <a:pt x="653" y="1121"/>
                  <a:pt x="655" y="1122"/>
                  <a:pt x="659" y="1123"/>
                </a:cubicBezTo>
                <a:cubicBezTo>
                  <a:pt x="665" y="1124"/>
                  <a:pt x="667" y="1124"/>
                  <a:pt x="668" y="1124"/>
                </a:cubicBezTo>
                <a:cubicBezTo>
                  <a:pt x="667" y="1127"/>
                  <a:pt x="665" y="1128"/>
                  <a:pt x="664" y="1129"/>
                </a:cubicBezTo>
                <a:cubicBezTo>
                  <a:pt x="662" y="1129"/>
                  <a:pt x="661" y="1130"/>
                  <a:pt x="660" y="1130"/>
                </a:cubicBezTo>
                <a:cubicBezTo>
                  <a:pt x="659" y="1130"/>
                  <a:pt x="659" y="1131"/>
                  <a:pt x="659" y="1132"/>
                </a:cubicBezTo>
                <a:lnTo>
                  <a:pt x="668" y="1133"/>
                </a:lnTo>
                <a:cubicBezTo>
                  <a:pt x="668" y="1135"/>
                  <a:pt x="667" y="1138"/>
                  <a:pt x="664" y="1141"/>
                </a:cubicBezTo>
                <a:cubicBezTo>
                  <a:pt x="664" y="1142"/>
                  <a:pt x="664" y="1144"/>
                  <a:pt x="664" y="1147"/>
                </a:cubicBezTo>
                <a:cubicBezTo>
                  <a:pt x="664" y="1149"/>
                  <a:pt x="662" y="1149"/>
                  <a:pt x="660" y="1149"/>
                </a:cubicBezTo>
                <a:cubicBezTo>
                  <a:pt x="657" y="1148"/>
                  <a:pt x="655" y="1148"/>
                  <a:pt x="654" y="1148"/>
                </a:cubicBezTo>
                <a:cubicBezTo>
                  <a:pt x="653" y="1147"/>
                  <a:pt x="651" y="1148"/>
                  <a:pt x="650" y="1148"/>
                </a:cubicBezTo>
                <a:cubicBezTo>
                  <a:pt x="651" y="1149"/>
                  <a:pt x="652" y="1151"/>
                  <a:pt x="652" y="1152"/>
                </a:cubicBezTo>
                <a:cubicBezTo>
                  <a:pt x="652" y="1154"/>
                  <a:pt x="651" y="1155"/>
                  <a:pt x="650" y="1155"/>
                </a:cubicBezTo>
                <a:cubicBezTo>
                  <a:pt x="648" y="1155"/>
                  <a:pt x="646" y="1156"/>
                  <a:pt x="645" y="1155"/>
                </a:cubicBezTo>
                <a:cubicBezTo>
                  <a:pt x="644" y="1156"/>
                  <a:pt x="643" y="1157"/>
                  <a:pt x="643" y="1159"/>
                </a:cubicBezTo>
                <a:cubicBezTo>
                  <a:pt x="642" y="1160"/>
                  <a:pt x="642" y="1161"/>
                  <a:pt x="641" y="1161"/>
                </a:cubicBezTo>
                <a:cubicBezTo>
                  <a:pt x="639" y="1161"/>
                  <a:pt x="637" y="1160"/>
                  <a:pt x="635" y="1158"/>
                </a:cubicBezTo>
                <a:cubicBezTo>
                  <a:pt x="634" y="1155"/>
                  <a:pt x="632" y="1154"/>
                  <a:pt x="631" y="1154"/>
                </a:cubicBezTo>
                <a:cubicBezTo>
                  <a:pt x="630" y="1154"/>
                  <a:pt x="629" y="1155"/>
                  <a:pt x="628" y="1157"/>
                </a:cubicBezTo>
                <a:cubicBezTo>
                  <a:pt x="627" y="1160"/>
                  <a:pt x="626" y="1161"/>
                  <a:pt x="625" y="1161"/>
                </a:cubicBezTo>
                <a:cubicBezTo>
                  <a:pt x="624" y="1159"/>
                  <a:pt x="623" y="1157"/>
                  <a:pt x="623" y="1155"/>
                </a:cubicBezTo>
                <a:cubicBezTo>
                  <a:pt x="623" y="1152"/>
                  <a:pt x="622" y="1150"/>
                  <a:pt x="622" y="1147"/>
                </a:cubicBezTo>
                <a:cubicBezTo>
                  <a:pt x="622" y="1141"/>
                  <a:pt x="621" y="1138"/>
                  <a:pt x="619" y="1136"/>
                </a:cubicBezTo>
                <a:cubicBezTo>
                  <a:pt x="616" y="1133"/>
                  <a:pt x="613" y="1129"/>
                  <a:pt x="612" y="1124"/>
                </a:cubicBezTo>
                <a:cubicBezTo>
                  <a:pt x="610" y="1118"/>
                  <a:pt x="610" y="1114"/>
                  <a:pt x="609" y="1112"/>
                </a:cubicBezTo>
                <a:lnTo>
                  <a:pt x="609" y="1113"/>
                </a:lnTo>
                <a:cubicBezTo>
                  <a:pt x="609" y="1113"/>
                  <a:pt x="608" y="1113"/>
                  <a:pt x="608" y="1114"/>
                </a:cubicBezTo>
                <a:cubicBezTo>
                  <a:pt x="608" y="1115"/>
                  <a:pt x="608" y="1118"/>
                  <a:pt x="608" y="1123"/>
                </a:cubicBezTo>
                <a:cubicBezTo>
                  <a:pt x="608" y="1126"/>
                  <a:pt x="607" y="1129"/>
                  <a:pt x="607" y="1132"/>
                </a:cubicBezTo>
                <a:cubicBezTo>
                  <a:pt x="606" y="1133"/>
                  <a:pt x="607" y="1136"/>
                  <a:pt x="610" y="1138"/>
                </a:cubicBezTo>
                <a:cubicBezTo>
                  <a:pt x="613" y="1140"/>
                  <a:pt x="615" y="1144"/>
                  <a:pt x="617" y="1151"/>
                </a:cubicBezTo>
                <a:cubicBezTo>
                  <a:pt x="618" y="1152"/>
                  <a:pt x="618" y="1154"/>
                  <a:pt x="618" y="1155"/>
                </a:cubicBezTo>
                <a:cubicBezTo>
                  <a:pt x="618" y="1156"/>
                  <a:pt x="618" y="1158"/>
                  <a:pt x="618" y="1160"/>
                </a:cubicBezTo>
                <a:cubicBezTo>
                  <a:pt x="618" y="1160"/>
                  <a:pt x="619" y="1161"/>
                  <a:pt x="620" y="1163"/>
                </a:cubicBezTo>
                <a:cubicBezTo>
                  <a:pt x="622" y="1165"/>
                  <a:pt x="622" y="1166"/>
                  <a:pt x="622" y="1167"/>
                </a:cubicBezTo>
                <a:cubicBezTo>
                  <a:pt x="622" y="1170"/>
                  <a:pt x="622" y="1173"/>
                  <a:pt x="622" y="1177"/>
                </a:cubicBezTo>
                <a:cubicBezTo>
                  <a:pt x="622" y="1179"/>
                  <a:pt x="622" y="1180"/>
                  <a:pt x="623" y="1181"/>
                </a:cubicBezTo>
                <a:cubicBezTo>
                  <a:pt x="621" y="1182"/>
                  <a:pt x="620" y="1183"/>
                  <a:pt x="620" y="1185"/>
                </a:cubicBezTo>
                <a:cubicBezTo>
                  <a:pt x="619" y="1189"/>
                  <a:pt x="621" y="1192"/>
                  <a:pt x="624" y="1192"/>
                </a:cubicBezTo>
                <a:cubicBezTo>
                  <a:pt x="627" y="1193"/>
                  <a:pt x="628" y="1194"/>
                  <a:pt x="628" y="1196"/>
                </a:cubicBezTo>
                <a:cubicBezTo>
                  <a:pt x="626" y="1198"/>
                  <a:pt x="624" y="1199"/>
                  <a:pt x="622" y="1201"/>
                </a:cubicBezTo>
                <a:cubicBezTo>
                  <a:pt x="619" y="1205"/>
                  <a:pt x="617" y="1208"/>
                  <a:pt x="617" y="1211"/>
                </a:cubicBezTo>
                <a:cubicBezTo>
                  <a:pt x="617" y="1214"/>
                  <a:pt x="614" y="1216"/>
                  <a:pt x="609" y="1218"/>
                </a:cubicBezTo>
                <a:cubicBezTo>
                  <a:pt x="602" y="1219"/>
                  <a:pt x="599" y="1220"/>
                  <a:pt x="597" y="1221"/>
                </a:cubicBezTo>
                <a:cubicBezTo>
                  <a:pt x="599" y="1224"/>
                  <a:pt x="600" y="1226"/>
                  <a:pt x="600" y="1227"/>
                </a:cubicBezTo>
                <a:cubicBezTo>
                  <a:pt x="600" y="1228"/>
                  <a:pt x="600" y="1229"/>
                  <a:pt x="600" y="1230"/>
                </a:cubicBezTo>
                <a:cubicBezTo>
                  <a:pt x="594" y="1226"/>
                  <a:pt x="591" y="1223"/>
                  <a:pt x="591" y="1220"/>
                </a:cubicBezTo>
                <a:cubicBezTo>
                  <a:pt x="590" y="1217"/>
                  <a:pt x="589" y="1216"/>
                  <a:pt x="587" y="1215"/>
                </a:cubicBezTo>
                <a:cubicBezTo>
                  <a:pt x="583" y="1215"/>
                  <a:pt x="581" y="1214"/>
                  <a:pt x="580" y="1213"/>
                </a:cubicBezTo>
                <a:lnTo>
                  <a:pt x="575" y="1213"/>
                </a:lnTo>
                <a:cubicBezTo>
                  <a:pt x="575" y="1214"/>
                  <a:pt x="575" y="1214"/>
                  <a:pt x="574" y="1215"/>
                </a:cubicBezTo>
                <a:cubicBezTo>
                  <a:pt x="574" y="1217"/>
                  <a:pt x="574" y="1220"/>
                  <a:pt x="574" y="1223"/>
                </a:cubicBezTo>
                <a:cubicBezTo>
                  <a:pt x="574" y="1225"/>
                  <a:pt x="574" y="1228"/>
                  <a:pt x="575" y="1232"/>
                </a:cubicBezTo>
                <a:cubicBezTo>
                  <a:pt x="574" y="1233"/>
                  <a:pt x="574" y="1235"/>
                  <a:pt x="574" y="1236"/>
                </a:cubicBezTo>
                <a:cubicBezTo>
                  <a:pt x="574" y="1251"/>
                  <a:pt x="582" y="1260"/>
                  <a:pt x="600" y="1261"/>
                </a:cubicBezTo>
                <a:cubicBezTo>
                  <a:pt x="590" y="1270"/>
                  <a:pt x="584" y="1281"/>
                  <a:pt x="583" y="1294"/>
                </a:cubicBezTo>
                <a:cubicBezTo>
                  <a:pt x="582" y="1302"/>
                  <a:pt x="582" y="1306"/>
                  <a:pt x="583" y="1308"/>
                </a:cubicBezTo>
                <a:lnTo>
                  <a:pt x="583" y="1310"/>
                </a:lnTo>
                <a:cubicBezTo>
                  <a:pt x="578" y="1310"/>
                  <a:pt x="575" y="1313"/>
                  <a:pt x="573" y="1317"/>
                </a:cubicBezTo>
                <a:cubicBezTo>
                  <a:pt x="571" y="1321"/>
                  <a:pt x="570" y="1326"/>
                  <a:pt x="569" y="1331"/>
                </a:cubicBezTo>
                <a:cubicBezTo>
                  <a:pt x="569" y="1334"/>
                  <a:pt x="569" y="1336"/>
                  <a:pt x="570" y="1337"/>
                </a:cubicBezTo>
                <a:cubicBezTo>
                  <a:pt x="572" y="1340"/>
                  <a:pt x="574" y="1342"/>
                  <a:pt x="574" y="1343"/>
                </a:cubicBezTo>
                <a:cubicBezTo>
                  <a:pt x="574" y="1343"/>
                  <a:pt x="574" y="1346"/>
                  <a:pt x="574" y="1350"/>
                </a:cubicBezTo>
                <a:cubicBezTo>
                  <a:pt x="574" y="1354"/>
                  <a:pt x="575" y="1356"/>
                  <a:pt x="577" y="1356"/>
                </a:cubicBezTo>
                <a:cubicBezTo>
                  <a:pt x="578" y="1356"/>
                  <a:pt x="579" y="1356"/>
                  <a:pt x="580" y="1354"/>
                </a:cubicBezTo>
                <a:lnTo>
                  <a:pt x="582" y="1355"/>
                </a:lnTo>
                <a:cubicBezTo>
                  <a:pt x="582" y="1356"/>
                  <a:pt x="583" y="1358"/>
                  <a:pt x="585" y="1361"/>
                </a:cubicBezTo>
                <a:cubicBezTo>
                  <a:pt x="586" y="1364"/>
                  <a:pt x="587" y="1367"/>
                  <a:pt x="587" y="1369"/>
                </a:cubicBezTo>
                <a:cubicBezTo>
                  <a:pt x="586" y="1372"/>
                  <a:pt x="585" y="1373"/>
                  <a:pt x="583" y="1373"/>
                </a:cubicBezTo>
                <a:cubicBezTo>
                  <a:pt x="582" y="1373"/>
                  <a:pt x="579" y="1370"/>
                  <a:pt x="575" y="1365"/>
                </a:cubicBezTo>
                <a:cubicBezTo>
                  <a:pt x="571" y="1360"/>
                  <a:pt x="569" y="1357"/>
                  <a:pt x="567" y="1357"/>
                </a:cubicBezTo>
                <a:cubicBezTo>
                  <a:pt x="566" y="1358"/>
                  <a:pt x="565" y="1358"/>
                  <a:pt x="565" y="1358"/>
                </a:cubicBezTo>
                <a:cubicBezTo>
                  <a:pt x="564" y="1358"/>
                  <a:pt x="563" y="1357"/>
                  <a:pt x="562" y="1357"/>
                </a:cubicBezTo>
                <a:cubicBezTo>
                  <a:pt x="558" y="1357"/>
                  <a:pt x="556" y="1357"/>
                  <a:pt x="556" y="1359"/>
                </a:cubicBezTo>
                <a:cubicBezTo>
                  <a:pt x="556" y="1360"/>
                  <a:pt x="557" y="1361"/>
                  <a:pt x="561" y="1362"/>
                </a:cubicBezTo>
                <a:cubicBezTo>
                  <a:pt x="564" y="1363"/>
                  <a:pt x="566" y="1365"/>
                  <a:pt x="566" y="1368"/>
                </a:cubicBezTo>
                <a:cubicBezTo>
                  <a:pt x="566" y="1369"/>
                  <a:pt x="565" y="1370"/>
                  <a:pt x="564" y="1370"/>
                </a:cubicBezTo>
                <a:cubicBezTo>
                  <a:pt x="561" y="1370"/>
                  <a:pt x="560" y="1370"/>
                  <a:pt x="559" y="1371"/>
                </a:cubicBezTo>
                <a:cubicBezTo>
                  <a:pt x="559" y="1372"/>
                  <a:pt x="559" y="1373"/>
                  <a:pt x="561" y="1374"/>
                </a:cubicBezTo>
                <a:cubicBezTo>
                  <a:pt x="563" y="1374"/>
                  <a:pt x="563" y="1375"/>
                  <a:pt x="563" y="1375"/>
                </a:cubicBezTo>
                <a:cubicBezTo>
                  <a:pt x="563" y="1376"/>
                  <a:pt x="563" y="1376"/>
                  <a:pt x="562" y="1377"/>
                </a:cubicBezTo>
                <a:cubicBezTo>
                  <a:pt x="562" y="1377"/>
                  <a:pt x="561" y="1377"/>
                  <a:pt x="560" y="1377"/>
                </a:cubicBezTo>
                <a:cubicBezTo>
                  <a:pt x="559" y="1377"/>
                  <a:pt x="558" y="1376"/>
                  <a:pt x="557" y="1376"/>
                </a:cubicBezTo>
                <a:cubicBezTo>
                  <a:pt x="551" y="1375"/>
                  <a:pt x="548" y="1378"/>
                  <a:pt x="548" y="1383"/>
                </a:cubicBezTo>
                <a:cubicBezTo>
                  <a:pt x="548" y="1384"/>
                  <a:pt x="548" y="1384"/>
                  <a:pt x="548" y="1384"/>
                </a:cubicBezTo>
                <a:cubicBezTo>
                  <a:pt x="554" y="1384"/>
                  <a:pt x="557" y="1387"/>
                  <a:pt x="556" y="1391"/>
                </a:cubicBezTo>
                <a:cubicBezTo>
                  <a:pt x="556" y="1392"/>
                  <a:pt x="556" y="1393"/>
                  <a:pt x="555" y="1394"/>
                </a:cubicBezTo>
                <a:cubicBezTo>
                  <a:pt x="555" y="1394"/>
                  <a:pt x="556" y="1396"/>
                  <a:pt x="558" y="1399"/>
                </a:cubicBezTo>
                <a:cubicBezTo>
                  <a:pt x="558" y="1400"/>
                  <a:pt x="557" y="1400"/>
                  <a:pt x="557" y="1401"/>
                </a:cubicBezTo>
                <a:cubicBezTo>
                  <a:pt x="557" y="1401"/>
                  <a:pt x="557" y="1401"/>
                  <a:pt x="557" y="1401"/>
                </a:cubicBezTo>
                <a:cubicBezTo>
                  <a:pt x="559" y="1406"/>
                  <a:pt x="560" y="1408"/>
                  <a:pt x="561" y="1409"/>
                </a:cubicBezTo>
                <a:lnTo>
                  <a:pt x="560" y="1412"/>
                </a:lnTo>
                <a:lnTo>
                  <a:pt x="553" y="1411"/>
                </a:lnTo>
                <a:cubicBezTo>
                  <a:pt x="553" y="1411"/>
                  <a:pt x="554" y="1413"/>
                  <a:pt x="554" y="1415"/>
                </a:cubicBezTo>
                <a:cubicBezTo>
                  <a:pt x="554" y="1417"/>
                  <a:pt x="555" y="1418"/>
                  <a:pt x="556" y="1419"/>
                </a:cubicBezTo>
                <a:cubicBezTo>
                  <a:pt x="557" y="1420"/>
                  <a:pt x="559" y="1421"/>
                  <a:pt x="561" y="1421"/>
                </a:cubicBezTo>
                <a:cubicBezTo>
                  <a:pt x="562" y="1422"/>
                  <a:pt x="562" y="1423"/>
                  <a:pt x="562" y="1425"/>
                </a:cubicBezTo>
                <a:cubicBezTo>
                  <a:pt x="562" y="1427"/>
                  <a:pt x="561" y="1430"/>
                  <a:pt x="560" y="1433"/>
                </a:cubicBezTo>
                <a:cubicBezTo>
                  <a:pt x="559" y="1434"/>
                  <a:pt x="558" y="1434"/>
                  <a:pt x="557" y="1434"/>
                </a:cubicBezTo>
                <a:cubicBezTo>
                  <a:pt x="555" y="1433"/>
                  <a:pt x="554" y="1432"/>
                  <a:pt x="553" y="1432"/>
                </a:cubicBezTo>
                <a:lnTo>
                  <a:pt x="552" y="1434"/>
                </a:lnTo>
                <a:lnTo>
                  <a:pt x="556" y="1438"/>
                </a:lnTo>
                <a:lnTo>
                  <a:pt x="554" y="1449"/>
                </a:lnTo>
                <a:cubicBezTo>
                  <a:pt x="554" y="1452"/>
                  <a:pt x="555" y="1453"/>
                  <a:pt x="558" y="1453"/>
                </a:cubicBezTo>
                <a:lnTo>
                  <a:pt x="558" y="1455"/>
                </a:lnTo>
                <a:cubicBezTo>
                  <a:pt x="557" y="1455"/>
                  <a:pt x="557" y="1462"/>
                  <a:pt x="557" y="1474"/>
                </a:cubicBezTo>
                <a:cubicBezTo>
                  <a:pt x="557" y="1477"/>
                  <a:pt x="556" y="1482"/>
                  <a:pt x="554" y="1488"/>
                </a:cubicBezTo>
                <a:cubicBezTo>
                  <a:pt x="554" y="1490"/>
                  <a:pt x="555" y="1495"/>
                  <a:pt x="560" y="1501"/>
                </a:cubicBezTo>
                <a:cubicBezTo>
                  <a:pt x="564" y="1507"/>
                  <a:pt x="566" y="1511"/>
                  <a:pt x="565" y="1513"/>
                </a:cubicBezTo>
                <a:cubicBezTo>
                  <a:pt x="565" y="1514"/>
                  <a:pt x="565" y="1516"/>
                  <a:pt x="564" y="1519"/>
                </a:cubicBezTo>
                <a:cubicBezTo>
                  <a:pt x="563" y="1523"/>
                  <a:pt x="565" y="1525"/>
                  <a:pt x="570" y="1525"/>
                </a:cubicBezTo>
                <a:cubicBezTo>
                  <a:pt x="571" y="1527"/>
                  <a:pt x="571" y="1530"/>
                  <a:pt x="571" y="1531"/>
                </a:cubicBezTo>
                <a:cubicBezTo>
                  <a:pt x="571" y="1533"/>
                  <a:pt x="570" y="1535"/>
                  <a:pt x="568" y="1535"/>
                </a:cubicBezTo>
                <a:cubicBezTo>
                  <a:pt x="565" y="1536"/>
                  <a:pt x="563" y="1537"/>
                  <a:pt x="562" y="1538"/>
                </a:cubicBezTo>
                <a:cubicBezTo>
                  <a:pt x="563" y="1539"/>
                  <a:pt x="565" y="1541"/>
                  <a:pt x="569" y="1544"/>
                </a:cubicBezTo>
                <a:cubicBezTo>
                  <a:pt x="572" y="1548"/>
                  <a:pt x="574" y="1550"/>
                  <a:pt x="577" y="1550"/>
                </a:cubicBezTo>
                <a:cubicBezTo>
                  <a:pt x="581" y="1552"/>
                  <a:pt x="587" y="1553"/>
                  <a:pt x="595" y="1553"/>
                </a:cubicBezTo>
                <a:cubicBezTo>
                  <a:pt x="596" y="1554"/>
                  <a:pt x="597" y="1554"/>
                  <a:pt x="598" y="1554"/>
                </a:cubicBezTo>
                <a:cubicBezTo>
                  <a:pt x="598" y="1555"/>
                  <a:pt x="598" y="1555"/>
                  <a:pt x="599" y="1555"/>
                </a:cubicBezTo>
                <a:cubicBezTo>
                  <a:pt x="601" y="1557"/>
                  <a:pt x="602" y="1559"/>
                  <a:pt x="601" y="1563"/>
                </a:cubicBezTo>
                <a:cubicBezTo>
                  <a:pt x="601" y="1564"/>
                  <a:pt x="600" y="1567"/>
                  <a:pt x="599" y="1571"/>
                </a:cubicBezTo>
                <a:cubicBezTo>
                  <a:pt x="599" y="1571"/>
                  <a:pt x="600" y="1573"/>
                  <a:pt x="600" y="1576"/>
                </a:cubicBezTo>
                <a:cubicBezTo>
                  <a:pt x="603" y="1576"/>
                  <a:pt x="607" y="1573"/>
                  <a:pt x="614" y="1567"/>
                </a:cubicBezTo>
                <a:cubicBezTo>
                  <a:pt x="620" y="1562"/>
                  <a:pt x="624" y="1560"/>
                  <a:pt x="625" y="1560"/>
                </a:cubicBezTo>
                <a:cubicBezTo>
                  <a:pt x="625" y="1560"/>
                  <a:pt x="626" y="1560"/>
                  <a:pt x="629" y="1561"/>
                </a:cubicBezTo>
                <a:cubicBezTo>
                  <a:pt x="631" y="1563"/>
                  <a:pt x="633" y="1564"/>
                  <a:pt x="633" y="1565"/>
                </a:cubicBezTo>
                <a:cubicBezTo>
                  <a:pt x="632" y="1569"/>
                  <a:pt x="631" y="1572"/>
                  <a:pt x="628" y="1575"/>
                </a:cubicBezTo>
                <a:lnTo>
                  <a:pt x="628" y="1577"/>
                </a:lnTo>
                <a:cubicBezTo>
                  <a:pt x="629" y="1577"/>
                  <a:pt x="631" y="1578"/>
                  <a:pt x="634" y="1579"/>
                </a:cubicBezTo>
                <a:cubicBezTo>
                  <a:pt x="633" y="1581"/>
                  <a:pt x="634" y="1583"/>
                  <a:pt x="636" y="1585"/>
                </a:cubicBezTo>
                <a:cubicBezTo>
                  <a:pt x="637" y="1586"/>
                  <a:pt x="639" y="1588"/>
                  <a:pt x="642" y="1590"/>
                </a:cubicBezTo>
                <a:cubicBezTo>
                  <a:pt x="642" y="1591"/>
                  <a:pt x="644" y="1592"/>
                  <a:pt x="647" y="1594"/>
                </a:cubicBezTo>
                <a:cubicBezTo>
                  <a:pt x="649" y="1596"/>
                  <a:pt x="651" y="1597"/>
                  <a:pt x="650" y="1600"/>
                </a:cubicBezTo>
                <a:cubicBezTo>
                  <a:pt x="650" y="1601"/>
                  <a:pt x="649" y="1602"/>
                  <a:pt x="648" y="1604"/>
                </a:cubicBezTo>
                <a:cubicBezTo>
                  <a:pt x="648" y="1605"/>
                  <a:pt x="649" y="1606"/>
                  <a:pt x="651" y="1607"/>
                </a:cubicBezTo>
                <a:cubicBezTo>
                  <a:pt x="651" y="1606"/>
                  <a:pt x="653" y="1605"/>
                  <a:pt x="654" y="1602"/>
                </a:cubicBezTo>
                <a:cubicBezTo>
                  <a:pt x="656" y="1601"/>
                  <a:pt x="658" y="1600"/>
                  <a:pt x="659" y="1600"/>
                </a:cubicBezTo>
                <a:cubicBezTo>
                  <a:pt x="661" y="1600"/>
                  <a:pt x="663" y="1601"/>
                  <a:pt x="666" y="1605"/>
                </a:cubicBezTo>
                <a:cubicBezTo>
                  <a:pt x="667" y="1606"/>
                  <a:pt x="668" y="1607"/>
                  <a:pt x="669" y="1609"/>
                </a:cubicBezTo>
                <a:cubicBezTo>
                  <a:pt x="671" y="1611"/>
                  <a:pt x="673" y="1614"/>
                  <a:pt x="673" y="1616"/>
                </a:cubicBezTo>
                <a:cubicBezTo>
                  <a:pt x="674" y="1616"/>
                  <a:pt x="675" y="1617"/>
                  <a:pt x="677" y="1617"/>
                </a:cubicBezTo>
                <a:cubicBezTo>
                  <a:pt x="679" y="1618"/>
                  <a:pt x="680" y="1618"/>
                  <a:pt x="680" y="1620"/>
                </a:cubicBezTo>
                <a:cubicBezTo>
                  <a:pt x="680" y="1621"/>
                  <a:pt x="679" y="1622"/>
                  <a:pt x="678" y="1623"/>
                </a:cubicBezTo>
                <a:cubicBezTo>
                  <a:pt x="678" y="1624"/>
                  <a:pt x="676" y="1624"/>
                  <a:pt x="675" y="1624"/>
                </a:cubicBezTo>
                <a:cubicBezTo>
                  <a:pt x="673" y="1624"/>
                  <a:pt x="672" y="1623"/>
                  <a:pt x="670" y="1622"/>
                </a:cubicBezTo>
                <a:cubicBezTo>
                  <a:pt x="668" y="1620"/>
                  <a:pt x="667" y="1619"/>
                  <a:pt x="666" y="1619"/>
                </a:cubicBezTo>
                <a:cubicBezTo>
                  <a:pt x="665" y="1619"/>
                  <a:pt x="664" y="1620"/>
                  <a:pt x="662" y="1620"/>
                </a:cubicBezTo>
                <a:cubicBezTo>
                  <a:pt x="668" y="1623"/>
                  <a:pt x="670" y="1628"/>
                  <a:pt x="670" y="1632"/>
                </a:cubicBezTo>
                <a:cubicBezTo>
                  <a:pt x="670" y="1635"/>
                  <a:pt x="670" y="1636"/>
                  <a:pt x="670" y="1636"/>
                </a:cubicBezTo>
                <a:cubicBezTo>
                  <a:pt x="673" y="1637"/>
                  <a:pt x="675" y="1638"/>
                  <a:pt x="678" y="1640"/>
                </a:cubicBezTo>
                <a:cubicBezTo>
                  <a:pt x="679" y="1641"/>
                  <a:pt x="680" y="1643"/>
                  <a:pt x="681" y="1645"/>
                </a:cubicBezTo>
                <a:cubicBezTo>
                  <a:pt x="681" y="1647"/>
                  <a:pt x="681" y="1649"/>
                  <a:pt x="682" y="1652"/>
                </a:cubicBezTo>
                <a:cubicBezTo>
                  <a:pt x="685" y="1650"/>
                  <a:pt x="687" y="1648"/>
                  <a:pt x="687" y="1647"/>
                </a:cubicBezTo>
                <a:cubicBezTo>
                  <a:pt x="686" y="1645"/>
                  <a:pt x="686" y="1644"/>
                  <a:pt x="686" y="1643"/>
                </a:cubicBezTo>
                <a:cubicBezTo>
                  <a:pt x="686" y="1642"/>
                  <a:pt x="687" y="1641"/>
                  <a:pt x="689" y="1642"/>
                </a:cubicBezTo>
                <a:cubicBezTo>
                  <a:pt x="690" y="1642"/>
                  <a:pt x="691" y="1642"/>
                  <a:pt x="693" y="1643"/>
                </a:cubicBezTo>
                <a:cubicBezTo>
                  <a:pt x="694" y="1643"/>
                  <a:pt x="696" y="1645"/>
                  <a:pt x="699" y="1646"/>
                </a:cubicBezTo>
                <a:cubicBezTo>
                  <a:pt x="705" y="1650"/>
                  <a:pt x="707" y="1655"/>
                  <a:pt x="707" y="1659"/>
                </a:cubicBezTo>
                <a:cubicBezTo>
                  <a:pt x="706" y="1661"/>
                  <a:pt x="707" y="1663"/>
                  <a:pt x="709" y="1665"/>
                </a:cubicBezTo>
                <a:cubicBezTo>
                  <a:pt x="711" y="1667"/>
                  <a:pt x="712" y="1669"/>
                  <a:pt x="712" y="1670"/>
                </a:cubicBezTo>
                <a:cubicBezTo>
                  <a:pt x="712" y="1672"/>
                  <a:pt x="712" y="1675"/>
                  <a:pt x="712" y="1678"/>
                </a:cubicBezTo>
                <a:cubicBezTo>
                  <a:pt x="712" y="1680"/>
                  <a:pt x="713" y="1682"/>
                  <a:pt x="715" y="1684"/>
                </a:cubicBezTo>
                <a:cubicBezTo>
                  <a:pt x="715" y="1686"/>
                  <a:pt x="716" y="1689"/>
                  <a:pt x="718" y="1691"/>
                </a:cubicBezTo>
                <a:cubicBezTo>
                  <a:pt x="720" y="1692"/>
                  <a:pt x="722" y="1694"/>
                  <a:pt x="725" y="1696"/>
                </a:cubicBezTo>
                <a:cubicBezTo>
                  <a:pt x="724" y="1697"/>
                  <a:pt x="723" y="1700"/>
                  <a:pt x="723" y="1703"/>
                </a:cubicBezTo>
                <a:cubicBezTo>
                  <a:pt x="722" y="1707"/>
                  <a:pt x="722" y="1709"/>
                  <a:pt x="723" y="1709"/>
                </a:cubicBezTo>
                <a:cubicBezTo>
                  <a:pt x="723" y="1709"/>
                  <a:pt x="725" y="1710"/>
                  <a:pt x="730" y="1711"/>
                </a:cubicBezTo>
                <a:cubicBezTo>
                  <a:pt x="728" y="1714"/>
                  <a:pt x="727" y="1717"/>
                  <a:pt x="725" y="1718"/>
                </a:cubicBezTo>
                <a:cubicBezTo>
                  <a:pt x="723" y="1720"/>
                  <a:pt x="720" y="1720"/>
                  <a:pt x="716" y="1719"/>
                </a:cubicBezTo>
                <a:cubicBezTo>
                  <a:pt x="713" y="1719"/>
                  <a:pt x="710" y="1720"/>
                  <a:pt x="706" y="1721"/>
                </a:cubicBezTo>
                <a:cubicBezTo>
                  <a:pt x="703" y="1723"/>
                  <a:pt x="701" y="1725"/>
                  <a:pt x="699" y="1727"/>
                </a:cubicBezTo>
                <a:cubicBezTo>
                  <a:pt x="699" y="1728"/>
                  <a:pt x="699" y="1729"/>
                  <a:pt x="698" y="1730"/>
                </a:cubicBezTo>
                <a:cubicBezTo>
                  <a:pt x="697" y="1733"/>
                  <a:pt x="695" y="1738"/>
                  <a:pt x="693" y="1746"/>
                </a:cubicBezTo>
                <a:cubicBezTo>
                  <a:pt x="692" y="1748"/>
                  <a:pt x="690" y="1749"/>
                  <a:pt x="686" y="1752"/>
                </a:cubicBezTo>
                <a:cubicBezTo>
                  <a:pt x="686" y="1752"/>
                  <a:pt x="685" y="1752"/>
                  <a:pt x="685" y="1752"/>
                </a:cubicBezTo>
                <a:cubicBezTo>
                  <a:pt x="680" y="1754"/>
                  <a:pt x="677" y="1757"/>
                  <a:pt x="675" y="1759"/>
                </a:cubicBezTo>
                <a:lnTo>
                  <a:pt x="674" y="1760"/>
                </a:lnTo>
                <a:lnTo>
                  <a:pt x="674" y="1760"/>
                </a:lnTo>
                <a:cubicBezTo>
                  <a:pt x="672" y="1762"/>
                  <a:pt x="669" y="1763"/>
                  <a:pt x="667" y="1765"/>
                </a:cubicBezTo>
                <a:cubicBezTo>
                  <a:pt x="665" y="1768"/>
                  <a:pt x="662" y="1771"/>
                  <a:pt x="660" y="1775"/>
                </a:cubicBezTo>
                <a:cubicBezTo>
                  <a:pt x="655" y="1774"/>
                  <a:pt x="650" y="1772"/>
                  <a:pt x="646" y="1772"/>
                </a:cubicBezTo>
                <a:cubicBezTo>
                  <a:pt x="645" y="1773"/>
                  <a:pt x="644" y="1773"/>
                  <a:pt x="643" y="1773"/>
                </a:cubicBezTo>
                <a:lnTo>
                  <a:pt x="643" y="1773"/>
                </a:lnTo>
                <a:cubicBezTo>
                  <a:pt x="648" y="1773"/>
                  <a:pt x="651" y="1774"/>
                  <a:pt x="655" y="1778"/>
                </a:cubicBezTo>
                <a:cubicBezTo>
                  <a:pt x="658" y="1781"/>
                  <a:pt x="662" y="1783"/>
                  <a:pt x="664" y="1783"/>
                </a:cubicBezTo>
                <a:cubicBezTo>
                  <a:pt x="666" y="1783"/>
                  <a:pt x="667" y="1784"/>
                  <a:pt x="669" y="1783"/>
                </a:cubicBezTo>
                <a:cubicBezTo>
                  <a:pt x="675" y="1783"/>
                  <a:pt x="678" y="1782"/>
                  <a:pt x="678" y="1780"/>
                </a:cubicBezTo>
                <a:cubicBezTo>
                  <a:pt x="678" y="1779"/>
                  <a:pt x="677" y="1777"/>
                  <a:pt x="674" y="1773"/>
                </a:cubicBezTo>
                <a:lnTo>
                  <a:pt x="675" y="1773"/>
                </a:lnTo>
                <a:cubicBezTo>
                  <a:pt x="676" y="1773"/>
                  <a:pt x="676" y="1773"/>
                  <a:pt x="677" y="1774"/>
                </a:cubicBezTo>
                <a:cubicBezTo>
                  <a:pt x="684" y="1779"/>
                  <a:pt x="691" y="1784"/>
                  <a:pt x="695" y="1789"/>
                </a:cubicBezTo>
                <a:cubicBezTo>
                  <a:pt x="695" y="1790"/>
                  <a:pt x="696" y="1790"/>
                  <a:pt x="696" y="1791"/>
                </a:cubicBezTo>
                <a:lnTo>
                  <a:pt x="695" y="1792"/>
                </a:lnTo>
                <a:cubicBezTo>
                  <a:pt x="698" y="1793"/>
                  <a:pt x="699" y="1793"/>
                  <a:pt x="699" y="1793"/>
                </a:cubicBezTo>
                <a:cubicBezTo>
                  <a:pt x="699" y="1794"/>
                  <a:pt x="699" y="1794"/>
                  <a:pt x="699" y="1796"/>
                </a:cubicBezTo>
                <a:cubicBezTo>
                  <a:pt x="699" y="1799"/>
                  <a:pt x="697" y="1801"/>
                  <a:pt x="694" y="1801"/>
                </a:cubicBezTo>
                <a:cubicBezTo>
                  <a:pt x="692" y="1801"/>
                  <a:pt x="689" y="1800"/>
                  <a:pt x="687" y="1798"/>
                </a:cubicBezTo>
                <a:cubicBezTo>
                  <a:pt x="684" y="1796"/>
                  <a:pt x="682" y="1794"/>
                  <a:pt x="680" y="1794"/>
                </a:cubicBezTo>
                <a:cubicBezTo>
                  <a:pt x="679" y="1794"/>
                  <a:pt x="676" y="1794"/>
                  <a:pt x="674" y="1794"/>
                </a:cubicBezTo>
                <a:cubicBezTo>
                  <a:pt x="672" y="1794"/>
                  <a:pt x="671" y="1795"/>
                  <a:pt x="669" y="1795"/>
                </a:cubicBezTo>
                <a:cubicBezTo>
                  <a:pt x="662" y="1796"/>
                  <a:pt x="659" y="1797"/>
                  <a:pt x="659" y="1799"/>
                </a:cubicBezTo>
                <a:cubicBezTo>
                  <a:pt x="658" y="1802"/>
                  <a:pt x="661" y="1806"/>
                  <a:pt x="665" y="1811"/>
                </a:cubicBezTo>
                <a:cubicBezTo>
                  <a:pt x="670" y="1816"/>
                  <a:pt x="672" y="1819"/>
                  <a:pt x="672" y="1821"/>
                </a:cubicBezTo>
                <a:cubicBezTo>
                  <a:pt x="672" y="1823"/>
                  <a:pt x="671" y="1824"/>
                  <a:pt x="669" y="1825"/>
                </a:cubicBezTo>
                <a:cubicBezTo>
                  <a:pt x="666" y="1825"/>
                  <a:pt x="664" y="1826"/>
                  <a:pt x="663" y="1828"/>
                </a:cubicBezTo>
                <a:cubicBezTo>
                  <a:pt x="661" y="1833"/>
                  <a:pt x="658" y="1836"/>
                  <a:pt x="657" y="1837"/>
                </a:cubicBezTo>
                <a:cubicBezTo>
                  <a:pt x="655" y="1834"/>
                  <a:pt x="653" y="1833"/>
                  <a:pt x="653" y="1832"/>
                </a:cubicBezTo>
                <a:cubicBezTo>
                  <a:pt x="646" y="1837"/>
                  <a:pt x="643" y="1840"/>
                  <a:pt x="642" y="1840"/>
                </a:cubicBezTo>
                <a:cubicBezTo>
                  <a:pt x="640" y="1841"/>
                  <a:pt x="639" y="1843"/>
                  <a:pt x="639" y="1847"/>
                </a:cubicBezTo>
                <a:cubicBezTo>
                  <a:pt x="638" y="1849"/>
                  <a:pt x="638" y="1850"/>
                  <a:pt x="638" y="1851"/>
                </a:cubicBezTo>
                <a:cubicBezTo>
                  <a:pt x="637" y="1853"/>
                  <a:pt x="637" y="1854"/>
                  <a:pt x="637" y="1854"/>
                </a:cubicBezTo>
                <a:cubicBezTo>
                  <a:pt x="634" y="1861"/>
                  <a:pt x="632" y="1866"/>
                  <a:pt x="631" y="1867"/>
                </a:cubicBezTo>
                <a:cubicBezTo>
                  <a:pt x="631" y="1868"/>
                  <a:pt x="628" y="1869"/>
                  <a:pt x="625" y="1871"/>
                </a:cubicBezTo>
                <a:cubicBezTo>
                  <a:pt x="621" y="1873"/>
                  <a:pt x="620" y="1875"/>
                  <a:pt x="620" y="1876"/>
                </a:cubicBezTo>
                <a:lnTo>
                  <a:pt x="619" y="1876"/>
                </a:lnTo>
                <a:cubicBezTo>
                  <a:pt x="620" y="1871"/>
                  <a:pt x="619" y="1867"/>
                  <a:pt x="617" y="1865"/>
                </a:cubicBezTo>
                <a:cubicBezTo>
                  <a:pt x="615" y="1862"/>
                  <a:pt x="615" y="1861"/>
                  <a:pt x="615" y="1860"/>
                </a:cubicBezTo>
                <a:cubicBezTo>
                  <a:pt x="616" y="1859"/>
                  <a:pt x="617" y="1858"/>
                  <a:pt x="617" y="1857"/>
                </a:cubicBezTo>
                <a:cubicBezTo>
                  <a:pt x="614" y="1848"/>
                  <a:pt x="613" y="1842"/>
                  <a:pt x="613" y="1840"/>
                </a:cubicBezTo>
                <a:cubicBezTo>
                  <a:pt x="614" y="1837"/>
                  <a:pt x="615" y="1835"/>
                  <a:pt x="615" y="1834"/>
                </a:cubicBezTo>
                <a:cubicBezTo>
                  <a:pt x="611" y="1834"/>
                  <a:pt x="609" y="1833"/>
                  <a:pt x="608" y="1830"/>
                </a:cubicBezTo>
                <a:cubicBezTo>
                  <a:pt x="608" y="1827"/>
                  <a:pt x="606" y="1825"/>
                  <a:pt x="604" y="1825"/>
                </a:cubicBezTo>
                <a:cubicBezTo>
                  <a:pt x="604" y="1827"/>
                  <a:pt x="603" y="1830"/>
                  <a:pt x="602" y="1835"/>
                </a:cubicBezTo>
                <a:cubicBezTo>
                  <a:pt x="609" y="1847"/>
                  <a:pt x="612" y="1854"/>
                  <a:pt x="612" y="1854"/>
                </a:cubicBezTo>
                <a:cubicBezTo>
                  <a:pt x="612" y="1856"/>
                  <a:pt x="610" y="1857"/>
                  <a:pt x="606" y="1858"/>
                </a:cubicBezTo>
                <a:cubicBezTo>
                  <a:pt x="603" y="1858"/>
                  <a:pt x="601" y="1858"/>
                  <a:pt x="600" y="1858"/>
                </a:cubicBezTo>
                <a:cubicBezTo>
                  <a:pt x="599" y="1858"/>
                  <a:pt x="599" y="1859"/>
                  <a:pt x="598" y="1860"/>
                </a:cubicBezTo>
                <a:cubicBezTo>
                  <a:pt x="598" y="1861"/>
                  <a:pt x="599" y="1864"/>
                  <a:pt x="599" y="1868"/>
                </a:cubicBezTo>
                <a:cubicBezTo>
                  <a:pt x="599" y="1872"/>
                  <a:pt x="597" y="1874"/>
                  <a:pt x="593" y="1873"/>
                </a:cubicBezTo>
                <a:cubicBezTo>
                  <a:pt x="588" y="1877"/>
                  <a:pt x="586" y="1883"/>
                  <a:pt x="587" y="1890"/>
                </a:cubicBezTo>
                <a:lnTo>
                  <a:pt x="585" y="1890"/>
                </a:lnTo>
                <a:lnTo>
                  <a:pt x="583" y="1889"/>
                </a:lnTo>
                <a:cubicBezTo>
                  <a:pt x="584" y="1887"/>
                  <a:pt x="583" y="1885"/>
                  <a:pt x="582" y="1883"/>
                </a:cubicBezTo>
                <a:lnTo>
                  <a:pt x="578" y="1882"/>
                </a:lnTo>
                <a:cubicBezTo>
                  <a:pt x="578" y="1883"/>
                  <a:pt x="577" y="1884"/>
                  <a:pt x="577" y="1886"/>
                </a:cubicBezTo>
                <a:cubicBezTo>
                  <a:pt x="577" y="1887"/>
                  <a:pt x="578" y="1890"/>
                  <a:pt x="579" y="1897"/>
                </a:cubicBezTo>
                <a:cubicBezTo>
                  <a:pt x="576" y="1895"/>
                  <a:pt x="574" y="1895"/>
                  <a:pt x="572" y="1894"/>
                </a:cubicBezTo>
                <a:cubicBezTo>
                  <a:pt x="568" y="1897"/>
                  <a:pt x="566" y="1898"/>
                  <a:pt x="564" y="1898"/>
                </a:cubicBezTo>
                <a:cubicBezTo>
                  <a:pt x="563" y="1898"/>
                  <a:pt x="562" y="1897"/>
                  <a:pt x="560" y="1896"/>
                </a:cubicBezTo>
                <a:cubicBezTo>
                  <a:pt x="558" y="1895"/>
                  <a:pt x="557" y="1895"/>
                  <a:pt x="556" y="1894"/>
                </a:cubicBezTo>
                <a:cubicBezTo>
                  <a:pt x="554" y="1894"/>
                  <a:pt x="553" y="1895"/>
                  <a:pt x="551" y="1896"/>
                </a:cubicBezTo>
                <a:cubicBezTo>
                  <a:pt x="550" y="1897"/>
                  <a:pt x="548" y="1897"/>
                  <a:pt x="546" y="1897"/>
                </a:cubicBezTo>
                <a:lnTo>
                  <a:pt x="545" y="1900"/>
                </a:lnTo>
                <a:cubicBezTo>
                  <a:pt x="546" y="1901"/>
                  <a:pt x="548" y="1903"/>
                  <a:pt x="550" y="1905"/>
                </a:cubicBezTo>
                <a:cubicBezTo>
                  <a:pt x="551" y="1907"/>
                  <a:pt x="552" y="1908"/>
                  <a:pt x="551" y="1910"/>
                </a:cubicBezTo>
                <a:lnTo>
                  <a:pt x="550" y="1911"/>
                </a:lnTo>
                <a:cubicBezTo>
                  <a:pt x="544" y="1911"/>
                  <a:pt x="540" y="1911"/>
                  <a:pt x="537" y="1910"/>
                </a:cubicBezTo>
                <a:lnTo>
                  <a:pt x="536" y="1912"/>
                </a:lnTo>
                <a:cubicBezTo>
                  <a:pt x="537" y="1913"/>
                  <a:pt x="539" y="1914"/>
                  <a:pt x="541" y="1916"/>
                </a:cubicBezTo>
                <a:cubicBezTo>
                  <a:pt x="542" y="1917"/>
                  <a:pt x="543" y="1919"/>
                  <a:pt x="542" y="1920"/>
                </a:cubicBezTo>
                <a:cubicBezTo>
                  <a:pt x="541" y="1921"/>
                  <a:pt x="539" y="1921"/>
                  <a:pt x="535" y="1920"/>
                </a:cubicBezTo>
                <a:cubicBezTo>
                  <a:pt x="517" y="1916"/>
                  <a:pt x="504" y="1914"/>
                  <a:pt x="495" y="1913"/>
                </a:cubicBezTo>
                <a:cubicBezTo>
                  <a:pt x="495" y="1913"/>
                  <a:pt x="495" y="1913"/>
                  <a:pt x="494" y="1913"/>
                </a:cubicBezTo>
                <a:cubicBezTo>
                  <a:pt x="483" y="1912"/>
                  <a:pt x="475" y="1912"/>
                  <a:pt x="471" y="1913"/>
                </a:cubicBezTo>
                <a:cubicBezTo>
                  <a:pt x="471" y="1915"/>
                  <a:pt x="472" y="1917"/>
                  <a:pt x="472" y="1919"/>
                </a:cubicBezTo>
                <a:cubicBezTo>
                  <a:pt x="473" y="1919"/>
                  <a:pt x="475" y="1918"/>
                  <a:pt x="478" y="1917"/>
                </a:cubicBezTo>
                <a:cubicBezTo>
                  <a:pt x="481" y="1916"/>
                  <a:pt x="483" y="1916"/>
                  <a:pt x="485" y="1916"/>
                </a:cubicBezTo>
                <a:cubicBezTo>
                  <a:pt x="489" y="1917"/>
                  <a:pt x="492" y="1917"/>
                  <a:pt x="495" y="1917"/>
                </a:cubicBezTo>
                <a:cubicBezTo>
                  <a:pt x="504" y="1919"/>
                  <a:pt x="510" y="1921"/>
                  <a:pt x="514" y="1923"/>
                </a:cubicBezTo>
                <a:cubicBezTo>
                  <a:pt x="517" y="1926"/>
                  <a:pt x="526" y="1933"/>
                  <a:pt x="538" y="1944"/>
                </a:cubicBezTo>
                <a:cubicBezTo>
                  <a:pt x="536" y="1947"/>
                  <a:pt x="531" y="1949"/>
                  <a:pt x="524" y="1950"/>
                </a:cubicBezTo>
                <a:cubicBezTo>
                  <a:pt x="522" y="1950"/>
                  <a:pt x="519" y="1950"/>
                  <a:pt x="516" y="1949"/>
                </a:cubicBezTo>
                <a:cubicBezTo>
                  <a:pt x="510" y="1949"/>
                  <a:pt x="504" y="1947"/>
                  <a:pt x="498" y="1944"/>
                </a:cubicBezTo>
                <a:lnTo>
                  <a:pt x="491" y="1943"/>
                </a:lnTo>
                <a:lnTo>
                  <a:pt x="490" y="1945"/>
                </a:lnTo>
                <a:cubicBezTo>
                  <a:pt x="492" y="1947"/>
                  <a:pt x="497" y="1950"/>
                  <a:pt x="504" y="1953"/>
                </a:cubicBezTo>
                <a:cubicBezTo>
                  <a:pt x="507" y="1955"/>
                  <a:pt x="509" y="1956"/>
                  <a:pt x="510" y="1957"/>
                </a:cubicBezTo>
                <a:cubicBezTo>
                  <a:pt x="513" y="1959"/>
                  <a:pt x="514" y="1961"/>
                  <a:pt x="515" y="1963"/>
                </a:cubicBezTo>
                <a:cubicBezTo>
                  <a:pt x="515" y="1963"/>
                  <a:pt x="516" y="1963"/>
                  <a:pt x="516" y="1964"/>
                </a:cubicBezTo>
                <a:cubicBezTo>
                  <a:pt x="514" y="1965"/>
                  <a:pt x="513" y="1966"/>
                  <a:pt x="511" y="1968"/>
                </a:cubicBezTo>
                <a:cubicBezTo>
                  <a:pt x="511" y="1969"/>
                  <a:pt x="513" y="1971"/>
                  <a:pt x="516" y="1972"/>
                </a:cubicBezTo>
                <a:cubicBezTo>
                  <a:pt x="519" y="1973"/>
                  <a:pt x="521" y="1974"/>
                  <a:pt x="521" y="1975"/>
                </a:cubicBezTo>
                <a:cubicBezTo>
                  <a:pt x="521" y="1976"/>
                  <a:pt x="520" y="1978"/>
                  <a:pt x="517" y="1980"/>
                </a:cubicBezTo>
                <a:lnTo>
                  <a:pt x="516" y="1984"/>
                </a:lnTo>
                <a:cubicBezTo>
                  <a:pt x="520" y="1984"/>
                  <a:pt x="523" y="1986"/>
                  <a:pt x="526" y="1990"/>
                </a:cubicBezTo>
                <a:cubicBezTo>
                  <a:pt x="528" y="1993"/>
                  <a:pt x="529" y="1997"/>
                  <a:pt x="528" y="2001"/>
                </a:cubicBezTo>
                <a:cubicBezTo>
                  <a:pt x="528" y="2003"/>
                  <a:pt x="527" y="2004"/>
                  <a:pt x="524" y="2005"/>
                </a:cubicBezTo>
                <a:cubicBezTo>
                  <a:pt x="522" y="2007"/>
                  <a:pt x="520" y="2008"/>
                  <a:pt x="520" y="2010"/>
                </a:cubicBezTo>
                <a:cubicBezTo>
                  <a:pt x="520" y="2010"/>
                  <a:pt x="521" y="2012"/>
                  <a:pt x="521" y="2014"/>
                </a:cubicBezTo>
                <a:cubicBezTo>
                  <a:pt x="522" y="2015"/>
                  <a:pt x="522" y="2017"/>
                  <a:pt x="522" y="2019"/>
                </a:cubicBezTo>
                <a:cubicBezTo>
                  <a:pt x="522" y="2022"/>
                  <a:pt x="521" y="2024"/>
                  <a:pt x="521" y="2024"/>
                </a:cubicBezTo>
                <a:cubicBezTo>
                  <a:pt x="519" y="2024"/>
                  <a:pt x="518" y="2023"/>
                  <a:pt x="516" y="2022"/>
                </a:cubicBezTo>
                <a:lnTo>
                  <a:pt x="511" y="2022"/>
                </a:lnTo>
                <a:cubicBezTo>
                  <a:pt x="512" y="2027"/>
                  <a:pt x="511" y="2030"/>
                  <a:pt x="509" y="2031"/>
                </a:cubicBezTo>
                <a:cubicBezTo>
                  <a:pt x="509" y="2031"/>
                  <a:pt x="510" y="2031"/>
                  <a:pt x="509" y="2032"/>
                </a:cubicBezTo>
                <a:cubicBezTo>
                  <a:pt x="511" y="2033"/>
                  <a:pt x="513" y="2034"/>
                  <a:pt x="516" y="2035"/>
                </a:cubicBezTo>
                <a:cubicBezTo>
                  <a:pt x="518" y="2035"/>
                  <a:pt x="518" y="2037"/>
                  <a:pt x="518" y="2039"/>
                </a:cubicBezTo>
                <a:cubicBezTo>
                  <a:pt x="518" y="2043"/>
                  <a:pt x="517" y="2046"/>
                  <a:pt x="516" y="2047"/>
                </a:cubicBezTo>
                <a:cubicBezTo>
                  <a:pt x="514" y="2048"/>
                  <a:pt x="511" y="2048"/>
                  <a:pt x="507" y="2048"/>
                </a:cubicBezTo>
                <a:cubicBezTo>
                  <a:pt x="504" y="2046"/>
                  <a:pt x="502" y="2045"/>
                  <a:pt x="501" y="2045"/>
                </a:cubicBezTo>
                <a:cubicBezTo>
                  <a:pt x="498" y="2045"/>
                  <a:pt x="496" y="2046"/>
                  <a:pt x="494" y="2045"/>
                </a:cubicBezTo>
                <a:cubicBezTo>
                  <a:pt x="494" y="2050"/>
                  <a:pt x="496" y="2053"/>
                  <a:pt x="498" y="2056"/>
                </a:cubicBezTo>
                <a:cubicBezTo>
                  <a:pt x="500" y="2057"/>
                  <a:pt x="502" y="2060"/>
                  <a:pt x="507" y="2063"/>
                </a:cubicBezTo>
                <a:cubicBezTo>
                  <a:pt x="509" y="2064"/>
                  <a:pt x="510" y="2068"/>
                  <a:pt x="512" y="2074"/>
                </a:cubicBezTo>
                <a:cubicBezTo>
                  <a:pt x="512" y="2079"/>
                  <a:pt x="513" y="2083"/>
                  <a:pt x="512" y="2086"/>
                </a:cubicBezTo>
                <a:cubicBezTo>
                  <a:pt x="512" y="2086"/>
                  <a:pt x="510" y="2086"/>
                  <a:pt x="505" y="2085"/>
                </a:cubicBezTo>
                <a:cubicBezTo>
                  <a:pt x="503" y="2085"/>
                  <a:pt x="502" y="2086"/>
                  <a:pt x="502" y="2088"/>
                </a:cubicBezTo>
                <a:cubicBezTo>
                  <a:pt x="502" y="2091"/>
                  <a:pt x="502" y="2093"/>
                  <a:pt x="503" y="2095"/>
                </a:cubicBezTo>
                <a:cubicBezTo>
                  <a:pt x="505" y="2099"/>
                  <a:pt x="506" y="2101"/>
                  <a:pt x="507" y="2102"/>
                </a:cubicBezTo>
                <a:lnTo>
                  <a:pt x="496" y="2100"/>
                </a:lnTo>
                <a:lnTo>
                  <a:pt x="496" y="2101"/>
                </a:lnTo>
                <a:cubicBezTo>
                  <a:pt x="496" y="2101"/>
                  <a:pt x="498" y="2104"/>
                  <a:pt x="503" y="2109"/>
                </a:cubicBezTo>
                <a:cubicBezTo>
                  <a:pt x="505" y="2112"/>
                  <a:pt x="508" y="2113"/>
                  <a:pt x="511" y="2112"/>
                </a:cubicBezTo>
                <a:cubicBezTo>
                  <a:pt x="511" y="2113"/>
                  <a:pt x="511" y="2113"/>
                  <a:pt x="511" y="2114"/>
                </a:cubicBezTo>
                <a:cubicBezTo>
                  <a:pt x="510" y="2116"/>
                  <a:pt x="510" y="2117"/>
                  <a:pt x="511" y="2119"/>
                </a:cubicBezTo>
                <a:cubicBezTo>
                  <a:pt x="510" y="2120"/>
                  <a:pt x="511" y="2121"/>
                  <a:pt x="511" y="2123"/>
                </a:cubicBezTo>
                <a:cubicBezTo>
                  <a:pt x="511" y="2124"/>
                  <a:pt x="510" y="2125"/>
                  <a:pt x="509" y="2126"/>
                </a:cubicBezTo>
                <a:cubicBezTo>
                  <a:pt x="507" y="2126"/>
                  <a:pt x="506" y="2127"/>
                  <a:pt x="506" y="2128"/>
                </a:cubicBezTo>
                <a:cubicBezTo>
                  <a:pt x="506" y="2129"/>
                  <a:pt x="507" y="2131"/>
                  <a:pt x="508" y="2135"/>
                </a:cubicBezTo>
                <a:cubicBezTo>
                  <a:pt x="508" y="2137"/>
                  <a:pt x="505" y="2140"/>
                  <a:pt x="499" y="2146"/>
                </a:cubicBezTo>
                <a:cubicBezTo>
                  <a:pt x="493" y="2151"/>
                  <a:pt x="491" y="2156"/>
                  <a:pt x="490" y="2159"/>
                </a:cubicBezTo>
                <a:cubicBezTo>
                  <a:pt x="490" y="2160"/>
                  <a:pt x="491" y="2161"/>
                  <a:pt x="492" y="2162"/>
                </a:cubicBezTo>
                <a:cubicBezTo>
                  <a:pt x="493" y="2163"/>
                  <a:pt x="493" y="2163"/>
                  <a:pt x="493" y="2165"/>
                </a:cubicBezTo>
                <a:cubicBezTo>
                  <a:pt x="493" y="2165"/>
                  <a:pt x="492" y="2166"/>
                  <a:pt x="491" y="2167"/>
                </a:cubicBezTo>
                <a:cubicBezTo>
                  <a:pt x="490" y="2169"/>
                  <a:pt x="489" y="2170"/>
                  <a:pt x="489" y="2171"/>
                </a:cubicBezTo>
                <a:cubicBezTo>
                  <a:pt x="489" y="2175"/>
                  <a:pt x="493" y="2183"/>
                  <a:pt x="502" y="2195"/>
                </a:cubicBezTo>
                <a:cubicBezTo>
                  <a:pt x="502" y="2197"/>
                  <a:pt x="497" y="2199"/>
                  <a:pt x="488" y="2200"/>
                </a:cubicBezTo>
                <a:lnTo>
                  <a:pt x="487" y="2211"/>
                </a:lnTo>
                <a:cubicBezTo>
                  <a:pt x="488" y="2212"/>
                  <a:pt x="489" y="2215"/>
                  <a:pt x="488" y="2219"/>
                </a:cubicBezTo>
                <a:cubicBezTo>
                  <a:pt x="488" y="2224"/>
                  <a:pt x="486" y="2231"/>
                  <a:pt x="484" y="2240"/>
                </a:cubicBezTo>
                <a:cubicBezTo>
                  <a:pt x="483" y="2242"/>
                  <a:pt x="486" y="2245"/>
                  <a:pt x="490" y="2248"/>
                </a:cubicBezTo>
                <a:cubicBezTo>
                  <a:pt x="490" y="2252"/>
                  <a:pt x="486" y="2253"/>
                  <a:pt x="479" y="2252"/>
                </a:cubicBezTo>
                <a:cubicBezTo>
                  <a:pt x="479" y="2254"/>
                  <a:pt x="479" y="2258"/>
                  <a:pt x="480" y="2264"/>
                </a:cubicBezTo>
                <a:cubicBezTo>
                  <a:pt x="479" y="2269"/>
                  <a:pt x="477" y="2272"/>
                  <a:pt x="474" y="2272"/>
                </a:cubicBezTo>
                <a:cubicBezTo>
                  <a:pt x="470" y="2273"/>
                  <a:pt x="467" y="2277"/>
                  <a:pt x="465" y="2283"/>
                </a:cubicBezTo>
                <a:cubicBezTo>
                  <a:pt x="464" y="2288"/>
                  <a:pt x="463" y="2292"/>
                  <a:pt x="461" y="2295"/>
                </a:cubicBezTo>
                <a:cubicBezTo>
                  <a:pt x="460" y="2296"/>
                  <a:pt x="459" y="2298"/>
                  <a:pt x="456" y="2301"/>
                </a:cubicBezTo>
                <a:cubicBezTo>
                  <a:pt x="455" y="2302"/>
                  <a:pt x="455" y="2304"/>
                  <a:pt x="454" y="2306"/>
                </a:cubicBezTo>
                <a:cubicBezTo>
                  <a:pt x="454" y="2308"/>
                  <a:pt x="454" y="2310"/>
                  <a:pt x="454" y="2310"/>
                </a:cubicBezTo>
                <a:cubicBezTo>
                  <a:pt x="454" y="2310"/>
                  <a:pt x="454" y="2310"/>
                  <a:pt x="454" y="2310"/>
                </a:cubicBezTo>
                <a:cubicBezTo>
                  <a:pt x="454" y="2312"/>
                  <a:pt x="453" y="2315"/>
                  <a:pt x="453" y="2317"/>
                </a:cubicBezTo>
                <a:cubicBezTo>
                  <a:pt x="453" y="2319"/>
                  <a:pt x="453" y="2324"/>
                  <a:pt x="453" y="2331"/>
                </a:cubicBezTo>
                <a:cubicBezTo>
                  <a:pt x="453" y="2337"/>
                  <a:pt x="452" y="2341"/>
                  <a:pt x="450" y="2344"/>
                </a:cubicBezTo>
                <a:cubicBezTo>
                  <a:pt x="449" y="2345"/>
                  <a:pt x="446" y="2347"/>
                  <a:pt x="440" y="2351"/>
                </a:cubicBezTo>
                <a:cubicBezTo>
                  <a:pt x="435" y="2354"/>
                  <a:pt x="432" y="2357"/>
                  <a:pt x="432" y="2360"/>
                </a:cubicBezTo>
                <a:cubicBezTo>
                  <a:pt x="432" y="2361"/>
                  <a:pt x="432" y="2362"/>
                  <a:pt x="433" y="2364"/>
                </a:cubicBezTo>
                <a:cubicBezTo>
                  <a:pt x="433" y="2364"/>
                  <a:pt x="432" y="2366"/>
                  <a:pt x="431" y="2369"/>
                </a:cubicBezTo>
                <a:cubicBezTo>
                  <a:pt x="429" y="2372"/>
                  <a:pt x="428" y="2373"/>
                  <a:pt x="427" y="2373"/>
                </a:cubicBezTo>
                <a:cubicBezTo>
                  <a:pt x="426" y="2373"/>
                  <a:pt x="424" y="2371"/>
                  <a:pt x="423" y="2368"/>
                </a:cubicBezTo>
                <a:cubicBezTo>
                  <a:pt x="421" y="2365"/>
                  <a:pt x="421" y="2363"/>
                  <a:pt x="421" y="2361"/>
                </a:cubicBezTo>
                <a:lnTo>
                  <a:pt x="422" y="2354"/>
                </a:lnTo>
                <a:cubicBezTo>
                  <a:pt x="419" y="2355"/>
                  <a:pt x="416" y="2355"/>
                  <a:pt x="413" y="2354"/>
                </a:cubicBezTo>
                <a:cubicBezTo>
                  <a:pt x="409" y="2352"/>
                  <a:pt x="407" y="2351"/>
                  <a:pt x="406" y="2351"/>
                </a:cubicBezTo>
                <a:cubicBezTo>
                  <a:pt x="404" y="2350"/>
                  <a:pt x="402" y="2351"/>
                  <a:pt x="400" y="2353"/>
                </a:cubicBezTo>
                <a:cubicBezTo>
                  <a:pt x="397" y="2355"/>
                  <a:pt x="395" y="2356"/>
                  <a:pt x="394" y="2356"/>
                </a:cubicBezTo>
                <a:cubicBezTo>
                  <a:pt x="393" y="2356"/>
                  <a:pt x="390" y="2357"/>
                  <a:pt x="386" y="2356"/>
                </a:cubicBezTo>
                <a:cubicBezTo>
                  <a:pt x="383" y="2356"/>
                  <a:pt x="380" y="2357"/>
                  <a:pt x="379" y="2358"/>
                </a:cubicBezTo>
                <a:lnTo>
                  <a:pt x="375" y="2358"/>
                </a:lnTo>
                <a:cubicBezTo>
                  <a:pt x="375" y="2355"/>
                  <a:pt x="374" y="2353"/>
                  <a:pt x="375" y="2352"/>
                </a:cubicBezTo>
                <a:lnTo>
                  <a:pt x="372" y="2352"/>
                </a:lnTo>
                <a:cubicBezTo>
                  <a:pt x="367" y="2354"/>
                  <a:pt x="364" y="2354"/>
                  <a:pt x="363" y="2354"/>
                </a:cubicBezTo>
                <a:cubicBezTo>
                  <a:pt x="359" y="2352"/>
                  <a:pt x="357" y="2351"/>
                  <a:pt x="355" y="2351"/>
                </a:cubicBezTo>
                <a:cubicBezTo>
                  <a:pt x="354" y="2351"/>
                  <a:pt x="352" y="2351"/>
                  <a:pt x="351" y="2353"/>
                </a:cubicBezTo>
                <a:cubicBezTo>
                  <a:pt x="348" y="2353"/>
                  <a:pt x="347" y="2354"/>
                  <a:pt x="346" y="2354"/>
                </a:cubicBezTo>
                <a:cubicBezTo>
                  <a:pt x="342" y="2354"/>
                  <a:pt x="339" y="2355"/>
                  <a:pt x="335" y="2354"/>
                </a:cubicBezTo>
                <a:cubicBezTo>
                  <a:pt x="321" y="2354"/>
                  <a:pt x="314" y="2354"/>
                  <a:pt x="313" y="2355"/>
                </a:cubicBezTo>
                <a:cubicBezTo>
                  <a:pt x="313" y="2357"/>
                  <a:pt x="314" y="2360"/>
                  <a:pt x="316" y="2364"/>
                </a:cubicBezTo>
                <a:cubicBezTo>
                  <a:pt x="317" y="2367"/>
                  <a:pt x="318" y="2370"/>
                  <a:pt x="318" y="2371"/>
                </a:cubicBezTo>
                <a:cubicBezTo>
                  <a:pt x="318" y="2374"/>
                  <a:pt x="317" y="2376"/>
                  <a:pt x="315" y="2379"/>
                </a:cubicBezTo>
                <a:cubicBezTo>
                  <a:pt x="313" y="2381"/>
                  <a:pt x="310" y="2382"/>
                  <a:pt x="307" y="2382"/>
                </a:cubicBezTo>
                <a:cubicBezTo>
                  <a:pt x="306" y="2382"/>
                  <a:pt x="305" y="2379"/>
                  <a:pt x="304" y="2375"/>
                </a:cubicBezTo>
                <a:cubicBezTo>
                  <a:pt x="304" y="2375"/>
                  <a:pt x="303" y="2375"/>
                  <a:pt x="302" y="2375"/>
                </a:cubicBezTo>
                <a:cubicBezTo>
                  <a:pt x="300" y="2374"/>
                  <a:pt x="298" y="2374"/>
                  <a:pt x="298" y="2374"/>
                </a:cubicBezTo>
                <a:cubicBezTo>
                  <a:pt x="296" y="2374"/>
                  <a:pt x="294" y="2376"/>
                  <a:pt x="291" y="2378"/>
                </a:cubicBezTo>
                <a:cubicBezTo>
                  <a:pt x="287" y="2381"/>
                  <a:pt x="283" y="2386"/>
                  <a:pt x="279" y="2391"/>
                </a:cubicBezTo>
                <a:cubicBezTo>
                  <a:pt x="273" y="2398"/>
                  <a:pt x="268" y="2403"/>
                  <a:pt x="266" y="2406"/>
                </a:cubicBezTo>
                <a:cubicBezTo>
                  <a:pt x="262" y="2412"/>
                  <a:pt x="260" y="2417"/>
                  <a:pt x="259" y="2424"/>
                </a:cubicBezTo>
                <a:cubicBezTo>
                  <a:pt x="258" y="2431"/>
                  <a:pt x="261" y="2438"/>
                  <a:pt x="267" y="2445"/>
                </a:cubicBezTo>
                <a:cubicBezTo>
                  <a:pt x="273" y="2452"/>
                  <a:pt x="276" y="2459"/>
                  <a:pt x="275" y="2464"/>
                </a:cubicBezTo>
                <a:cubicBezTo>
                  <a:pt x="275" y="2467"/>
                  <a:pt x="273" y="2469"/>
                  <a:pt x="269" y="2472"/>
                </a:cubicBezTo>
                <a:cubicBezTo>
                  <a:pt x="265" y="2476"/>
                  <a:pt x="262" y="2479"/>
                  <a:pt x="261" y="2479"/>
                </a:cubicBezTo>
                <a:cubicBezTo>
                  <a:pt x="260" y="2484"/>
                  <a:pt x="258" y="2487"/>
                  <a:pt x="257" y="2489"/>
                </a:cubicBezTo>
                <a:cubicBezTo>
                  <a:pt x="256" y="2492"/>
                  <a:pt x="252" y="2493"/>
                  <a:pt x="248" y="2493"/>
                </a:cubicBezTo>
                <a:cubicBezTo>
                  <a:pt x="247" y="2493"/>
                  <a:pt x="245" y="2491"/>
                  <a:pt x="241" y="2487"/>
                </a:cubicBezTo>
                <a:cubicBezTo>
                  <a:pt x="237" y="2484"/>
                  <a:pt x="233" y="2482"/>
                  <a:pt x="230" y="2481"/>
                </a:cubicBezTo>
                <a:cubicBezTo>
                  <a:pt x="227" y="2481"/>
                  <a:pt x="225" y="2481"/>
                  <a:pt x="222" y="2483"/>
                </a:cubicBezTo>
                <a:cubicBezTo>
                  <a:pt x="220" y="2484"/>
                  <a:pt x="218" y="2484"/>
                  <a:pt x="217" y="2484"/>
                </a:cubicBezTo>
                <a:cubicBezTo>
                  <a:pt x="215" y="2483"/>
                  <a:pt x="213" y="2482"/>
                  <a:pt x="212" y="2482"/>
                </a:cubicBezTo>
                <a:cubicBezTo>
                  <a:pt x="209" y="2482"/>
                  <a:pt x="202" y="2485"/>
                  <a:pt x="192" y="2490"/>
                </a:cubicBezTo>
                <a:cubicBezTo>
                  <a:pt x="182" y="2496"/>
                  <a:pt x="174" y="2498"/>
                  <a:pt x="169" y="2498"/>
                </a:cubicBezTo>
                <a:cubicBezTo>
                  <a:pt x="164" y="2497"/>
                  <a:pt x="157" y="2494"/>
                  <a:pt x="149" y="2489"/>
                </a:cubicBezTo>
                <a:cubicBezTo>
                  <a:pt x="141" y="2484"/>
                  <a:pt x="135" y="2482"/>
                  <a:pt x="132" y="2481"/>
                </a:cubicBezTo>
                <a:cubicBezTo>
                  <a:pt x="131" y="2481"/>
                  <a:pt x="129" y="2482"/>
                  <a:pt x="127" y="2483"/>
                </a:cubicBezTo>
                <a:cubicBezTo>
                  <a:pt x="126" y="2483"/>
                  <a:pt x="125" y="2484"/>
                  <a:pt x="123" y="2485"/>
                </a:cubicBezTo>
                <a:lnTo>
                  <a:pt x="124" y="2481"/>
                </a:lnTo>
                <a:cubicBezTo>
                  <a:pt x="125" y="2478"/>
                  <a:pt x="127" y="2477"/>
                  <a:pt x="130" y="2477"/>
                </a:cubicBezTo>
                <a:cubicBezTo>
                  <a:pt x="132" y="2476"/>
                  <a:pt x="134" y="2475"/>
                  <a:pt x="134" y="2471"/>
                </a:cubicBezTo>
                <a:cubicBezTo>
                  <a:pt x="134" y="2470"/>
                  <a:pt x="133" y="2467"/>
                  <a:pt x="131" y="2463"/>
                </a:cubicBezTo>
                <a:cubicBezTo>
                  <a:pt x="129" y="2459"/>
                  <a:pt x="128" y="2456"/>
                  <a:pt x="128" y="2454"/>
                </a:cubicBezTo>
                <a:cubicBezTo>
                  <a:pt x="129" y="2451"/>
                  <a:pt x="132" y="2447"/>
                  <a:pt x="137" y="2443"/>
                </a:cubicBezTo>
                <a:cubicBezTo>
                  <a:pt x="143" y="2438"/>
                  <a:pt x="146" y="2436"/>
                  <a:pt x="146" y="2435"/>
                </a:cubicBezTo>
                <a:cubicBezTo>
                  <a:pt x="146" y="2432"/>
                  <a:pt x="144" y="2428"/>
                  <a:pt x="139" y="2424"/>
                </a:cubicBezTo>
                <a:cubicBezTo>
                  <a:pt x="134" y="2420"/>
                  <a:pt x="131" y="2417"/>
                  <a:pt x="131" y="2416"/>
                </a:cubicBezTo>
                <a:cubicBezTo>
                  <a:pt x="131" y="2416"/>
                  <a:pt x="132" y="2415"/>
                  <a:pt x="133" y="2414"/>
                </a:cubicBezTo>
                <a:cubicBezTo>
                  <a:pt x="133" y="2414"/>
                  <a:pt x="134" y="2413"/>
                  <a:pt x="134" y="2411"/>
                </a:cubicBezTo>
                <a:cubicBezTo>
                  <a:pt x="134" y="2409"/>
                  <a:pt x="131" y="2404"/>
                  <a:pt x="124" y="2396"/>
                </a:cubicBezTo>
                <a:cubicBezTo>
                  <a:pt x="122" y="2394"/>
                  <a:pt x="120" y="2391"/>
                  <a:pt x="119" y="2387"/>
                </a:cubicBezTo>
                <a:cubicBezTo>
                  <a:pt x="118" y="2382"/>
                  <a:pt x="117" y="2379"/>
                  <a:pt x="116" y="2377"/>
                </a:cubicBezTo>
                <a:cubicBezTo>
                  <a:pt x="113" y="2371"/>
                  <a:pt x="110" y="2366"/>
                  <a:pt x="108" y="2362"/>
                </a:cubicBezTo>
                <a:cubicBezTo>
                  <a:pt x="101" y="2350"/>
                  <a:pt x="97" y="2343"/>
                  <a:pt x="97" y="2342"/>
                </a:cubicBezTo>
                <a:cubicBezTo>
                  <a:pt x="99" y="2338"/>
                  <a:pt x="99" y="2336"/>
                  <a:pt x="99" y="2335"/>
                </a:cubicBezTo>
                <a:cubicBezTo>
                  <a:pt x="100" y="2331"/>
                  <a:pt x="99" y="2328"/>
                  <a:pt x="98" y="2326"/>
                </a:cubicBezTo>
                <a:cubicBezTo>
                  <a:pt x="96" y="2324"/>
                  <a:pt x="94" y="2322"/>
                  <a:pt x="94" y="2319"/>
                </a:cubicBezTo>
                <a:lnTo>
                  <a:pt x="96" y="2318"/>
                </a:lnTo>
                <a:lnTo>
                  <a:pt x="100" y="2319"/>
                </a:lnTo>
                <a:cubicBezTo>
                  <a:pt x="103" y="2320"/>
                  <a:pt x="106" y="2322"/>
                  <a:pt x="108" y="2324"/>
                </a:cubicBezTo>
                <a:cubicBezTo>
                  <a:pt x="108" y="2324"/>
                  <a:pt x="110" y="2326"/>
                  <a:pt x="113" y="2329"/>
                </a:cubicBezTo>
                <a:cubicBezTo>
                  <a:pt x="116" y="2332"/>
                  <a:pt x="119" y="2333"/>
                  <a:pt x="121" y="2334"/>
                </a:cubicBezTo>
                <a:cubicBezTo>
                  <a:pt x="122" y="2334"/>
                  <a:pt x="124" y="2333"/>
                  <a:pt x="126" y="2331"/>
                </a:cubicBezTo>
                <a:cubicBezTo>
                  <a:pt x="127" y="2330"/>
                  <a:pt x="128" y="2329"/>
                  <a:pt x="128" y="2327"/>
                </a:cubicBezTo>
                <a:cubicBezTo>
                  <a:pt x="129" y="2323"/>
                  <a:pt x="126" y="2317"/>
                  <a:pt x="119" y="2312"/>
                </a:cubicBezTo>
                <a:cubicBezTo>
                  <a:pt x="113" y="2307"/>
                  <a:pt x="110" y="2301"/>
                  <a:pt x="110" y="2296"/>
                </a:cubicBezTo>
                <a:cubicBezTo>
                  <a:pt x="111" y="2293"/>
                  <a:pt x="112" y="2291"/>
                  <a:pt x="114" y="2290"/>
                </a:cubicBezTo>
                <a:cubicBezTo>
                  <a:pt x="115" y="2290"/>
                  <a:pt x="117" y="2290"/>
                  <a:pt x="121" y="2291"/>
                </a:cubicBezTo>
                <a:cubicBezTo>
                  <a:pt x="123" y="2291"/>
                  <a:pt x="127" y="2292"/>
                  <a:pt x="132" y="2293"/>
                </a:cubicBezTo>
                <a:cubicBezTo>
                  <a:pt x="134" y="2294"/>
                  <a:pt x="135" y="2293"/>
                  <a:pt x="137" y="2290"/>
                </a:cubicBezTo>
                <a:cubicBezTo>
                  <a:pt x="138" y="2288"/>
                  <a:pt x="139" y="2286"/>
                  <a:pt x="139" y="2284"/>
                </a:cubicBezTo>
                <a:cubicBezTo>
                  <a:pt x="141" y="2276"/>
                  <a:pt x="141" y="2270"/>
                  <a:pt x="139" y="2265"/>
                </a:cubicBezTo>
                <a:cubicBezTo>
                  <a:pt x="137" y="2261"/>
                  <a:pt x="135" y="2258"/>
                  <a:pt x="134" y="2258"/>
                </a:cubicBezTo>
                <a:cubicBezTo>
                  <a:pt x="132" y="2258"/>
                  <a:pt x="129" y="2258"/>
                  <a:pt x="127" y="2257"/>
                </a:cubicBezTo>
                <a:cubicBezTo>
                  <a:pt x="120" y="2257"/>
                  <a:pt x="114" y="2250"/>
                  <a:pt x="110" y="2238"/>
                </a:cubicBezTo>
                <a:cubicBezTo>
                  <a:pt x="106" y="2225"/>
                  <a:pt x="104" y="2218"/>
                  <a:pt x="103" y="2216"/>
                </a:cubicBezTo>
                <a:cubicBezTo>
                  <a:pt x="99" y="2213"/>
                  <a:pt x="97" y="2211"/>
                  <a:pt x="95" y="2209"/>
                </a:cubicBezTo>
                <a:cubicBezTo>
                  <a:pt x="91" y="2206"/>
                  <a:pt x="89" y="2203"/>
                  <a:pt x="90" y="2200"/>
                </a:cubicBezTo>
                <a:cubicBezTo>
                  <a:pt x="91" y="2196"/>
                  <a:pt x="90" y="2193"/>
                  <a:pt x="86" y="2189"/>
                </a:cubicBezTo>
                <a:cubicBezTo>
                  <a:pt x="83" y="2185"/>
                  <a:pt x="81" y="2182"/>
                  <a:pt x="81" y="2180"/>
                </a:cubicBezTo>
                <a:cubicBezTo>
                  <a:pt x="82" y="2177"/>
                  <a:pt x="83" y="2175"/>
                  <a:pt x="83" y="2174"/>
                </a:cubicBezTo>
                <a:cubicBezTo>
                  <a:pt x="83" y="2171"/>
                  <a:pt x="82" y="2167"/>
                  <a:pt x="78" y="2162"/>
                </a:cubicBezTo>
                <a:cubicBezTo>
                  <a:pt x="75" y="2157"/>
                  <a:pt x="73" y="2153"/>
                  <a:pt x="74" y="2151"/>
                </a:cubicBezTo>
                <a:cubicBezTo>
                  <a:pt x="75" y="2143"/>
                  <a:pt x="76" y="2139"/>
                  <a:pt x="76" y="2138"/>
                </a:cubicBezTo>
                <a:cubicBezTo>
                  <a:pt x="77" y="2132"/>
                  <a:pt x="75" y="2129"/>
                  <a:pt x="69" y="2129"/>
                </a:cubicBezTo>
                <a:cubicBezTo>
                  <a:pt x="70" y="2125"/>
                  <a:pt x="70" y="2121"/>
                  <a:pt x="70" y="2119"/>
                </a:cubicBezTo>
                <a:cubicBezTo>
                  <a:pt x="70" y="2114"/>
                  <a:pt x="69" y="2112"/>
                  <a:pt x="65" y="2111"/>
                </a:cubicBezTo>
                <a:cubicBezTo>
                  <a:pt x="65" y="2117"/>
                  <a:pt x="63" y="2122"/>
                  <a:pt x="59" y="2127"/>
                </a:cubicBezTo>
                <a:cubicBezTo>
                  <a:pt x="54" y="2117"/>
                  <a:pt x="51" y="2113"/>
                  <a:pt x="51" y="2113"/>
                </a:cubicBezTo>
                <a:lnTo>
                  <a:pt x="51" y="2112"/>
                </a:lnTo>
                <a:cubicBezTo>
                  <a:pt x="55" y="2095"/>
                  <a:pt x="57" y="2086"/>
                  <a:pt x="57" y="2084"/>
                </a:cubicBezTo>
                <a:cubicBezTo>
                  <a:pt x="56" y="2082"/>
                  <a:pt x="54" y="2080"/>
                  <a:pt x="53" y="2078"/>
                </a:cubicBezTo>
                <a:cubicBezTo>
                  <a:pt x="51" y="2074"/>
                  <a:pt x="50" y="2070"/>
                  <a:pt x="51" y="2066"/>
                </a:cubicBezTo>
                <a:lnTo>
                  <a:pt x="52" y="2062"/>
                </a:lnTo>
                <a:cubicBezTo>
                  <a:pt x="46" y="2060"/>
                  <a:pt x="43" y="2059"/>
                  <a:pt x="42" y="2059"/>
                </a:cubicBezTo>
                <a:cubicBezTo>
                  <a:pt x="42" y="2058"/>
                  <a:pt x="42" y="2058"/>
                  <a:pt x="42" y="2058"/>
                </a:cubicBezTo>
                <a:cubicBezTo>
                  <a:pt x="42" y="2058"/>
                  <a:pt x="42" y="2057"/>
                  <a:pt x="42" y="2057"/>
                </a:cubicBezTo>
                <a:cubicBezTo>
                  <a:pt x="43" y="2055"/>
                  <a:pt x="45" y="2054"/>
                  <a:pt x="46" y="2052"/>
                </a:cubicBezTo>
                <a:cubicBezTo>
                  <a:pt x="48" y="2050"/>
                  <a:pt x="49" y="2048"/>
                  <a:pt x="50" y="2046"/>
                </a:cubicBezTo>
                <a:cubicBezTo>
                  <a:pt x="49" y="2045"/>
                  <a:pt x="49" y="2045"/>
                  <a:pt x="48" y="2045"/>
                </a:cubicBezTo>
                <a:cubicBezTo>
                  <a:pt x="47" y="2045"/>
                  <a:pt x="45" y="2046"/>
                  <a:pt x="44" y="2046"/>
                </a:cubicBezTo>
                <a:cubicBezTo>
                  <a:pt x="39" y="2045"/>
                  <a:pt x="37" y="2043"/>
                  <a:pt x="38" y="2038"/>
                </a:cubicBezTo>
                <a:cubicBezTo>
                  <a:pt x="38" y="2035"/>
                  <a:pt x="39" y="2033"/>
                  <a:pt x="39" y="2032"/>
                </a:cubicBezTo>
                <a:cubicBezTo>
                  <a:pt x="39" y="2032"/>
                  <a:pt x="39" y="2030"/>
                  <a:pt x="40" y="2028"/>
                </a:cubicBezTo>
                <a:cubicBezTo>
                  <a:pt x="40" y="2027"/>
                  <a:pt x="40" y="2027"/>
                  <a:pt x="41" y="2026"/>
                </a:cubicBezTo>
                <a:cubicBezTo>
                  <a:pt x="44" y="2027"/>
                  <a:pt x="45" y="2026"/>
                  <a:pt x="46" y="2023"/>
                </a:cubicBezTo>
                <a:cubicBezTo>
                  <a:pt x="45" y="2020"/>
                  <a:pt x="45" y="2018"/>
                  <a:pt x="46" y="2017"/>
                </a:cubicBezTo>
                <a:cubicBezTo>
                  <a:pt x="46" y="2014"/>
                  <a:pt x="47" y="2011"/>
                  <a:pt x="49" y="2009"/>
                </a:cubicBezTo>
                <a:cubicBezTo>
                  <a:pt x="50" y="2007"/>
                  <a:pt x="51" y="2005"/>
                  <a:pt x="52" y="2003"/>
                </a:cubicBezTo>
                <a:cubicBezTo>
                  <a:pt x="51" y="2002"/>
                  <a:pt x="51" y="2001"/>
                  <a:pt x="51" y="2000"/>
                </a:cubicBezTo>
                <a:cubicBezTo>
                  <a:pt x="53" y="1999"/>
                  <a:pt x="53" y="1997"/>
                  <a:pt x="54" y="1995"/>
                </a:cubicBezTo>
                <a:cubicBezTo>
                  <a:pt x="53" y="1990"/>
                  <a:pt x="53" y="1987"/>
                  <a:pt x="53" y="1986"/>
                </a:cubicBezTo>
                <a:cubicBezTo>
                  <a:pt x="55" y="1982"/>
                  <a:pt x="56" y="1978"/>
                  <a:pt x="56" y="1975"/>
                </a:cubicBezTo>
                <a:cubicBezTo>
                  <a:pt x="56" y="1973"/>
                  <a:pt x="57" y="1971"/>
                  <a:pt x="58" y="1970"/>
                </a:cubicBezTo>
                <a:cubicBezTo>
                  <a:pt x="59" y="1968"/>
                  <a:pt x="59" y="1966"/>
                  <a:pt x="59" y="1965"/>
                </a:cubicBezTo>
                <a:cubicBezTo>
                  <a:pt x="60" y="1964"/>
                  <a:pt x="59" y="1963"/>
                  <a:pt x="57" y="1961"/>
                </a:cubicBezTo>
                <a:cubicBezTo>
                  <a:pt x="56" y="1960"/>
                  <a:pt x="55" y="1958"/>
                  <a:pt x="55" y="1957"/>
                </a:cubicBezTo>
                <a:cubicBezTo>
                  <a:pt x="55" y="1956"/>
                  <a:pt x="56" y="1954"/>
                  <a:pt x="57" y="1953"/>
                </a:cubicBezTo>
                <a:cubicBezTo>
                  <a:pt x="58" y="1952"/>
                  <a:pt x="59" y="1951"/>
                  <a:pt x="60" y="1949"/>
                </a:cubicBezTo>
                <a:cubicBezTo>
                  <a:pt x="59" y="1949"/>
                  <a:pt x="57" y="1949"/>
                  <a:pt x="54" y="1948"/>
                </a:cubicBezTo>
                <a:cubicBezTo>
                  <a:pt x="50" y="1948"/>
                  <a:pt x="46" y="1950"/>
                  <a:pt x="42" y="1955"/>
                </a:cubicBezTo>
                <a:cubicBezTo>
                  <a:pt x="38" y="1960"/>
                  <a:pt x="36" y="1962"/>
                  <a:pt x="35" y="1962"/>
                </a:cubicBezTo>
                <a:cubicBezTo>
                  <a:pt x="34" y="1962"/>
                  <a:pt x="33" y="1961"/>
                  <a:pt x="32" y="1961"/>
                </a:cubicBezTo>
                <a:cubicBezTo>
                  <a:pt x="32" y="1961"/>
                  <a:pt x="32" y="1960"/>
                  <a:pt x="31" y="1960"/>
                </a:cubicBezTo>
                <a:cubicBezTo>
                  <a:pt x="31" y="1960"/>
                  <a:pt x="31" y="1960"/>
                  <a:pt x="31" y="1960"/>
                </a:cubicBezTo>
                <a:lnTo>
                  <a:pt x="31" y="1960"/>
                </a:lnTo>
                <a:cubicBezTo>
                  <a:pt x="31" y="1959"/>
                  <a:pt x="31" y="1959"/>
                  <a:pt x="31" y="1958"/>
                </a:cubicBezTo>
                <a:cubicBezTo>
                  <a:pt x="31" y="1956"/>
                  <a:pt x="33" y="1953"/>
                  <a:pt x="36" y="1949"/>
                </a:cubicBezTo>
                <a:cubicBezTo>
                  <a:pt x="39" y="1945"/>
                  <a:pt x="41" y="1942"/>
                  <a:pt x="41" y="1939"/>
                </a:cubicBezTo>
                <a:cubicBezTo>
                  <a:pt x="42" y="1934"/>
                  <a:pt x="40" y="1931"/>
                  <a:pt x="35" y="1930"/>
                </a:cubicBezTo>
                <a:cubicBezTo>
                  <a:pt x="34" y="1938"/>
                  <a:pt x="34" y="1944"/>
                  <a:pt x="33" y="1947"/>
                </a:cubicBezTo>
                <a:cubicBezTo>
                  <a:pt x="31" y="1953"/>
                  <a:pt x="27" y="1955"/>
                  <a:pt x="22" y="1955"/>
                </a:cubicBezTo>
                <a:cubicBezTo>
                  <a:pt x="21" y="1954"/>
                  <a:pt x="20" y="1954"/>
                  <a:pt x="19" y="1954"/>
                </a:cubicBezTo>
                <a:lnTo>
                  <a:pt x="19" y="1951"/>
                </a:lnTo>
                <a:cubicBezTo>
                  <a:pt x="20" y="1949"/>
                  <a:pt x="22" y="1947"/>
                  <a:pt x="25" y="1944"/>
                </a:cubicBezTo>
                <a:cubicBezTo>
                  <a:pt x="24" y="1943"/>
                  <a:pt x="23" y="1943"/>
                  <a:pt x="21" y="1943"/>
                </a:cubicBezTo>
                <a:cubicBezTo>
                  <a:pt x="20" y="1943"/>
                  <a:pt x="20" y="1942"/>
                  <a:pt x="20" y="1939"/>
                </a:cubicBezTo>
                <a:cubicBezTo>
                  <a:pt x="22" y="1934"/>
                  <a:pt x="23" y="1931"/>
                  <a:pt x="23" y="1930"/>
                </a:cubicBezTo>
                <a:cubicBezTo>
                  <a:pt x="22" y="1928"/>
                  <a:pt x="22" y="1927"/>
                  <a:pt x="22" y="1927"/>
                </a:cubicBezTo>
                <a:cubicBezTo>
                  <a:pt x="21" y="1928"/>
                  <a:pt x="19" y="1931"/>
                  <a:pt x="16" y="1937"/>
                </a:cubicBezTo>
                <a:cubicBezTo>
                  <a:pt x="14" y="1942"/>
                  <a:pt x="11" y="1944"/>
                  <a:pt x="8" y="1945"/>
                </a:cubicBezTo>
                <a:lnTo>
                  <a:pt x="3" y="1945"/>
                </a:lnTo>
                <a:cubicBezTo>
                  <a:pt x="2" y="1944"/>
                  <a:pt x="2" y="1943"/>
                  <a:pt x="2" y="1942"/>
                </a:cubicBezTo>
                <a:cubicBezTo>
                  <a:pt x="6" y="1930"/>
                  <a:pt x="8" y="1923"/>
                  <a:pt x="8" y="1920"/>
                </a:cubicBezTo>
                <a:cubicBezTo>
                  <a:pt x="10" y="1911"/>
                  <a:pt x="11" y="1904"/>
                  <a:pt x="11" y="1900"/>
                </a:cubicBezTo>
                <a:cubicBezTo>
                  <a:pt x="11" y="1898"/>
                  <a:pt x="11" y="1896"/>
                  <a:pt x="11" y="1895"/>
                </a:cubicBezTo>
                <a:cubicBezTo>
                  <a:pt x="11" y="1894"/>
                  <a:pt x="10" y="1894"/>
                  <a:pt x="10" y="1893"/>
                </a:cubicBezTo>
                <a:cubicBezTo>
                  <a:pt x="10" y="1892"/>
                  <a:pt x="9" y="1891"/>
                  <a:pt x="8" y="1890"/>
                </a:cubicBezTo>
                <a:cubicBezTo>
                  <a:pt x="6" y="1886"/>
                  <a:pt x="4" y="1882"/>
                  <a:pt x="5" y="1880"/>
                </a:cubicBezTo>
                <a:cubicBezTo>
                  <a:pt x="6" y="1878"/>
                  <a:pt x="7" y="1875"/>
                  <a:pt x="8" y="1873"/>
                </a:cubicBezTo>
                <a:cubicBezTo>
                  <a:pt x="7" y="1857"/>
                  <a:pt x="6" y="1848"/>
                  <a:pt x="6" y="1848"/>
                </a:cubicBezTo>
                <a:cubicBezTo>
                  <a:pt x="6" y="1842"/>
                  <a:pt x="5" y="1839"/>
                  <a:pt x="3" y="1837"/>
                </a:cubicBezTo>
                <a:cubicBezTo>
                  <a:pt x="0" y="1836"/>
                  <a:pt x="0" y="1833"/>
                  <a:pt x="0" y="1829"/>
                </a:cubicBezTo>
                <a:cubicBezTo>
                  <a:pt x="0" y="1827"/>
                  <a:pt x="2" y="1823"/>
                  <a:pt x="6" y="1818"/>
                </a:cubicBezTo>
                <a:cubicBezTo>
                  <a:pt x="8" y="1815"/>
                  <a:pt x="10" y="1811"/>
                  <a:pt x="11" y="1809"/>
                </a:cubicBezTo>
                <a:cubicBezTo>
                  <a:pt x="18" y="1809"/>
                  <a:pt x="23" y="1814"/>
                  <a:pt x="25" y="1822"/>
                </a:cubicBezTo>
                <a:cubicBezTo>
                  <a:pt x="26" y="1825"/>
                  <a:pt x="27" y="1830"/>
                  <a:pt x="29" y="1837"/>
                </a:cubicBezTo>
                <a:cubicBezTo>
                  <a:pt x="30" y="1843"/>
                  <a:pt x="32" y="1847"/>
                  <a:pt x="33" y="1850"/>
                </a:cubicBezTo>
                <a:cubicBezTo>
                  <a:pt x="35" y="1849"/>
                  <a:pt x="39" y="1848"/>
                  <a:pt x="44" y="1846"/>
                </a:cubicBezTo>
                <a:cubicBezTo>
                  <a:pt x="49" y="1844"/>
                  <a:pt x="51" y="1841"/>
                  <a:pt x="51" y="1838"/>
                </a:cubicBezTo>
                <a:cubicBezTo>
                  <a:pt x="52" y="1830"/>
                  <a:pt x="53" y="1826"/>
                  <a:pt x="54" y="1824"/>
                </a:cubicBezTo>
                <a:cubicBezTo>
                  <a:pt x="55" y="1823"/>
                  <a:pt x="56" y="1819"/>
                  <a:pt x="57" y="1815"/>
                </a:cubicBezTo>
                <a:cubicBezTo>
                  <a:pt x="56" y="1807"/>
                  <a:pt x="56" y="1802"/>
                  <a:pt x="57" y="1801"/>
                </a:cubicBezTo>
                <a:cubicBezTo>
                  <a:pt x="57" y="1798"/>
                  <a:pt x="58" y="1796"/>
                  <a:pt x="61" y="1794"/>
                </a:cubicBezTo>
                <a:cubicBezTo>
                  <a:pt x="63" y="1793"/>
                  <a:pt x="64" y="1790"/>
                  <a:pt x="65" y="1785"/>
                </a:cubicBezTo>
                <a:cubicBezTo>
                  <a:pt x="65" y="1782"/>
                  <a:pt x="65" y="1777"/>
                  <a:pt x="64" y="1770"/>
                </a:cubicBezTo>
                <a:cubicBezTo>
                  <a:pt x="63" y="1765"/>
                  <a:pt x="63" y="1761"/>
                  <a:pt x="63" y="1758"/>
                </a:cubicBezTo>
                <a:cubicBezTo>
                  <a:pt x="63" y="1757"/>
                  <a:pt x="63" y="1756"/>
                  <a:pt x="62" y="1756"/>
                </a:cubicBezTo>
                <a:cubicBezTo>
                  <a:pt x="59" y="1745"/>
                  <a:pt x="58" y="1734"/>
                  <a:pt x="59" y="1725"/>
                </a:cubicBezTo>
                <a:cubicBezTo>
                  <a:pt x="59" y="1721"/>
                  <a:pt x="62" y="1718"/>
                  <a:pt x="69" y="1714"/>
                </a:cubicBezTo>
                <a:cubicBezTo>
                  <a:pt x="75" y="1711"/>
                  <a:pt x="79" y="1706"/>
                  <a:pt x="80" y="1699"/>
                </a:cubicBezTo>
                <a:cubicBezTo>
                  <a:pt x="80" y="1697"/>
                  <a:pt x="79" y="1694"/>
                  <a:pt x="78" y="1689"/>
                </a:cubicBezTo>
                <a:cubicBezTo>
                  <a:pt x="77" y="1684"/>
                  <a:pt x="76" y="1681"/>
                  <a:pt x="77" y="1679"/>
                </a:cubicBezTo>
                <a:cubicBezTo>
                  <a:pt x="77" y="1675"/>
                  <a:pt x="83" y="1672"/>
                  <a:pt x="96" y="1672"/>
                </a:cubicBezTo>
                <a:cubicBezTo>
                  <a:pt x="100" y="1672"/>
                  <a:pt x="106" y="1669"/>
                  <a:pt x="113" y="1661"/>
                </a:cubicBezTo>
                <a:cubicBezTo>
                  <a:pt x="119" y="1656"/>
                  <a:pt x="125" y="1650"/>
                  <a:pt x="131" y="1645"/>
                </a:cubicBezTo>
                <a:cubicBezTo>
                  <a:pt x="135" y="1641"/>
                  <a:pt x="137" y="1635"/>
                  <a:pt x="138" y="1627"/>
                </a:cubicBezTo>
                <a:cubicBezTo>
                  <a:pt x="138" y="1616"/>
                  <a:pt x="138" y="1609"/>
                  <a:pt x="138" y="1604"/>
                </a:cubicBezTo>
                <a:cubicBezTo>
                  <a:pt x="139" y="1599"/>
                  <a:pt x="141" y="1595"/>
                  <a:pt x="145" y="1592"/>
                </a:cubicBezTo>
                <a:cubicBezTo>
                  <a:pt x="149" y="1588"/>
                  <a:pt x="151" y="1582"/>
                  <a:pt x="152" y="1574"/>
                </a:cubicBezTo>
                <a:cubicBezTo>
                  <a:pt x="152" y="1570"/>
                  <a:pt x="151" y="1561"/>
                  <a:pt x="147" y="1548"/>
                </a:cubicBezTo>
                <a:cubicBezTo>
                  <a:pt x="143" y="1535"/>
                  <a:pt x="140" y="1527"/>
                  <a:pt x="138" y="1524"/>
                </a:cubicBezTo>
                <a:cubicBezTo>
                  <a:pt x="133" y="1518"/>
                  <a:pt x="130" y="1511"/>
                  <a:pt x="128" y="1503"/>
                </a:cubicBezTo>
                <a:cubicBezTo>
                  <a:pt x="128" y="1501"/>
                  <a:pt x="127" y="1496"/>
                  <a:pt x="127" y="1489"/>
                </a:cubicBezTo>
                <a:cubicBezTo>
                  <a:pt x="127" y="1482"/>
                  <a:pt x="127" y="1478"/>
                  <a:pt x="127" y="1476"/>
                </a:cubicBezTo>
                <a:cubicBezTo>
                  <a:pt x="127" y="1473"/>
                  <a:pt x="134" y="1470"/>
                  <a:pt x="146" y="1469"/>
                </a:cubicBezTo>
                <a:cubicBezTo>
                  <a:pt x="155" y="1468"/>
                  <a:pt x="162" y="1468"/>
                  <a:pt x="167" y="1468"/>
                </a:cubicBezTo>
                <a:cubicBezTo>
                  <a:pt x="169" y="1457"/>
                  <a:pt x="173" y="1447"/>
                  <a:pt x="178" y="1438"/>
                </a:cubicBezTo>
                <a:cubicBezTo>
                  <a:pt x="180" y="1435"/>
                  <a:pt x="181" y="1429"/>
                  <a:pt x="183" y="1422"/>
                </a:cubicBezTo>
                <a:cubicBezTo>
                  <a:pt x="184" y="1417"/>
                  <a:pt x="185" y="1414"/>
                  <a:pt x="186" y="1411"/>
                </a:cubicBezTo>
                <a:cubicBezTo>
                  <a:pt x="182" y="1404"/>
                  <a:pt x="179" y="1398"/>
                  <a:pt x="176" y="1393"/>
                </a:cubicBezTo>
                <a:cubicBezTo>
                  <a:pt x="174" y="1388"/>
                  <a:pt x="172" y="1384"/>
                  <a:pt x="170" y="1382"/>
                </a:cubicBezTo>
                <a:cubicBezTo>
                  <a:pt x="167" y="1376"/>
                  <a:pt x="165" y="1374"/>
                  <a:pt x="162" y="1373"/>
                </a:cubicBezTo>
                <a:cubicBezTo>
                  <a:pt x="156" y="1372"/>
                  <a:pt x="153" y="1372"/>
                  <a:pt x="150" y="1371"/>
                </a:cubicBezTo>
                <a:cubicBezTo>
                  <a:pt x="146" y="1370"/>
                  <a:pt x="143" y="1369"/>
                  <a:pt x="141" y="1365"/>
                </a:cubicBezTo>
                <a:cubicBezTo>
                  <a:pt x="139" y="1362"/>
                  <a:pt x="137" y="1359"/>
                  <a:pt x="135" y="1356"/>
                </a:cubicBezTo>
                <a:cubicBezTo>
                  <a:pt x="132" y="1350"/>
                  <a:pt x="130" y="1346"/>
                  <a:pt x="130" y="1344"/>
                </a:cubicBezTo>
                <a:cubicBezTo>
                  <a:pt x="136" y="1319"/>
                  <a:pt x="138" y="1305"/>
                  <a:pt x="138" y="1304"/>
                </a:cubicBezTo>
                <a:cubicBezTo>
                  <a:pt x="144" y="1282"/>
                  <a:pt x="147" y="1268"/>
                  <a:pt x="148" y="1263"/>
                </a:cubicBezTo>
                <a:cubicBezTo>
                  <a:pt x="147" y="1256"/>
                  <a:pt x="147" y="1251"/>
                  <a:pt x="147" y="1247"/>
                </a:cubicBezTo>
                <a:cubicBezTo>
                  <a:pt x="148" y="1239"/>
                  <a:pt x="146" y="1228"/>
                  <a:pt x="141" y="1213"/>
                </a:cubicBezTo>
                <a:cubicBezTo>
                  <a:pt x="136" y="1197"/>
                  <a:pt x="133" y="1188"/>
                  <a:pt x="134" y="1186"/>
                </a:cubicBezTo>
                <a:cubicBezTo>
                  <a:pt x="137" y="1174"/>
                  <a:pt x="139" y="1165"/>
                  <a:pt x="139" y="1161"/>
                </a:cubicBezTo>
                <a:cubicBezTo>
                  <a:pt x="139" y="1157"/>
                  <a:pt x="139" y="1152"/>
                  <a:pt x="137" y="1146"/>
                </a:cubicBezTo>
                <a:cubicBezTo>
                  <a:pt x="136" y="1141"/>
                  <a:pt x="135" y="1134"/>
                  <a:pt x="136" y="1126"/>
                </a:cubicBezTo>
                <a:cubicBezTo>
                  <a:pt x="142" y="1116"/>
                  <a:pt x="147" y="1109"/>
                  <a:pt x="149" y="1104"/>
                </a:cubicBezTo>
                <a:cubicBezTo>
                  <a:pt x="147" y="1100"/>
                  <a:pt x="144" y="1095"/>
                  <a:pt x="141" y="1088"/>
                </a:cubicBezTo>
                <a:cubicBezTo>
                  <a:pt x="134" y="1075"/>
                  <a:pt x="131" y="1065"/>
                  <a:pt x="132" y="1060"/>
                </a:cubicBezTo>
                <a:cubicBezTo>
                  <a:pt x="132" y="1057"/>
                  <a:pt x="136" y="1050"/>
                  <a:pt x="143" y="1040"/>
                </a:cubicBezTo>
                <a:cubicBezTo>
                  <a:pt x="150" y="1031"/>
                  <a:pt x="153" y="1023"/>
                  <a:pt x="154" y="1016"/>
                </a:cubicBezTo>
                <a:cubicBezTo>
                  <a:pt x="154" y="1014"/>
                  <a:pt x="154" y="1012"/>
                  <a:pt x="153" y="1008"/>
                </a:cubicBezTo>
                <a:cubicBezTo>
                  <a:pt x="152" y="1005"/>
                  <a:pt x="151" y="1002"/>
                  <a:pt x="152" y="1000"/>
                </a:cubicBezTo>
                <a:cubicBezTo>
                  <a:pt x="172" y="977"/>
                  <a:pt x="185" y="962"/>
                  <a:pt x="190" y="955"/>
                </a:cubicBezTo>
                <a:cubicBezTo>
                  <a:pt x="207" y="928"/>
                  <a:pt x="224" y="916"/>
                  <a:pt x="239" y="917"/>
                </a:cubicBezTo>
                <a:cubicBezTo>
                  <a:pt x="242" y="918"/>
                  <a:pt x="249" y="920"/>
                  <a:pt x="260" y="924"/>
                </a:cubicBezTo>
                <a:cubicBezTo>
                  <a:pt x="271" y="928"/>
                  <a:pt x="282" y="931"/>
                  <a:pt x="292" y="932"/>
                </a:cubicBezTo>
                <a:cubicBezTo>
                  <a:pt x="296" y="933"/>
                  <a:pt x="299" y="932"/>
                  <a:pt x="301" y="929"/>
                </a:cubicBezTo>
                <a:cubicBezTo>
                  <a:pt x="302" y="927"/>
                  <a:pt x="303" y="924"/>
                  <a:pt x="305" y="920"/>
                </a:cubicBezTo>
                <a:cubicBezTo>
                  <a:pt x="314" y="913"/>
                  <a:pt x="318" y="908"/>
                  <a:pt x="319" y="904"/>
                </a:cubicBezTo>
                <a:cubicBezTo>
                  <a:pt x="317" y="889"/>
                  <a:pt x="317" y="881"/>
                  <a:pt x="317" y="878"/>
                </a:cubicBezTo>
                <a:cubicBezTo>
                  <a:pt x="318" y="867"/>
                  <a:pt x="316" y="859"/>
                  <a:pt x="310" y="854"/>
                </a:cubicBezTo>
                <a:cubicBezTo>
                  <a:pt x="308" y="852"/>
                  <a:pt x="305" y="850"/>
                  <a:pt x="300" y="848"/>
                </a:cubicBezTo>
                <a:cubicBezTo>
                  <a:pt x="294" y="845"/>
                  <a:pt x="291" y="843"/>
                  <a:pt x="290" y="842"/>
                </a:cubicBezTo>
                <a:cubicBezTo>
                  <a:pt x="281" y="837"/>
                  <a:pt x="278" y="830"/>
                  <a:pt x="279" y="822"/>
                </a:cubicBezTo>
                <a:cubicBezTo>
                  <a:pt x="279" y="822"/>
                  <a:pt x="279" y="821"/>
                  <a:pt x="279" y="821"/>
                </a:cubicBezTo>
                <a:cubicBezTo>
                  <a:pt x="283" y="816"/>
                  <a:pt x="289" y="807"/>
                  <a:pt x="297" y="794"/>
                </a:cubicBezTo>
                <a:cubicBezTo>
                  <a:pt x="305" y="780"/>
                  <a:pt x="312" y="770"/>
                  <a:pt x="316" y="764"/>
                </a:cubicBezTo>
                <a:cubicBezTo>
                  <a:pt x="326" y="752"/>
                  <a:pt x="332" y="741"/>
                  <a:pt x="335" y="731"/>
                </a:cubicBezTo>
                <a:cubicBezTo>
                  <a:pt x="338" y="723"/>
                  <a:pt x="342" y="716"/>
                  <a:pt x="346" y="712"/>
                </a:cubicBezTo>
                <a:cubicBezTo>
                  <a:pt x="349" y="709"/>
                  <a:pt x="351" y="704"/>
                  <a:pt x="352" y="697"/>
                </a:cubicBezTo>
                <a:cubicBezTo>
                  <a:pt x="353" y="692"/>
                  <a:pt x="353" y="683"/>
                  <a:pt x="352" y="672"/>
                </a:cubicBezTo>
                <a:cubicBezTo>
                  <a:pt x="351" y="660"/>
                  <a:pt x="351" y="652"/>
                  <a:pt x="352" y="646"/>
                </a:cubicBezTo>
                <a:cubicBezTo>
                  <a:pt x="352" y="641"/>
                  <a:pt x="356" y="628"/>
                  <a:pt x="364" y="607"/>
                </a:cubicBezTo>
                <a:cubicBezTo>
                  <a:pt x="364" y="606"/>
                  <a:pt x="363" y="598"/>
                  <a:pt x="360" y="586"/>
                </a:cubicBezTo>
                <a:cubicBezTo>
                  <a:pt x="358" y="573"/>
                  <a:pt x="356" y="564"/>
                  <a:pt x="357" y="558"/>
                </a:cubicBezTo>
                <a:cubicBezTo>
                  <a:pt x="358" y="550"/>
                  <a:pt x="363" y="547"/>
                  <a:pt x="372" y="547"/>
                </a:cubicBezTo>
                <a:cubicBezTo>
                  <a:pt x="374" y="547"/>
                  <a:pt x="378" y="548"/>
                  <a:pt x="384" y="548"/>
                </a:cubicBezTo>
                <a:cubicBezTo>
                  <a:pt x="388" y="548"/>
                  <a:pt x="392" y="548"/>
                  <a:pt x="395" y="547"/>
                </a:cubicBezTo>
                <a:cubicBezTo>
                  <a:pt x="399" y="545"/>
                  <a:pt x="405" y="542"/>
                  <a:pt x="413" y="536"/>
                </a:cubicBezTo>
                <a:cubicBezTo>
                  <a:pt x="423" y="530"/>
                  <a:pt x="428" y="525"/>
                  <a:pt x="428" y="522"/>
                </a:cubicBezTo>
                <a:cubicBezTo>
                  <a:pt x="428" y="521"/>
                  <a:pt x="428" y="517"/>
                  <a:pt x="426" y="510"/>
                </a:cubicBezTo>
                <a:cubicBezTo>
                  <a:pt x="425" y="503"/>
                  <a:pt x="424" y="497"/>
                  <a:pt x="424" y="493"/>
                </a:cubicBezTo>
                <a:cubicBezTo>
                  <a:pt x="425" y="488"/>
                  <a:pt x="431" y="477"/>
                  <a:pt x="443" y="459"/>
                </a:cubicBezTo>
                <a:cubicBezTo>
                  <a:pt x="456" y="440"/>
                  <a:pt x="463" y="429"/>
                  <a:pt x="464" y="424"/>
                </a:cubicBezTo>
                <a:cubicBezTo>
                  <a:pt x="468" y="415"/>
                  <a:pt x="472" y="408"/>
                  <a:pt x="477" y="402"/>
                </a:cubicBezTo>
                <a:cubicBezTo>
                  <a:pt x="479" y="400"/>
                  <a:pt x="483" y="396"/>
                  <a:pt x="488" y="393"/>
                </a:cubicBezTo>
                <a:cubicBezTo>
                  <a:pt x="493" y="389"/>
                  <a:pt x="496" y="386"/>
                  <a:pt x="498" y="383"/>
                </a:cubicBezTo>
                <a:cubicBezTo>
                  <a:pt x="501" y="378"/>
                  <a:pt x="503" y="371"/>
                  <a:pt x="504" y="362"/>
                </a:cubicBezTo>
                <a:cubicBezTo>
                  <a:pt x="505" y="351"/>
                  <a:pt x="501" y="341"/>
                  <a:pt x="493" y="329"/>
                </a:cubicBezTo>
                <a:cubicBezTo>
                  <a:pt x="488" y="323"/>
                  <a:pt x="485" y="319"/>
                  <a:pt x="484" y="317"/>
                </a:cubicBezTo>
                <a:cubicBezTo>
                  <a:pt x="481" y="313"/>
                  <a:pt x="480" y="309"/>
                  <a:pt x="481" y="306"/>
                </a:cubicBezTo>
                <a:cubicBezTo>
                  <a:pt x="481" y="300"/>
                  <a:pt x="485" y="297"/>
                  <a:pt x="492" y="294"/>
                </a:cubicBezTo>
                <a:cubicBezTo>
                  <a:pt x="500" y="291"/>
                  <a:pt x="505" y="288"/>
                  <a:pt x="507" y="284"/>
                </a:cubicBezTo>
                <a:cubicBezTo>
                  <a:pt x="511" y="275"/>
                  <a:pt x="516" y="262"/>
                  <a:pt x="520" y="243"/>
                </a:cubicBezTo>
                <a:cubicBezTo>
                  <a:pt x="524" y="226"/>
                  <a:pt x="530" y="214"/>
                  <a:pt x="538" y="206"/>
                </a:cubicBezTo>
                <a:cubicBezTo>
                  <a:pt x="541" y="204"/>
                  <a:pt x="545" y="201"/>
                  <a:pt x="551" y="197"/>
                </a:cubicBezTo>
                <a:cubicBezTo>
                  <a:pt x="555" y="195"/>
                  <a:pt x="559" y="193"/>
                  <a:pt x="561" y="191"/>
                </a:cubicBezTo>
                <a:cubicBezTo>
                  <a:pt x="562" y="191"/>
                  <a:pt x="562" y="191"/>
                  <a:pt x="562" y="191"/>
                </a:cubicBezTo>
                <a:cubicBezTo>
                  <a:pt x="563" y="191"/>
                  <a:pt x="568" y="190"/>
                  <a:pt x="576" y="190"/>
                </a:cubicBezTo>
                <a:cubicBezTo>
                  <a:pt x="583" y="190"/>
                  <a:pt x="590" y="194"/>
                  <a:pt x="598" y="199"/>
                </a:cubicBezTo>
                <a:cubicBezTo>
                  <a:pt x="601" y="202"/>
                  <a:pt x="605" y="205"/>
                  <a:pt x="608" y="208"/>
                </a:cubicBezTo>
                <a:cubicBezTo>
                  <a:pt x="609" y="208"/>
                  <a:pt x="609" y="208"/>
                  <a:pt x="610" y="208"/>
                </a:cubicBezTo>
                <a:cubicBezTo>
                  <a:pt x="611" y="198"/>
                  <a:pt x="617" y="184"/>
                  <a:pt x="627" y="168"/>
                </a:cubicBezTo>
                <a:cubicBezTo>
                  <a:pt x="628" y="163"/>
                  <a:pt x="626" y="156"/>
                  <a:pt x="623" y="147"/>
                </a:cubicBezTo>
                <a:cubicBezTo>
                  <a:pt x="620" y="138"/>
                  <a:pt x="619" y="128"/>
                  <a:pt x="621" y="116"/>
                </a:cubicBezTo>
                <a:cubicBezTo>
                  <a:pt x="621" y="107"/>
                  <a:pt x="623" y="102"/>
                  <a:pt x="626" y="101"/>
                </a:cubicBezTo>
                <a:lnTo>
                  <a:pt x="641" y="93"/>
                </a:lnTo>
                <a:cubicBezTo>
                  <a:pt x="644" y="93"/>
                  <a:pt x="647" y="96"/>
                  <a:pt x="650" y="101"/>
                </a:cubicBezTo>
                <a:cubicBezTo>
                  <a:pt x="653" y="106"/>
                  <a:pt x="657" y="109"/>
                  <a:pt x="661" y="109"/>
                </a:cubicBezTo>
                <a:cubicBezTo>
                  <a:pt x="664" y="109"/>
                  <a:pt x="667" y="109"/>
                  <a:pt x="671" y="108"/>
                </a:cubicBezTo>
                <a:cubicBezTo>
                  <a:pt x="674" y="107"/>
                  <a:pt x="676" y="106"/>
                  <a:pt x="676" y="106"/>
                </a:cubicBezTo>
                <a:cubicBezTo>
                  <a:pt x="678" y="107"/>
                  <a:pt x="689" y="111"/>
                  <a:pt x="709" y="118"/>
                </a:cubicBezTo>
                <a:cubicBezTo>
                  <a:pt x="730" y="126"/>
                  <a:pt x="743" y="131"/>
                  <a:pt x="748" y="132"/>
                </a:cubicBezTo>
                <a:cubicBezTo>
                  <a:pt x="749" y="130"/>
                  <a:pt x="752" y="127"/>
                  <a:pt x="757" y="121"/>
                </a:cubicBezTo>
                <a:cubicBezTo>
                  <a:pt x="761" y="116"/>
                  <a:pt x="763" y="112"/>
                  <a:pt x="763" y="110"/>
                </a:cubicBezTo>
                <a:cubicBezTo>
                  <a:pt x="763" y="108"/>
                  <a:pt x="761" y="106"/>
                  <a:pt x="757" y="104"/>
                </a:cubicBezTo>
                <a:cubicBezTo>
                  <a:pt x="753" y="102"/>
                  <a:pt x="751" y="100"/>
                  <a:pt x="751" y="98"/>
                </a:cubicBezTo>
                <a:cubicBezTo>
                  <a:pt x="752" y="95"/>
                  <a:pt x="756" y="89"/>
                  <a:pt x="764" y="81"/>
                </a:cubicBezTo>
                <a:cubicBezTo>
                  <a:pt x="766" y="77"/>
                  <a:pt x="767" y="68"/>
                  <a:pt x="769" y="55"/>
                </a:cubicBezTo>
                <a:cubicBezTo>
                  <a:pt x="770" y="49"/>
                  <a:pt x="770" y="45"/>
                  <a:pt x="770" y="44"/>
                </a:cubicBezTo>
                <a:cubicBezTo>
                  <a:pt x="770" y="42"/>
                  <a:pt x="769" y="37"/>
                  <a:pt x="768" y="28"/>
                </a:cubicBezTo>
                <a:cubicBezTo>
                  <a:pt x="768" y="24"/>
                  <a:pt x="766" y="20"/>
                  <a:pt x="762" y="14"/>
                </a:cubicBezTo>
                <a:cubicBezTo>
                  <a:pt x="758" y="9"/>
                  <a:pt x="756" y="7"/>
                  <a:pt x="756" y="7"/>
                </a:cubicBezTo>
                <a:lnTo>
                  <a:pt x="756" y="5"/>
                </a:lnTo>
                <a:cubicBezTo>
                  <a:pt x="761" y="5"/>
                  <a:pt x="769" y="4"/>
                  <a:pt x="781" y="3"/>
                </a:cubicBezTo>
                <a:cubicBezTo>
                  <a:pt x="783" y="3"/>
                  <a:pt x="785" y="2"/>
                  <a:pt x="787" y="0"/>
                </a:cubicBezTo>
                <a:cubicBezTo>
                  <a:pt x="790" y="1"/>
                  <a:pt x="794" y="3"/>
                  <a:pt x="800" y="5"/>
                </a:cubicBezTo>
                <a:cubicBezTo>
                  <a:pt x="806" y="7"/>
                  <a:pt x="810" y="10"/>
                  <a:pt x="810" y="15"/>
                </a:cubicBezTo>
                <a:cubicBezTo>
                  <a:pt x="811" y="21"/>
                  <a:pt x="813" y="26"/>
                  <a:pt x="817" y="30"/>
                </a:cubicBezTo>
                <a:cubicBezTo>
                  <a:pt x="819" y="31"/>
                  <a:pt x="823" y="34"/>
                  <a:pt x="828" y="36"/>
                </a:cubicBezTo>
                <a:cubicBezTo>
                  <a:pt x="835" y="41"/>
                  <a:pt x="840" y="49"/>
                  <a:pt x="844" y="61"/>
                </a:cubicBezTo>
                <a:cubicBezTo>
                  <a:pt x="844" y="63"/>
                  <a:pt x="846" y="64"/>
                  <a:pt x="849" y="65"/>
                </a:cubicBezTo>
                <a:cubicBezTo>
                  <a:pt x="851" y="66"/>
                  <a:pt x="854" y="67"/>
                  <a:pt x="858" y="68"/>
                </a:cubicBezTo>
                <a:cubicBezTo>
                  <a:pt x="865" y="71"/>
                  <a:pt x="867" y="75"/>
                  <a:pt x="864" y="82"/>
                </a:cubicBezTo>
                <a:lnTo>
                  <a:pt x="864" y="82"/>
                </a:lnTo>
                <a:close/>
                <a:moveTo>
                  <a:pt x="862" y="911"/>
                </a:moveTo>
                <a:lnTo>
                  <a:pt x="862" y="911"/>
                </a:lnTo>
                <a:cubicBezTo>
                  <a:pt x="861" y="911"/>
                  <a:pt x="861" y="912"/>
                  <a:pt x="860" y="912"/>
                </a:cubicBezTo>
                <a:cubicBezTo>
                  <a:pt x="860" y="912"/>
                  <a:pt x="861" y="912"/>
                  <a:pt x="861" y="912"/>
                </a:cubicBezTo>
                <a:cubicBezTo>
                  <a:pt x="861" y="912"/>
                  <a:pt x="861" y="911"/>
                  <a:pt x="862" y="911"/>
                </a:cubicBezTo>
                <a:lnTo>
                  <a:pt x="862" y="91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" name="Freeform 206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" name="Freeform 207"/>
          <p:cNvSpPr/>
          <p:nvPr/>
        </p:nvSpPr>
        <p:spPr bwMode="auto">
          <a:xfrm>
            <a:off x="7050580" y="5607545"/>
            <a:ext cx="1747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0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" name="Freeform 208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607 w 1742"/>
              <a:gd name="T3" fmla="*/ 1087 h 1449"/>
              <a:gd name="T4" fmla="*/ 1581 w 1742"/>
              <a:gd name="T5" fmla="*/ 1064 h 1449"/>
              <a:gd name="T6" fmla="*/ 1482 w 1742"/>
              <a:gd name="T7" fmla="*/ 1118 h 1449"/>
              <a:gd name="T8" fmla="*/ 1516 w 1742"/>
              <a:gd name="T9" fmla="*/ 1141 h 1449"/>
              <a:gd name="T10" fmla="*/ 1601 w 1742"/>
              <a:gd name="T11" fmla="*/ 1126 h 1449"/>
              <a:gd name="T12" fmla="*/ 1729 w 1742"/>
              <a:gd name="T13" fmla="*/ 1064 h 1449"/>
              <a:gd name="T14" fmla="*/ 1678 w 1742"/>
              <a:gd name="T15" fmla="*/ 1055 h 1449"/>
              <a:gd name="T16" fmla="*/ 1683 w 1742"/>
              <a:gd name="T17" fmla="*/ 627 h 1449"/>
              <a:gd name="T18" fmla="*/ 1599 w 1742"/>
              <a:gd name="T19" fmla="*/ 609 h 1449"/>
              <a:gd name="T20" fmla="*/ 1501 w 1742"/>
              <a:gd name="T21" fmla="*/ 565 h 1449"/>
              <a:gd name="T22" fmla="*/ 1443 w 1742"/>
              <a:gd name="T23" fmla="*/ 515 h 1449"/>
              <a:gd name="T24" fmla="*/ 1365 w 1742"/>
              <a:gd name="T25" fmla="*/ 469 h 1449"/>
              <a:gd name="T26" fmla="*/ 1319 w 1742"/>
              <a:gd name="T27" fmla="*/ 482 h 1449"/>
              <a:gd name="T28" fmla="*/ 1231 w 1742"/>
              <a:gd name="T29" fmla="*/ 446 h 1449"/>
              <a:gd name="T30" fmla="*/ 1134 w 1742"/>
              <a:gd name="T31" fmla="*/ 374 h 1449"/>
              <a:gd name="T32" fmla="*/ 1086 w 1742"/>
              <a:gd name="T33" fmla="*/ 321 h 1449"/>
              <a:gd name="T34" fmla="*/ 1011 w 1742"/>
              <a:gd name="T35" fmla="*/ 295 h 1449"/>
              <a:gd name="T36" fmla="*/ 907 w 1742"/>
              <a:gd name="T37" fmla="*/ 260 h 1449"/>
              <a:gd name="T38" fmla="*/ 791 w 1742"/>
              <a:gd name="T39" fmla="*/ 215 h 1449"/>
              <a:gd name="T40" fmla="*/ 623 w 1742"/>
              <a:gd name="T41" fmla="*/ 138 h 1449"/>
              <a:gd name="T42" fmla="*/ 460 w 1742"/>
              <a:gd name="T43" fmla="*/ 80 h 1449"/>
              <a:gd name="T44" fmla="*/ 379 w 1742"/>
              <a:gd name="T45" fmla="*/ 23 h 1449"/>
              <a:gd name="T46" fmla="*/ 336 w 1742"/>
              <a:gd name="T47" fmla="*/ 2 h 1449"/>
              <a:gd name="T48" fmla="*/ 273 w 1742"/>
              <a:gd name="T49" fmla="*/ 49 h 1449"/>
              <a:gd name="T50" fmla="*/ 235 w 1742"/>
              <a:gd name="T51" fmla="*/ 44 h 1449"/>
              <a:gd name="T52" fmla="*/ 133 w 1742"/>
              <a:gd name="T53" fmla="*/ 43 h 1449"/>
              <a:gd name="T54" fmla="*/ 127 w 1742"/>
              <a:gd name="T55" fmla="*/ 78 h 1449"/>
              <a:gd name="T56" fmla="*/ 121 w 1742"/>
              <a:gd name="T57" fmla="*/ 141 h 1449"/>
              <a:gd name="T58" fmla="*/ 165 w 1742"/>
              <a:gd name="T59" fmla="*/ 142 h 1449"/>
              <a:gd name="T60" fmla="*/ 154 w 1742"/>
              <a:gd name="T61" fmla="*/ 189 h 1449"/>
              <a:gd name="T62" fmla="*/ 156 w 1742"/>
              <a:gd name="T63" fmla="*/ 208 h 1449"/>
              <a:gd name="T64" fmla="*/ 132 w 1742"/>
              <a:gd name="T65" fmla="*/ 261 h 1449"/>
              <a:gd name="T66" fmla="*/ 194 w 1742"/>
              <a:gd name="T67" fmla="*/ 289 h 1449"/>
              <a:gd name="T68" fmla="*/ 279 w 1742"/>
              <a:gd name="T69" fmla="*/ 351 h 1449"/>
              <a:gd name="T70" fmla="*/ 382 w 1742"/>
              <a:gd name="T71" fmla="*/ 398 h 1449"/>
              <a:gd name="T72" fmla="*/ 325 w 1742"/>
              <a:gd name="T73" fmla="*/ 496 h 1449"/>
              <a:gd name="T74" fmla="*/ 270 w 1742"/>
              <a:gd name="T75" fmla="*/ 620 h 1449"/>
              <a:gd name="T76" fmla="*/ 219 w 1742"/>
              <a:gd name="T77" fmla="*/ 711 h 1449"/>
              <a:gd name="T78" fmla="*/ 169 w 1742"/>
              <a:gd name="T79" fmla="*/ 852 h 1449"/>
              <a:gd name="T80" fmla="*/ 115 w 1742"/>
              <a:gd name="T81" fmla="*/ 988 h 1449"/>
              <a:gd name="T82" fmla="*/ 58 w 1742"/>
              <a:gd name="T83" fmla="*/ 1031 h 1449"/>
              <a:gd name="T84" fmla="*/ 1 w 1742"/>
              <a:gd name="T85" fmla="*/ 1135 h 1449"/>
              <a:gd name="T86" fmla="*/ 71 w 1742"/>
              <a:gd name="T87" fmla="*/ 1159 h 1449"/>
              <a:gd name="T88" fmla="*/ 124 w 1742"/>
              <a:gd name="T89" fmla="*/ 1259 h 1449"/>
              <a:gd name="T90" fmla="*/ 155 w 1742"/>
              <a:gd name="T91" fmla="*/ 1400 h 1449"/>
              <a:gd name="T92" fmla="*/ 240 w 1742"/>
              <a:gd name="T93" fmla="*/ 1411 h 1449"/>
              <a:gd name="T94" fmla="*/ 398 w 1742"/>
              <a:gd name="T95" fmla="*/ 1368 h 1449"/>
              <a:gd name="T96" fmla="*/ 503 w 1742"/>
              <a:gd name="T97" fmla="*/ 1390 h 1449"/>
              <a:gd name="T98" fmla="*/ 653 w 1742"/>
              <a:gd name="T99" fmla="*/ 1431 h 1449"/>
              <a:gd name="T100" fmla="*/ 786 w 1742"/>
              <a:gd name="T101" fmla="*/ 1383 h 1449"/>
              <a:gd name="T102" fmla="*/ 899 w 1742"/>
              <a:gd name="T103" fmla="*/ 1343 h 1449"/>
              <a:gd name="T104" fmla="*/ 952 w 1742"/>
              <a:gd name="T105" fmla="*/ 1337 h 1449"/>
              <a:gd name="T106" fmla="*/ 1033 w 1742"/>
              <a:gd name="T107" fmla="*/ 1228 h 1449"/>
              <a:gd name="T108" fmla="*/ 1106 w 1742"/>
              <a:gd name="T109" fmla="*/ 1194 h 1449"/>
              <a:gd name="T110" fmla="*/ 1091 w 1742"/>
              <a:gd name="T111" fmla="*/ 1090 h 1449"/>
              <a:gd name="T112" fmla="*/ 1242 w 1742"/>
              <a:gd name="T113" fmla="*/ 881 h 1449"/>
              <a:gd name="T114" fmla="*/ 1285 w 1742"/>
              <a:gd name="T115" fmla="*/ 835 h 1449"/>
              <a:gd name="T116" fmla="*/ 1503 w 1742"/>
              <a:gd name="T117" fmla="*/ 775 h 1449"/>
              <a:gd name="T118" fmla="*/ 1663 w 1742"/>
              <a:gd name="T119" fmla="*/ 681 h 1449"/>
              <a:gd name="T120" fmla="*/ 1683 w 1742"/>
              <a:gd name="T121" fmla="*/ 627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" name="Freeform 209"/>
          <p:cNvSpPr>
            <a:spLocks noEditPoints="1"/>
          </p:cNvSpPr>
          <p:nvPr/>
        </p:nvSpPr>
        <p:spPr bwMode="auto">
          <a:xfrm>
            <a:off x="5787595" y="4652010"/>
            <a:ext cx="1820235" cy="1516280"/>
          </a:xfrm>
          <a:custGeom>
            <a:avLst/>
            <a:gdLst>
              <a:gd name="T0" fmla="*/ 1287 w 1742"/>
              <a:gd name="T1" fmla="*/ 1190 h 1449"/>
              <a:gd name="T2" fmla="*/ 1342 w 1742"/>
              <a:gd name="T3" fmla="*/ 1166 h 1449"/>
              <a:gd name="T4" fmla="*/ 1583 w 1742"/>
              <a:gd name="T5" fmla="*/ 1066 h 1449"/>
              <a:gd name="T6" fmla="*/ 1480 w 1742"/>
              <a:gd name="T7" fmla="*/ 1118 h 1449"/>
              <a:gd name="T8" fmla="*/ 1511 w 1742"/>
              <a:gd name="T9" fmla="*/ 1127 h 1449"/>
              <a:gd name="T10" fmla="*/ 1593 w 1742"/>
              <a:gd name="T11" fmla="*/ 1131 h 1449"/>
              <a:gd name="T12" fmla="*/ 1737 w 1742"/>
              <a:gd name="T13" fmla="*/ 1076 h 1449"/>
              <a:gd name="T14" fmla="*/ 1680 w 1742"/>
              <a:gd name="T15" fmla="*/ 1050 h 1449"/>
              <a:gd name="T16" fmla="*/ 1737 w 1742"/>
              <a:gd name="T17" fmla="*/ 1076 h 1449"/>
              <a:gd name="T18" fmla="*/ 1635 w 1742"/>
              <a:gd name="T19" fmla="*/ 600 h 1449"/>
              <a:gd name="T20" fmla="*/ 1524 w 1742"/>
              <a:gd name="T21" fmla="*/ 589 h 1449"/>
              <a:gd name="T22" fmla="*/ 1455 w 1742"/>
              <a:gd name="T23" fmla="*/ 552 h 1449"/>
              <a:gd name="T24" fmla="*/ 1408 w 1742"/>
              <a:gd name="T25" fmla="*/ 491 h 1449"/>
              <a:gd name="T26" fmla="*/ 1338 w 1742"/>
              <a:gd name="T27" fmla="*/ 488 h 1449"/>
              <a:gd name="T28" fmla="*/ 1246 w 1742"/>
              <a:gd name="T29" fmla="*/ 448 h 1449"/>
              <a:gd name="T30" fmla="*/ 1169 w 1742"/>
              <a:gd name="T31" fmla="*/ 403 h 1449"/>
              <a:gd name="T32" fmla="*/ 1107 w 1742"/>
              <a:gd name="T33" fmla="*/ 352 h 1449"/>
              <a:gd name="T34" fmla="*/ 1066 w 1742"/>
              <a:gd name="T35" fmla="*/ 299 h 1449"/>
              <a:gd name="T36" fmla="*/ 948 w 1742"/>
              <a:gd name="T37" fmla="*/ 252 h 1449"/>
              <a:gd name="T38" fmla="*/ 821 w 1742"/>
              <a:gd name="T39" fmla="*/ 210 h 1449"/>
              <a:gd name="T40" fmla="*/ 733 w 1742"/>
              <a:gd name="T41" fmla="*/ 195 h 1449"/>
              <a:gd name="T42" fmla="*/ 554 w 1742"/>
              <a:gd name="T43" fmla="*/ 106 h 1449"/>
              <a:gd name="T44" fmla="*/ 415 w 1742"/>
              <a:gd name="T45" fmla="*/ 65 h 1449"/>
              <a:gd name="T46" fmla="*/ 341 w 1742"/>
              <a:gd name="T47" fmla="*/ 8 h 1449"/>
              <a:gd name="T48" fmla="*/ 269 w 1742"/>
              <a:gd name="T49" fmla="*/ 35 h 1449"/>
              <a:gd name="T50" fmla="*/ 248 w 1742"/>
              <a:gd name="T51" fmla="*/ 50 h 1449"/>
              <a:gd name="T52" fmla="*/ 171 w 1742"/>
              <a:gd name="T53" fmla="*/ 41 h 1449"/>
              <a:gd name="T54" fmla="*/ 112 w 1742"/>
              <a:gd name="T55" fmla="*/ 81 h 1449"/>
              <a:gd name="T56" fmla="*/ 152 w 1742"/>
              <a:gd name="T57" fmla="*/ 116 h 1449"/>
              <a:gd name="T58" fmla="*/ 147 w 1742"/>
              <a:gd name="T59" fmla="*/ 140 h 1449"/>
              <a:gd name="T60" fmla="*/ 134 w 1742"/>
              <a:gd name="T61" fmla="*/ 188 h 1449"/>
              <a:gd name="T62" fmla="*/ 143 w 1742"/>
              <a:gd name="T63" fmla="*/ 210 h 1449"/>
              <a:gd name="T64" fmla="*/ 97 w 1742"/>
              <a:gd name="T65" fmla="*/ 272 h 1449"/>
              <a:gd name="T66" fmla="*/ 197 w 1742"/>
              <a:gd name="T67" fmla="*/ 260 h 1449"/>
              <a:gd name="T68" fmla="*/ 238 w 1742"/>
              <a:gd name="T69" fmla="*/ 320 h 1449"/>
              <a:gd name="T70" fmla="*/ 393 w 1742"/>
              <a:gd name="T71" fmla="*/ 365 h 1449"/>
              <a:gd name="T72" fmla="*/ 374 w 1742"/>
              <a:gd name="T73" fmla="*/ 474 h 1449"/>
              <a:gd name="T74" fmla="*/ 297 w 1742"/>
              <a:gd name="T75" fmla="*/ 539 h 1449"/>
              <a:gd name="T76" fmla="*/ 233 w 1742"/>
              <a:gd name="T77" fmla="*/ 670 h 1449"/>
              <a:gd name="T78" fmla="*/ 146 w 1742"/>
              <a:gd name="T79" fmla="*/ 769 h 1449"/>
              <a:gd name="T80" fmla="*/ 90 w 1742"/>
              <a:gd name="T81" fmla="*/ 927 h 1449"/>
              <a:gd name="T82" fmla="*/ 85 w 1742"/>
              <a:gd name="T83" fmla="*/ 1014 h 1449"/>
              <a:gd name="T84" fmla="*/ 10 w 1742"/>
              <a:gd name="T85" fmla="*/ 1089 h 1449"/>
              <a:gd name="T86" fmla="*/ 49 w 1742"/>
              <a:gd name="T87" fmla="*/ 1155 h 1449"/>
              <a:gd name="T88" fmla="*/ 111 w 1742"/>
              <a:gd name="T89" fmla="*/ 1222 h 1449"/>
              <a:gd name="T90" fmla="*/ 119 w 1742"/>
              <a:gd name="T91" fmla="*/ 1325 h 1449"/>
              <a:gd name="T92" fmla="*/ 224 w 1742"/>
              <a:gd name="T93" fmla="*/ 1411 h 1449"/>
              <a:gd name="T94" fmla="*/ 369 w 1742"/>
              <a:gd name="T95" fmla="*/ 1381 h 1449"/>
              <a:gd name="T96" fmla="*/ 454 w 1742"/>
              <a:gd name="T97" fmla="*/ 1377 h 1449"/>
              <a:gd name="T98" fmla="*/ 614 w 1742"/>
              <a:gd name="T99" fmla="*/ 1429 h 1449"/>
              <a:gd name="T100" fmla="*/ 753 w 1742"/>
              <a:gd name="T101" fmla="*/ 1432 h 1449"/>
              <a:gd name="T102" fmla="*/ 877 w 1742"/>
              <a:gd name="T103" fmla="*/ 1338 h 1449"/>
              <a:gd name="T104" fmla="*/ 964 w 1742"/>
              <a:gd name="T105" fmla="*/ 1328 h 1449"/>
              <a:gd name="T106" fmla="*/ 997 w 1742"/>
              <a:gd name="T107" fmla="*/ 1256 h 1449"/>
              <a:gd name="T108" fmla="*/ 1069 w 1742"/>
              <a:gd name="T109" fmla="*/ 1209 h 1449"/>
              <a:gd name="T110" fmla="*/ 1100 w 1742"/>
              <a:gd name="T111" fmla="*/ 1144 h 1449"/>
              <a:gd name="T112" fmla="*/ 1174 w 1742"/>
              <a:gd name="T113" fmla="*/ 943 h 1449"/>
              <a:gd name="T114" fmla="*/ 1284 w 1742"/>
              <a:gd name="T115" fmla="*/ 855 h 1449"/>
              <a:gd name="T116" fmla="*/ 1399 w 1742"/>
              <a:gd name="T117" fmla="*/ 785 h 1449"/>
              <a:gd name="T118" fmla="*/ 1639 w 1742"/>
              <a:gd name="T119" fmla="*/ 719 h 1449"/>
              <a:gd name="T120" fmla="*/ 1671 w 1742"/>
              <a:gd name="T121" fmla="*/ 643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2" h="1449">
                <a:moveTo>
                  <a:pt x="1342" y="1166"/>
                </a:moveTo>
                <a:lnTo>
                  <a:pt x="1342" y="1166"/>
                </a:lnTo>
                <a:cubicBezTo>
                  <a:pt x="1342" y="1168"/>
                  <a:pt x="1338" y="1173"/>
                  <a:pt x="1328" y="1179"/>
                </a:cubicBezTo>
                <a:cubicBezTo>
                  <a:pt x="1319" y="1185"/>
                  <a:pt x="1312" y="1188"/>
                  <a:pt x="1308" y="1188"/>
                </a:cubicBezTo>
                <a:lnTo>
                  <a:pt x="1308" y="1187"/>
                </a:lnTo>
                <a:cubicBezTo>
                  <a:pt x="1308" y="1187"/>
                  <a:pt x="1308" y="1187"/>
                  <a:pt x="1308" y="1188"/>
                </a:cubicBezTo>
                <a:lnTo>
                  <a:pt x="1308" y="1188"/>
                </a:lnTo>
                <a:cubicBezTo>
                  <a:pt x="1305" y="1196"/>
                  <a:pt x="1302" y="1200"/>
                  <a:pt x="1299" y="1200"/>
                </a:cubicBezTo>
                <a:cubicBezTo>
                  <a:pt x="1297" y="1199"/>
                  <a:pt x="1293" y="1196"/>
                  <a:pt x="1287" y="1190"/>
                </a:cubicBezTo>
                <a:cubicBezTo>
                  <a:pt x="1281" y="1184"/>
                  <a:pt x="1278" y="1180"/>
                  <a:pt x="1278" y="1177"/>
                </a:cubicBezTo>
                <a:cubicBezTo>
                  <a:pt x="1278" y="1177"/>
                  <a:pt x="1278" y="1175"/>
                  <a:pt x="1280" y="1173"/>
                </a:cubicBezTo>
                <a:cubicBezTo>
                  <a:pt x="1282" y="1171"/>
                  <a:pt x="1282" y="1170"/>
                  <a:pt x="1283" y="1170"/>
                </a:cubicBezTo>
                <a:cubicBezTo>
                  <a:pt x="1286" y="1170"/>
                  <a:pt x="1292" y="1166"/>
                  <a:pt x="1302" y="1156"/>
                </a:cubicBezTo>
                <a:cubicBezTo>
                  <a:pt x="1305" y="1153"/>
                  <a:pt x="1310" y="1152"/>
                  <a:pt x="1316" y="1153"/>
                </a:cubicBezTo>
                <a:cubicBezTo>
                  <a:pt x="1320" y="1153"/>
                  <a:pt x="1325" y="1153"/>
                  <a:pt x="1332" y="1155"/>
                </a:cubicBezTo>
                <a:cubicBezTo>
                  <a:pt x="1332" y="1155"/>
                  <a:pt x="1334" y="1157"/>
                  <a:pt x="1337" y="1160"/>
                </a:cubicBezTo>
                <a:cubicBezTo>
                  <a:pt x="1341" y="1162"/>
                  <a:pt x="1343" y="1164"/>
                  <a:pt x="1342" y="1166"/>
                </a:cubicBezTo>
                <a:lnTo>
                  <a:pt x="1342" y="1166"/>
                </a:lnTo>
                <a:close/>
                <a:moveTo>
                  <a:pt x="1607" y="1087"/>
                </a:moveTo>
                <a:lnTo>
                  <a:pt x="1607" y="1087"/>
                </a:lnTo>
                <a:cubicBezTo>
                  <a:pt x="1605" y="1087"/>
                  <a:pt x="1603" y="1088"/>
                  <a:pt x="1599" y="1088"/>
                </a:cubicBezTo>
                <a:cubicBezTo>
                  <a:pt x="1595" y="1089"/>
                  <a:pt x="1593" y="1090"/>
                  <a:pt x="1591" y="1089"/>
                </a:cubicBezTo>
                <a:cubicBezTo>
                  <a:pt x="1587" y="1089"/>
                  <a:pt x="1584" y="1087"/>
                  <a:pt x="1581" y="1083"/>
                </a:cubicBezTo>
                <a:cubicBezTo>
                  <a:pt x="1577" y="1079"/>
                  <a:pt x="1576" y="1075"/>
                  <a:pt x="1576" y="1072"/>
                </a:cubicBezTo>
                <a:cubicBezTo>
                  <a:pt x="1577" y="1070"/>
                  <a:pt x="1577" y="1069"/>
                  <a:pt x="1579" y="1069"/>
                </a:cubicBezTo>
                <a:cubicBezTo>
                  <a:pt x="1581" y="1068"/>
                  <a:pt x="1582" y="1068"/>
                  <a:pt x="1582" y="1068"/>
                </a:cubicBezTo>
                <a:cubicBezTo>
                  <a:pt x="1582" y="1067"/>
                  <a:pt x="1583" y="1067"/>
                  <a:pt x="1583" y="1066"/>
                </a:cubicBezTo>
                <a:cubicBezTo>
                  <a:pt x="1583" y="1065"/>
                  <a:pt x="1582" y="1065"/>
                  <a:pt x="1581" y="1064"/>
                </a:cubicBezTo>
                <a:cubicBezTo>
                  <a:pt x="1579" y="1064"/>
                  <a:pt x="1578" y="1063"/>
                  <a:pt x="1577" y="1062"/>
                </a:cubicBezTo>
                <a:cubicBezTo>
                  <a:pt x="1578" y="1060"/>
                  <a:pt x="1581" y="1059"/>
                  <a:pt x="1584" y="1057"/>
                </a:cubicBezTo>
                <a:cubicBezTo>
                  <a:pt x="1587" y="1056"/>
                  <a:pt x="1590" y="1053"/>
                  <a:pt x="1591" y="1050"/>
                </a:cubicBezTo>
                <a:cubicBezTo>
                  <a:pt x="1563" y="1049"/>
                  <a:pt x="1539" y="1054"/>
                  <a:pt x="1520" y="1064"/>
                </a:cubicBezTo>
                <a:cubicBezTo>
                  <a:pt x="1516" y="1066"/>
                  <a:pt x="1505" y="1071"/>
                  <a:pt x="1487" y="1078"/>
                </a:cubicBezTo>
                <a:cubicBezTo>
                  <a:pt x="1471" y="1086"/>
                  <a:pt x="1462" y="1090"/>
                  <a:pt x="1462" y="1093"/>
                </a:cubicBezTo>
                <a:cubicBezTo>
                  <a:pt x="1462" y="1099"/>
                  <a:pt x="1464" y="1104"/>
                  <a:pt x="1468" y="1108"/>
                </a:cubicBezTo>
                <a:cubicBezTo>
                  <a:pt x="1470" y="1111"/>
                  <a:pt x="1475" y="1114"/>
                  <a:pt x="1480" y="1118"/>
                </a:cubicBezTo>
                <a:lnTo>
                  <a:pt x="1482" y="1118"/>
                </a:lnTo>
                <a:cubicBezTo>
                  <a:pt x="1482" y="1115"/>
                  <a:pt x="1482" y="1114"/>
                  <a:pt x="1482" y="1113"/>
                </a:cubicBezTo>
                <a:cubicBezTo>
                  <a:pt x="1484" y="1112"/>
                  <a:pt x="1485" y="1112"/>
                  <a:pt x="1487" y="1112"/>
                </a:cubicBezTo>
                <a:cubicBezTo>
                  <a:pt x="1487" y="1112"/>
                  <a:pt x="1488" y="1112"/>
                  <a:pt x="1490" y="1113"/>
                </a:cubicBezTo>
                <a:cubicBezTo>
                  <a:pt x="1491" y="1113"/>
                  <a:pt x="1493" y="1112"/>
                  <a:pt x="1496" y="1110"/>
                </a:cubicBezTo>
                <a:cubicBezTo>
                  <a:pt x="1498" y="1108"/>
                  <a:pt x="1500" y="1107"/>
                  <a:pt x="1500" y="1107"/>
                </a:cubicBezTo>
                <a:cubicBezTo>
                  <a:pt x="1502" y="1107"/>
                  <a:pt x="1505" y="1109"/>
                  <a:pt x="1508" y="1114"/>
                </a:cubicBezTo>
                <a:cubicBezTo>
                  <a:pt x="1512" y="1118"/>
                  <a:pt x="1514" y="1121"/>
                  <a:pt x="1514" y="1122"/>
                </a:cubicBezTo>
                <a:cubicBezTo>
                  <a:pt x="1514" y="1124"/>
                  <a:pt x="1513" y="1125"/>
                  <a:pt x="1511" y="1127"/>
                </a:cubicBezTo>
                <a:cubicBezTo>
                  <a:pt x="1511" y="1133"/>
                  <a:pt x="1512" y="1138"/>
                  <a:pt x="1516" y="1141"/>
                </a:cubicBezTo>
                <a:cubicBezTo>
                  <a:pt x="1518" y="1143"/>
                  <a:pt x="1523" y="1145"/>
                  <a:pt x="1530" y="1148"/>
                </a:cubicBezTo>
                <a:cubicBezTo>
                  <a:pt x="1531" y="1148"/>
                  <a:pt x="1534" y="1149"/>
                  <a:pt x="1537" y="1150"/>
                </a:cubicBezTo>
                <a:cubicBezTo>
                  <a:pt x="1540" y="1151"/>
                  <a:pt x="1542" y="1152"/>
                  <a:pt x="1543" y="1154"/>
                </a:cubicBezTo>
                <a:cubicBezTo>
                  <a:pt x="1543" y="1156"/>
                  <a:pt x="1544" y="1157"/>
                  <a:pt x="1545" y="1160"/>
                </a:cubicBezTo>
                <a:cubicBezTo>
                  <a:pt x="1548" y="1163"/>
                  <a:pt x="1550" y="1165"/>
                  <a:pt x="1551" y="1165"/>
                </a:cubicBezTo>
                <a:cubicBezTo>
                  <a:pt x="1570" y="1162"/>
                  <a:pt x="1580" y="1156"/>
                  <a:pt x="1584" y="1147"/>
                </a:cubicBezTo>
                <a:cubicBezTo>
                  <a:pt x="1585" y="1144"/>
                  <a:pt x="1585" y="1141"/>
                  <a:pt x="1586" y="1139"/>
                </a:cubicBezTo>
                <a:cubicBezTo>
                  <a:pt x="1587" y="1136"/>
                  <a:pt x="1590" y="1133"/>
                  <a:pt x="1593" y="1131"/>
                </a:cubicBezTo>
                <a:cubicBezTo>
                  <a:pt x="1596" y="1129"/>
                  <a:pt x="1598" y="1128"/>
                  <a:pt x="1601" y="1126"/>
                </a:cubicBezTo>
                <a:cubicBezTo>
                  <a:pt x="1605" y="1124"/>
                  <a:pt x="1607" y="1121"/>
                  <a:pt x="1607" y="1120"/>
                </a:cubicBezTo>
                <a:cubicBezTo>
                  <a:pt x="1606" y="1118"/>
                  <a:pt x="1606" y="1116"/>
                  <a:pt x="1606" y="1115"/>
                </a:cubicBezTo>
                <a:cubicBezTo>
                  <a:pt x="1606" y="1115"/>
                  <a:pt x="1608" y="1113"/>
                  <a:pt x="1611" y="1110"/>
                </a:cubicBezTo>
                <a:cubicBezTo>
                  <a:pt x="1614" y="1106"/>
                  <a:pt x="1616" y="1103"/>
                  <a:pt x="1616" y="1101"/>
                </a:cubicBezTo>
                <a:cubicBezTo>
                  <a:pt x="1617" y="1096"/>
                  <a:pt x="1617" y="1093"/>
                  <a:pt x="1616" y="1091"/>
                </a:cubicBezTo>
                <a:cubicBezTo>
                  <a:pt x="1614" y="1089"/>
                  <a:pt x="1612" y="1088"/>
                  <a:pt x="1607" y="1087"/>
                </a:cubicBezTo>
                <a:lnTo>
                  <a:pt x="1607" y="1087"/>
                </a:lnTo>
                <a:close/>
                <a:moveTo>
                  <a:pt x="1737" y="1076"/>
                </a:moveTo>
                <a:lnTo>
                  <a:pt x="1737" y="1076"/>
                </a:lnTo>
                <a:cubicBezTo>
                  <a:pt x="1736" y="1074"/>
                  <a:pt x="1733" y="1070"/>
                  <a:pt x="1729" y="1064"/>
                </a:cubicBezTo>
                <a:cubicBezTo>
                  <a:pt x="1731" y="1060"/>
                  <a:pt x="1731" y="1058"/>
                  <a:pt x="1727" y="1057"/>
                </a:cubicBezTo>
                <a:cubicBezTo>
                  <a:pt x="1721" y="1056"/>
                  <a:pt x="1718" y="1055"/>
                  <a:pt x="1715" y="1055"/>
                </a:cubicBezTo>
                <a:cubicBezTo>
                  <a:pt x="1712" y="1054"/>
                  <a:pt x="1709" y="1053"/>
                  <a:pt x="1705" y="1051"/>
                </a:cubicBezTo>
                <a:cubicBezTo>
                  <a:pt x="1701" y="1050"/>
                  <a:pt x="1698" y="1049"/>
                  <a:pt x="1697" y="1048"/>
                </a:cubicBezTo>
                <a:cubicBezTo>
                  <a:pt x="1690" y="1049"/>
                  <a:pt x="1686" y="1050"/>
                  <a:pt x="1683" y="1050"/>
                </a:cubicBezTo>
                <a:cubicBezTo>
                  <a:pt x="1682" y="1050"/>
                  <a:pt x="1682" y="1050"/>
                  <a:pt x="1681" y="1050"/>
                </a:cubicBezTo>
                <a:cubicBezTo>
                  <a:pt x="1681" y="1050"/>
                  <a:pt x="1681" y="1050"/>
                  <a:pt x="1680" y="1050"/>
                </a:cubicBezTo>
                <a:cubicBezTo>
                  <a:pt x="1680" y="1051"/>
                  <a:pt x="1680" y="1051"/>
                  <a:pt x="1680" y="1051"/>
                </a:cubicBezTo>
                <a:cubicBezTo>
                  <a:pt x="1678" y="1052"/>
                  <a:pt x="1678" y="1054"/>
                  <a:pt x="1678" y="1055"/>
                </a:cubicBezTo>
                <a:cubicBezTo>
                  <a:pt x="1676" y="1066"/>
                  <a:pt x="1679" y="1072"/>
                  <a:pt x="1685" y="1073"/>
                </a:cubicBezTo>
                <a:cubicBezTo>
                  <a:pt x="1689" y="1074"/>
                  <a:pt x="1696" y="1075"/>
                  <a:pt x="1706" y="1076"/>
                </a:cubicBezTo>
                <a:cubicBezTo>
                  <a:pt x="1708" y="1077"/>
                  <a:pt x="1712" y="1081"/>
                  <a:pt x="1719" y="1088"/>
                </a:cubicBezTo>
                <a:cubicBezTo>
                  <a:pt x="1725" y="1094"/>
                  <a:pt x="1731" y="1098"/>
                  <a:pt x="1735" y="1098"/>
                </a:cubicBezTo>
                <a:cubicBezTo>
                  <a:pt x="1737" y="1098"/>
                  <a:pt x="1739" y="1098"/>
                  <a:pt x="1740" y="1098"/>
                </a:cubicBezTo>
                <a:cubicBezTo>
                  <a:pt x="1740" y="1097"/>
                  <a:pt x="1741" y="1096"/>
                  <a:pt x="1741" y="1094"/>
                </a:cubicBezTo>
                <a:cubicBezTo>
                  <a:pt x="1742" y="1087"/>
                  <a:pt x="1740" y="1081"/>
                  <a:pt x="1737" y="1076"/>
                </a:cubicBezTo>
                <a:lnTo>
                  <a:pt x="1737" y="1076"/>
                </a:lnTo>
                <a:close/>
                <a:moveTo>
                  <a:pt x="1683" y="627"/>
                </a:moveTo>
                <a:lnTo>
                  <a:pt x="1683" y="627"/>
                </a:lnTo>
                <a:cubicBezTo>
                  <a:pt x="1679" y="625"/>
                  <a:pt x="1676" y="624"/>
                  <a:pt x="1675" y="623"/>
                </a:cubicBezTo>
                <a:cubicBezTo>
                  <a:pt x="1673" y="622"/>
                  <a:pt x="1672" y="616"/>
                  <a:pt x="1671" y="607"/>
                </a:cubicBezTo>
                <a:cubicBezTo>
                  <a:pt x="1671" y="606"/>
                  <a:pt x="1671" y="606"/>
                  <a:pt x="1671" y="606"/>
                </a:cubicBezTo>
                <a:cubicBezTo>
                  <a:pt x="1667" y="605"/>
                  <a:pt x="1662" y="604"/>
                  <a:pt x="1657" y="602"/>
                </a:cubicBezTo>
                <a:cubicBezTo>
                  <a:pt x="1651" y="599"/>
                  <a:pt x="1647" y="598"/>
                  <a:pt x="1644" y="597"/>
                </a:cubicBezTo>
                <a:cubicBezTo>
                  <a:pt x="1643" y="597"/>
                  <a:pt x="1640" y="598"/>
                  <a:pt x="1635" y="600"/>
                </a:cubicBezTo>
                <a:cubicBezTo>
                  <a:pt x="1630" y="602"/>
                  <a:pt x="1626" y="603"/>
                  <a:pt x="1622" y="602"/>
                </a:cubicBezTo>
                <a:cubicBezTo>
                  <a:pt x="1618" y="602"/>
                  <a:pt x="1613" y="602"/>
                  <a:pt x="1608" y="604"/>
                </a:cubicBezTo>
                <a:cubicBezTo>
                  <a:pt x="1604" y="605"/>
                  <a:pt x="1601" y="607"/>
                  <a:pt x="1599" y="609"/>
                </a:cubicBezTo>
                <a:cubicBezTo>
                  <a:pt x="1596" y="606"/>
                  <a:pt x="1593" y="604"/>
                  <a:pt x="1590" y="604"/>
                </a:cubicBezTo>
                <a:cubicBezTo>
                  <a:pt x="1590" y="605"/>
                  <a:pt x="1589" y="606"/>
                  <a:pt x="1589" y="608"/>
                </a:cubicBezTo>
                <a:cubicBezTo>
                  <a:pt x="1588" y="608"/>
                  <a:pt x="1582" y="603"/>
                  <a:pt x="1570" y="594"/>
                </a:cubicBezTo>
                <a:cubicBezTo>
                  <a:pt x="1562" y="589"/>
                  <a:pt x="1555" y="585"/>
                  <a:pt x="1548" y="585"/>
                </a:cubicBezTo>
                <a:cubicBezTo>
                  <a:pt x="1542" y="584"/>
                  <a:pt x="1536" y="585"/>
                  <a:pt x="1532" y="586"/>
                </a:cubicBezTo>
                <a:cubicBezTo>
                  <a:pt x="1528" y="588"/>
                  <a:pt x="1525" y="589"/>
                  <a:pt x="1524" y="589"/>
                </a:cubicBezTo>
                <a:cubicBezTo>
                  <a:pt x="1521" y="585"/>
                  <a:pt x="1518" y="581"/>
                  <a:pt x="1514" y="576"/>
                </a:cubicBezTo>
                <a:cubicBezTo>
                  <a:pt x="1510" y="572"/>
                  <a:pt x="1505" y="568"/>
                  <a:pt x="1501" y="565"/>
                </a:cubicBezTo>
                <a:cubicBezTo>
                  <a:pt x="1501" y="565"/>
                  <a:pt x="1501" y="565"/>
                  <a:pt x="1501" y="565"/>
                </a:cubicBezTo>
                <a:cubicBezTo>
                  <a:pt x="1501" y="574"/>
                  <a:pt x="1486" y="572"/>
                  <a:pt x="1478" y="572"/>
                </a:cubicBezTo>
                <a:cubicBezTo>
                  <a:pt x="1472" y="572"/>
                  <a:pt x="1466" y="578"/>
                  <a:pt x="1460" y="576"/>
                </a:cubicBezTo>
                <a:cubicBezTo>
                  <a:pt x="1454" y="575"/>
                  <a:pt x="1450" y="573"/>
                  <a:pt x="1452" y="569"/>
                </a:cubicBezTo>
                <a:cubicBezTo>
                  <a:pt x="1454" y="567"/>
                  <a:pt x="1447" y="565"/>
                  <a:pt x="1449" y="564"/>
                </a:cubicBezTo>
                <a:cubicBezTo>
                  <a:pt x="1451" y="563"/>
                  <a:pt x="1457" y="561"/>
                  <a:pt x="1458" y="560"/>
                </a:cubicBezTo>
                <a:cubicBezTo>
                  <a:pt x="1461" y="558"/>
                  <a:pt x="1460" y="553"/>
                  <a:pt x="1455" y="552"/>
                </a:cubicBezTo>
                <a:cubicBezTo>
                  <a:pt x="1452" y="552"/>
                  <a:pt x="1456" y="542"/>
                  <a:pt x="1459" y="541"/>
                </a:cubicBezTo>
                <a:cubicBezTo>
                  <a:pt x="1454" y="537"/>
                  <a:pt x="1450" y="532"/>
                  <a:pt x="1448" y="526"/>
                </a:cubicBezTo>
                <a:cubicBezTo>
                  <a:pt x="1446" y="521"/>
                  <a:pt x="1444" y="517"/>
                  <a:pt x="1443" y="515"/>
                </a:cubicBezTo>
                <a:cubicBezTo>
                  <a:pt x="1441" y="512"/>
                  <a:pt x="1437" y="510"/>
                  <a:pt x="1433" y="509"/>
                </a:cubicBezTo>
                <a:cubicBezTo>
                  <a:pt x="1430" y="508"/>
                  <a:pt x="1428" y="507"/>
                  <a:pt x="1426" y="507"/>
                </a:cubicBezTo>
                <a:cubicBezTo>
                  <a:pt x="1424" y="506"/>
                  <a:pt x="1422" y="506"/>
                  <a:pt x="1420" y="504"/>
                </a:cubicBezTo>
                <a:cubicBezTo>
                  <a:pt x="1418" y="503"/>
                  <a:pt x="1417" y="501"/>
                  <a:pt x="1416" y="498"/>
                </a:cubicBezTo>
                <a:cubicBezTo>
                  <a:pt x="1415" y="496"/>
                  <a:pt x="1415" y="494"/>
                  <a:pt x="1414" y="493"/>
                </a:cubicBezTo>
                <a:cubicBezTo>
                  <a:pt x="1413" y="492"/>
                  <a:pt x="1411" y="491"/>
                  <a:pt x="1408" y="491"/>
                </a:cubicBezTo>
                <a:cubicBezTo>
                  <a:pt x="1404" y="490"/>
                  <a:pt x="1402" y="489"/>
                  <a:pt x="1400" y="488"/>
                </a:cubicBezTo>
                <a:cubicBezTo>
                  <a:pt x="1397" y="484"/>
                  <a:pt x="1393" y="482"/>
                  <a:pt x="1389" y="480"/>
                </a:cubicBezTo>
                <a:cubicBezTo>
                  <a:pt x="1378" y="473"/>
                  <a:pt x="1370" y="469"/>
                  <a:pt x="1365" y="469"/>
                </a:cubicBezTo>
                <a:cubicBezTo>
                  <a:pt x="1360" y="468"/>
                  <a:pt x="1358" y="470"/>
                  <a:pt x="1357" y="474"/>
                </a:cubicBezTo>
                <a:cubicBezTo>
                  <a:pt x="1357" y="475"/>
                  <a:pt x="1358" y="479"/>
                  <a:pt x="1361" y="487"/>
                </a:cubicBezTo>
                <a:lnTo>
                  <a:pt x="1360" y="491"/>
                </a:lnTo>
                <a:cubicBezTo>
                  <a:pt x="1358" y="491"/>
                  <a:pt x="1356" y="490"/>
                  <a:pt x="1354" y="489"/>
                </a:cubicBezTo>
                <a:cubicBezTo>
                  <a:pt x="1352" y="488"/>
                  <a:pt x="1350" y="487"/>
                  <a:pt x="1348" y="487"/>
                </a:cubicBezTo>
                <a:cubicBezTo>
                  <a:pt x="1346" y="487"/>
                  <a:pt x="1343" y="487"/>
                  <a:pt x="1338" y="488"/>
                </a:cubicBezTo>
                <a:cubicBezTo>
                  <a:pt x="1334" y="489"/>
                  <a:pt x="1331" y="489"/>
                  <a:pt x="1329" y="489"/>
                </a:cubicBezTo>
                <a:cubicBezTo>
                  <a:pt x="1328" y="489"/>
                  <a:pt x="1327" y="488"/>
                  <a:pt x="1325" y="485"/>
                </a:cubicBezTo>
                <a:cubicBezTo>
                  <a:pt x="1322" y="483"/>
                  <a:pt x="1321" y="482"/>
                  <a:pt x="1319" y="482"/>
                </a:cubicBezTo>
                <a:cubicBezTo>
                  <a:pt x="1318" y="482"/>
                  <a:pt x="1316" y="483"/>
                  <a:pt x="1313" y="485"/>
                </a:cubicBezTo>
                <a:cubicBezTo>
                  <a:pt x="1311" y="487"/>
                  <a:pt x="1309" y="488"/>
                  <a:pt x="1308" y="487"/>
                </a:cubicBezTo>
                <a:cubicBezTo>
                  <a:pt x="1303" y="478"/>
                  <a:pt x="1299" y="473"/>
                  <a:pt x="1296" y="473"/>
                </a:cubicBezTo>
                <a:cubicBezTo>
                  <a:pt x="1289" y="476"/>
                  <a:pt x="1283" y="478"/>
                  <a:pt x="1279" y="477"/>
                </a:cubicBezTo>
                <a:cubicBezTo>
                  <a:pt x="1269" y="476"/>
                  <a:pt x="1261" y="470"/>
                  <a:pt x="1254" y="459"/>
                </a:cubicBezTo>
                <a:cubicBezTo>
                  <a:pt x="1249" y="452"/>
                  <a:pt x="1247" y="448"/>
                  <a:pt x="1246" y="448"/>
                </a:cubicBezTo>
                <a:cubicBezTo>
                  <a:pt x="1243" y="444"/>
                  <a:pt x="1240" y="442"/>
                  <a:pt x="1237" y="442"/>
                </a:cubicBezTo>
                <a:cubicBezTo>
                  <a:pt x="1236" y="442"/>
                  <a:pt x="1235" y="443"/>
                  <a:pt x="1234" y="444"/>
                </a:cubicBezTo>
                <a:cubicBezTo>
                  <a:pt x="1233" y="445"/>
                  <a:pt x="1232" y="446"/>
                  <a:pt x="1231" y="446"/>
                </a:cubicBezTo>
                <a:cubicBezTo>
                  <a:pt x="1230" y="446"/>
                  <a:pt x="1226" y="445"/>
                  <a:pt x="1220" y="443"/>
                </a:cubicBezTo>
                <a:cubicBezTo>
                  <a:pt x="1218" y="443"/>
                  <a:pt x="1215" y="443"/>
                  <a:pt x="1213" y="444"/>
                </a:cubicBezTo>
                <a:cubicBezTo>
                  <a:pt x="1211" y="445"/>
                  <a:pt x="1209" y="446"/>
                  <a:pt x="1205" y="447"/>
                </a:cubicBezTo>
                <a:cubicBezTo>
                  <a:pt x="1204" y="441"/>
                  <a:pt x="1199" y="433"/>
                  <a:pt x="1192" y="421"/>
                </a:cubicBezTo>
                <a:cubicBezTo>
                  <a:pt x="1184" y="409"/>
                  <a:pt x="1179" y="403"/>
                  <a:pt x="1177" y="402"/>
                </a:cubicBezTo>
                <a:cubicBezTo>
                  <a:pt x="1175" y="402"/>
                  <a:pt x="1173" y="402"/>
                  <a:pt x="1169" y="403"/>
                </a:cubicBezTo>
                <a:cubicBezTo>
                  <a:pt x="1169" y="403"/>
                  <a:pt x="1161" y="397"/>
                  <a:pt x="1145" y="384"/>
                </a:cubicBezTo>
                <a:cubicBezTo>
                  <a:pt x="1144" y="383"/>
                  <a:pt x="1143" y="381"/>
                  <a:pt x="1141" y="379"/>
                </a:cubicBezTo>
                <a:cubicBezTo>
                  <a:pt x="1139" y="376"/>
                  <a:pt x="1137" y="375"/>
                  <a:pt x="1134" y="374"/>
                </a:cubicBezTo>
                <a:cubicBezTo>
                  <a:pt x="1128" y="371"/>
                  <a:pt x="1125" y="367"/>
                  <a:pt x="1124" y="361"/>
                </a:cubicBezTo>
                <a:lnTo>
                  <a:pt x="1122" y="361"/>
                </a:lnTo>
                <a:cubicBezTo>
                  <a:pt x="1121" y="362"/>
                  <a:pt x="1119" y="364"/>
                  <a:pt x="1118" y="366"/>
                </a:cubicBezTo>
                <a:cubicBezTo>
                  <a:pt x="1116" y="369"/>
                  <a:pt x="1115" y="370"/>
                  <a:pt x="1114" y="371"/>
                </a:cubicBezTo>
                <a:cubicBezTo>
                  <a:pt x="1105" y="369"/>
                  <a:pt x="1101" y="365"/>
                  <a:pt x="1101" y="361"/>
                </a:cubicBezTo>
                <a:cubicBezTo>
                  <a:pt x="1102" y="359"/>
                  <a:pt x="1103" y="356"/>
                  <a:pt x="1107" y="352"/>
                </a:cubicBezTo>
                <a:cubicBezTo>
                  <a:pt x="1110" y="348"/>
                  <a:pt x="1112" y="344"/>
                  <a:pt x="1113" y="341"/>
                </a:cubicBezTo>
                <a:cubicBezTo>
                  <a:pt x="1114" y="331"/>
                  <a:pt x="1108" y="326"/>
                  <a:pt x="1097" y="324"/>
                </a:cubicBezTo>
                <a:cubicBezTo>
                  <a:pt x="1092" y="324"/>
                  <a:pt x="1088" y="322"/>
                  <a:pt x="1086" y="321"/>
                </a:cubicBezTo>
                <a:cubicBezTo>
                  <a:pt x="1084" y="320"/>
                  <a:pt x="1081" y="318"/>
                  <a:pt x="1077" y="315"/>
                </a:cubicBezTo>
                <a:cubicBezTo>
                  <a:pt x="1077" y="312"/>
                  <a:pt x="1076" y="310"/>
                  <a:pt x="1075" y="308"/>
                </a:cubicBezTo>
                <a:cubicBezTo>
                  <a:pt x="1074" y="307"/>
                  <a:pt x="1074" y="306"/>
                  <a:pt x="1074" y="304"/>
                </a:cubicBezTo>
                <a:cubicBezTo>
                  <a:pt x="1074" y="303"/>
                  <a:pt x="1075" y="302"/>
                  <a:pt x="1075" y="301"/>
                </a:cubicBezTo>
                <a:cubicBezTo>
                  <a:pt x="1075" y="301"/>
                  <a:pt x="1075" y="301"/>
                  <a:pt x="1075" y="301"/>
                </a:cubicBezTo>
                <a:cubicBezTo>
                  <a:pt x="1073" y="301"/>
                  <a:pt x="1070" y="300"/>
                  <a:pt x="1066" y="299"/>
                </a:cubicBezTo>
                <a:cubicBezTo>
                  <a:pt x="1066" y="299"/>
                  <a:pt x="1063" y="300"/>
                  <a:pt x="1058" y="302"/>
                </a:cubicBezTo>
                <a:cubicBezTo>
                  <a:pt x="1052" y="304"/>
                  <a:pt x="1047" y="304"/>
                  <a:pt x="1043" y="304"/>
                </a:cubicBezTo>
                <a:cubicBezTo>
                  <a:pt x="1035" y="303"/>
                  <a:pt x="1025" y="300"/>
                  <a:pt x="1011" y="295"/>
                </a:cubicBezTo>
                <a:cubicBezTo>
                  <a:pt x="999" y="291"/>
                  <a:pt x="991" y="287"/>
                  <a:pt x="988" y="285"/>
                </a:cubicBezTo>
                <a:cubicBezTo>
                  <a:pt x="987" y="284"/>
                  <a:pt x="984" y="282"/>
                  <a:pt x="980" y="277"/>
                </a:cubicBezTo>
                <a:cubicBezTo>
                  <a:pt x="977" y="273"/>
                  <a:pt x="973" y="270"/>
                  <a:pt x="969" y="267"/>
                </a:cubicBezTo>
                <a:cubicBezTo>
                  <a:pt x="963" y="266"/>
                  <a:pt x="959" y="264"/>
                  <a:pt x="957" y="262"/>
                </a:cubicBezTo>
                <a:cubicBezTo>
                  <a:pt x="956" y="259"/>
                  <a:pt x="955" y="257"/>
                  <a:pt x="954" y="256"/>
                </a:cubicBezTo>
                <a:cubicBezTo>
                  <a:pt x="953" y="254"/>
                  <a:pt x="951" y="253"/>
                  <a:pt x="948" y="252"/>
                </a:cubicBezTo>
                <a:cubicBezTo>
                  <a:pt x="946" y="252"/>
                  <a:pt x="941" y="252"/>
                  <a:pt x="934" y="252"/>
                </a:cubicBezTo>
                <a:cubicBezTo>
                  <a:pt x="932" y="252"/>
                  <a:pt x="928" y="253"/>
                  <a:pt x="920" y="256"/>
                </a:cubicBezTo>
                <a:cubicBezTo>
                  <a:pt x="913" y="259"/>
                  <a:pt x="909" y="260"/>
                  <a:pt x="907" y="260"/>
                </a:cubicBezTo>
                <a:cubicBezTo>
                  <a:pt x="877" y="240"/>
                  <a:pt x="863" y="230"/>
                  <a:pt x="863" y="230"/>
                </a:cubicBezTo>
                <a:cubicBezTo>
                  <a:pt x="864" y="229"/>
                  <a:pt x="865" y="227"/>
                  <a:pt x="865" y="226"/>
                </a:cubicBezTo>
                <a:cubicBezTo>
                  <a:pt x="865" y="223"/>
                  <a:pt x="862" y="220"/>
                  <a:pt x="857" y="217"/>
                </a:cubicBezTo>
                <a:cubicBezTo>
                  <a:pt x="851" y="214"/>
                  <a:pt x="848" y="212"/>
                  <a:pt x="845" y="212"/>
                </a:cubicBezTo>
                <a:cubicBezTo>
                  <a:pt x="838" y="211"/>
                  <a:pt x="830" y="213"/>
                  <a:pt x="821" y="216"/>
                </a:cubicBezTo>
                <a:cubicBezTo>
                  <a:pt x="821" y="213"/>
                  <a:pt x="821" y="211"/>
                  <a:pt x="821" y="210"/>
                </a:cubicBezTo>
                <a:cubicBezTo>
                  <a:pt x="821" y="208"/>
                  <a:pt x="820" y="208"/>
                  <a:pt x="817" y="207"/>
                </a:cubicBezTo>
                <a:cubicBezTo>
                  <a:pt x="813" y="207"/>
                  <a:pt x="808" y="208"/>
                  <a:pt x="804" y="210"/>
                </a:cubicBezTo>
                <a:cubicBezTo>
                  <a:pt x="797" y="213"/>
                  <a:pt x="793" y="214"/>
                  <a:pt x="791" y="215"/>
                </a:cubicBezTo>
                <a:cubicBezTo>
                  <a:pt x="792" y="211"/>
                  <a:pt x="792" y="207"/>
                  <a:pt x="791" y="206"/>
                </a:cubicBezTo>
                <a:cubicBezTo>
                  <a:pt x="790" y="206"/>
                  <a:pt x="787" y="207"/>
                  <a:pt x="784" y="208"/>
                </a:cubicBezTo>
                <a:cubicBezTo>
                  <a:pt x="782" y="210"/>
                  <a:pt x="779" y="210"/>
                  <a:pt x="775" y="209"/>
                </a:cubicBezTo>
                <a:cubicBezTo>
                  <a:pt x="767" y="209"/>
                  <a:pt x="758" y="206"/>
                  <a:pt x="748" y="203"/>
                </a:cubicBezTo>
                <a:cubicBezTo>
                  <a:pt x="741" y="201"/>
                  <a:pt x="736" y="199"/>
                  <a:pt x="732" y="197"/>
                </a:cubicBezTo>
                <a:lnTo>
                  <a:pt x="733" y="195"/>
                </a:lnTo>
                <a:cubicBezTo>
                  <a:pt x="722" y="190"/>
                  <a:pt x="705" y="181"/>
                  <a:pt x="681" y="170"/>
                </a:cubicBezTo>
                <a:cubicBezTo>
                  <a:pt x="667" y="164"/>
                  <a:pt x="652" y="154"/>
                  <a:pt x="636" y="142"/>
                </a:cubicBezTo>
                <a:cubicBezTo>
                  <a:pt x="633" y="141"/>
                  <a:pt x="628" y="140"/>
                  <a:pt x="623" y="138"/>
                </a:cubicBezTo>
                <a:cubicBezTo>
                  <a:pt x="624" y="137"/>
                  <a:pt x="624" y="136"/>
                  <a:pt x="624" y="135"/>
                </a:cubicBezTo>
                <a:cubicBezTo>
                  <a:pt x="620" y="134"/>
                  <a:pt x="616" y="134"/>
                  <a:pt x="612" y="132"/>
                </a:cubicBezTo>
                <a:cubicBezTo>
                  <a:pt x="602" y="130"/>
                  <a:pt x="595" y="124"/>
                  <a:pt x="589" y="117"/>
                </a:cubicBezTo>
                <a:cubicBezTo>
                  <a:pt x="583" y="107"/>
                  <a:pt x="579" y="102"/>
                  <a:pt x="577" y="101"/>
                </a:cubicBezTo>
                <a:cubicBezTo>
                  <a:pt x="576" y="101"/>
                  <a:pt x="572" y="102"/>
                  <a:pt x="566" y="104"/>
                </a:cubicBezTo>
                <a:cubicBezTo>
                  <a:pt x="559" y="105"/>
                  <a:pt x="555" y="106"/>
                  <a:pt x="554" y="106"/>
                </a:cubicBezTo>
                <a:cubicBezTo>
                  <a:pt x="548" y="105"/>
                  <a:pt x="538" y="102"/>
                  <a:pt x="525" y="97"/>
                </a:cubicBezTo>
                <a:cubicBezTo>
                  <a:pt x="513" y="92"/>
                  <a:pt x="502" y="89"/>
                  <a:pt x="491" y="89"/>
                </a:cubicBezTo>
                <a:cubicBezTo>
                  <a:pt x="487" y="89"/>
                  <a:pt x="476" y="86"/>
                  <a:pt x="460" y="80"/>
                </a:cubicBezTo>
                <a:cubicBezTo>
                  <a:pt x="443" y="74"/>
                  <a:pt x="434" y="70"/>
                  <a:pt x="433" y="70"/>
                </a:cubicBezTo>
                <a:cubicBezTo>
                  <a:pt x="429" y="70"/>
                  <a:pt x="425" y="71"/>
                  <a:pt x="423" y="75"/>
                </a:cubicBezTo>
                <a:lnTo>
                  <a:pt x="421" y="74"/>
                </a:lnTo>
                <a:cubicBezTo>
                  <a:pt x="421" y="71"/>
                  <a:pt x="422" y="68"/>
                  <a:pt x="424" y="66"/>
                </a:cubicBezTo>
                <a:cubicBezTo>
                  <a:pt x="421" y="66"/>
                  <a:pt x="418" y="66"/>
                  <a:pt x="415" y="66"/>
                </a:cubicBezTo>
                <a:cubicBezTo>
                  <a:pt x="415" y="65"/>
                  <a:pt x="415" y="65"/>
                  <a:pt x="415" y="65"/>
                </a:cubicBezTo>
                <a:cubicBezTo>
                  <a:pt x="409" y="63"/>
                  <a:pt x="405" y="59"/>
                  <a:pt x="402" y="54"/>
                </a:cubicBezTo>
                <a:cubicBezTo>
                  <a:pt x="400" y="51"/>
                  <a:pt x="398" y="46"/>
                  <a:pt x="394" y="37"/>
                </a:cubicBezTo>
                <a:cubicBezTo>
                  <a:pt x="392" y="31"/>
                  <a:pt x="387" y="26"/>
                  <a:pt x="379" y="23"/>
                </a:cubicBezTo>
                <a:cubicBezTo>
                  <a:pt x="370" y="20"/>
                  <a:pt x="365" y="17"/>
                  <a:pt x="364" y="14"/>
                </a:cubicBezTo>
                <a:cubicBezTo>
                  <a:pt x="359" y="14"/>
                  <a:pt x="356" y="14"/>
                  <a:pt x="355" y="14"/>
                </a:cubicBezTo>
                <a:cubicBezTo>
                  <a:pt x="355" y="13"/>
                  <a:pt x="356" y="12"/>
                  <a:pt x="356" y="11"/>
                </a:cubicBezTo>
                <a:cubicBezTo>
                  <a:pt x="356" y="9"/>
                  <a:pt x="356" y="8"/>
                  <a:pt x="355" y="8"/>
                </a:cubicBezTo>
                <a:lnTo>
                  <a:pt x="352" y="7"/>
                </a:lnTo>
                <a:cubicBezTo>
                  <a:pt x="348" y="7"/>
                  <a:pt x="345" y="7"/>
                  <a:pt x="341" y="8"/>
                </a:cubicBezTo>
                <a:cubicBezTo>
                  <a:pt x="339" y="9"/>
                  <a:pt x="336" y="10"/>
                  <a:pt x="332" y="11"/>
                </a:cubicBezTo>
                <a:cubicBezTo>
                  <a:pt x="333" y="7"/>
                  <a:pt x="334" y="4"/>
                  <a:pt x="336" y="4"/>
                </a:cubicBezTo>
                <a:lnTo>
                  <a:pt x="336" y="2"/>
                </a:lnTo>
                <a:cubicBezTo>
                  <a:pt x="335" y="2"/>
                  <a:pt x="333" y="1"/>
                  <a:pt x="331" y="1"/>
                </a:cubicBezTo>
                <a:cubicBezTo>
                  <a:pt x="319" y="0"/>
                  <a:pt x="307" y="1"/>
                  <a:pt x="293" y="6"/>
                </a:cubicBezTo>
                <a:cubicBezTo>
                  <a:pt x="280" y="11"/>
                  <a:pt x="270" y="16"/>
                  <a:pt x="265" y="23"/>
                </a:cubicBezTo>
                <a:lnTo>
                  <a:pt x="264" y="31"/>
                </a:lnTo>
                <a:lnTo>
                  <a:pt x="276" y="33"/>
                </a:lnTo>
                <a:cubicBezTo>
                  <a:pt x="273" y="35"/>
                  <a:pt x="271" y="36"/>
                  <a:pt x="269" y="35"/>
                </a:cubicBezTo>
                <a:lnTo>
                  <a:pt x="268" y="36"/>
                </a:lnTo>
                <a:lnTo>
                  <a:pt x="283" y="46"/>
                </a:lnTo>
                <a:cubicBezTo>
                  <a:pt x="281" y="47"/>
                  <a:pt x="277" y="48"/>
                  <a:pt x="273" y="49"/>
                </a:cubicBezTo>
                <a:cubicBezTo>
                  <a:pt x="271" y="49"/>
                  <a:pt x="269" y="51"/>
                  <a:pt x="268" y="54"/>
                </a:cubicBezTo>
                <a:cubicBezTo>
                  <a:pt x="268" y="54"/>
                  <a:pt x="267" y="51"/>
                  <a:pt x="265" y="46"/>
                </a:cubicBezTo>
                <a:cubicBezTo>
                  <a:pt x="264" y="42"/>
                  <a:pt x="262" y="40"/>
                  <a:pt x="260" y="40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57" y="40"/>
                  <a:pt x="255" y="41"/>
                  <a:pt x="253" y="45"/>
                </a:cubicBezTo>
                <a:cubicBezTo>
                  <a:pt x="251" y="49"/>
                  <a:pt x="249" y="50"/>
                  <a:pt x="248" y="50"/>
                </a:cubicBezTo>
                <a:cubicBezTo>
                  <a:pt x="246" y="50"/>
                  <a:pt x="245" y="49"/>
                  <a:pt x="245" y="46"/>
                </a:cubicBezTo>
                <a:cubicBezTo>
                  <a:pt x="245" y="43"/>
                  <a:pt x="244" y="41"/>
                  <a:pt x="241" y="41"/>
                </a:cubicBezTo>
                <a:cubicBezTo>
                  <a:pt x="240" y="40"/>
                  <a:pt x="238" y="41"/>
                  <a:pt x="235" y="44"/>
                </a:cubicBezTo>
                <a:cubicBezTo>
                  <a:pt x="233" y="46"/>
                  <a:pt x="230" y="47"/>
                  <a:pt x="227" y="46"/>
                </a:cubicBezTo>
                <a:cubicBezTo>
                  <a:pt x="214" y="45"/>
                  <a:pt x="205" y="42"/>
                  <a:pt x="200" y="38"/>
                </a:cubicBezTo>
                <a:cubicBezTo>
                  <a:pt x="195" y="34"/>
                  <a:pt x="189" y="32"/>
                  <a:pt x="183" y="31"/>
                </a:cubicBezTo>
                <a:cubicBezTo>
                  <a:pt x="179" y="31"/>
                  <a:pt x="176" y="31"/>
                  <a:pt x="175" y="31"/>
                </a:cubicBezTo>
                <a:cubicBezTo>
                  <a:pt x="173" y="33"/>
                  <a:pt x="170" y="34"/>
                  <a:pt x="167" y="35"/>
                </a:cubicBezTo>
                <a:cubicBezTo>
                  <a:pt x="169" y="39"/>
                  <a:pt x="171" y="41"/>
                  <a:pt x="171" y="41"/>
                </a:cubicBezTo>
                <a:lnTo>
                  <a:pt x="161" y="40"/>
                </a:lnTo>
                <a:cubicBezTo>
                  <a:pt x="157" y="40"/>
                  <a:pt x="152" y="40"/>
                  <a:pt x="147" y="41"/>
                </a:cubicBezTo>
                <a:cubicBezTo>
                  <a:pt x="144" y="41"/>
                  <a:pt x="139" y="42"/>
                  <a:pt x="133" y="43"/>
                </a:cubicBezTo>
                <a:cubicBezTo>
                  <a:pt x="133" y="44"/>
                  <a:pt x="133" y="46"/>
                  <a:pt x="133" y="48"/>
                </a:cubicBezTo>
                <a:cubicBezTo>
                  <a:pt x="133" y="49"/>
                  <a:pt x="131" y="51"/>
                  <a:pt x="128" y="52"/>
                </a:cubicBezTo>
                <a:cubicBezTo>
                  <a:pt x="126" y="53"/>
                  <a:pt x="124" y="53"/>
                  <a:pt x="121" y="54"/>
                </a:cubicBezTo>
                <a:cubicBezTo>
                  <a:pt x="119" y="55"/>
                  <a:pt x="117" y="57"/>
                  <a:pt x="116" y="60"/>
                </a:cubicBezTo>
                <a:cubicBezTo>
                  <a:pt x="116" y="64"/>
                  <a:pt x="115" y="66"/>
                  <a:pt x="113" y="67"/>
                </a:cubicBezTo>
                <a:lnTo>
                  <a:pt x="112" y="81"/>
                </a:lnTo>
                <a:cubicBezTo>
                  <a:pt x="112" y="82"/>
                  <a:pt x="113" y="82"/>
                  <a:pt x="115" y="82"/>
                </a:cubicBezTo>
                <a:cubicBezTo>
                  <a:pt x="116" y="82"/>
                  <a:pt x="117" y="81"/>
                  <a:pt x="120" y="79"/>
                </a:cubicBezTo>
                <a:cubicBezTo>
                  <a:pt x="122" y="78"/>
                  <a:pt x="125" y="77"/>
                  <a:pt x="127" y="78"/>
                </a:cubicBezTo>
                <a:cubicBezTo>
                  <a:pt x="127" y="79"/>
                  <a:pt x="127" y="80"/>
                  <a:pt x="127" y="83"/>
                </a:cubicBezTo>
                <a:cubicBezTo>
                  <a:pt x="127" y="87"/>
                  <a:pt x="125" y="94"/>
                  <a:pt x="122" y="105"/>
                </a:cubicBezTo>
                <a:lnTo>
                  <a:pt x="121" y="115"/>
                </a:lnTo>
                <a:cubicBezTo>
                  <a:pt x="121" y="118"/>
                  <a:pt x="123" y="120"/>
                  <a:pt x="125" y="120"/>
                </a:cubicBezTo>
                <a:cubicBezTo>
                  <a:pt x="133" y="117"/>
                  <a:pt x="139" y="115"/>
                  <a:pt x="144" y="116"/>
                </a:cubicBezTo>
                <a:lnTo>
                  <a:pt x="152" y="116"/>
                </a:lnTo>
                <a:cubicBezTo>
                  <a:pt x="150" y="117"/>
                  <a:pt x="148" y="118"/>
                  <a:pt x="145" y="119"/>
                </a:cubicBezTo>
                <a:cubicBezTo>
                  <a:pt x="142" y="120"/>
                  <a:pt x="139" y="122"/>
                  <a:pt x="135" y="125"/>
                </a:cubicBezTo>
                <a:cubicBezTo>
                  <a:pt x="126" y="131"/>
                  <a:pt x="121" y="137"/>
                  <a:pt x="121" y="141"/>
                </a:cubicBezTo>
                <a:cubicBezTo>
                  <a:pt x="120" y="151"/>
                  <a:pt x="121" y="155"/>
                  <a:pt x="124" y="156"/>
                </a:cubicBezTo>
                <a:cubicBezTo>
                  <a:pt x="125" y="156"/>
                  <a:pt x="127" y="155"/>
                  <a:pt x="130" y="152"/>
                </a:cubicBezTo>
                <a:cubicBezTo>
                  <a:pt x="133" y="149"/>
                  <a:pt x="135" y="148"/>
                  <a:pt x="135" y="148"/>
                </a:cubicBezTo>
                <a:cubicBezTo>
                  <a:pt x="135" y="148"/>
                  <a:pt x="138" y="147"/>
                  <a:pt x="143" y="146"/>
                </a:cubicBezTo>
                <a:cubicBezTo>
                  <a:pt x="145" y="145"/>
                  <a:pt x="147" y="144"/>
                  <a:pt x="146" y="141"/>
                </a:cubicBezTo>
                <a:cubicBezTo>
                  <a:pt x="147" y="141"/>
                  <a:pt x="147" y="141"/>
                  <a:pt x="147" y="140"/>
                </a:cubicBezTo>
                <a:cubicBezTo>
                  <a:pt x="148" y="140"/>
                  <a:pt x="148" y="140"/>
                  <a:pt x="148" y="139"/>
                </a:cubicBezTo>
                <a:cubicBezTo>
                  <a:pt x="151" y="143"/>
                  <a:pt x="154" y="144"/>
                  <a:pt x="156" y="144"/>
                </a:cubicBezTo>
                <a:cubicBezTo>
                  <a:pt x="156" y="144"/>
                  <a:pt x="159" y="144"/>
                  <a:pt x="165" y="142"/>
                </a:cubicBezTo>
                <a:lnTo>
                  <a:pt x="166" y="142"/>
                </a:lnTo>
                <a:cubicBezTo>
                  <a:pt x="164" y="144"/>
                  <a:pt x="161" y="147"/>
                  <a:pt x="157" y="152"/>
                </a:cubicBezTo>
                <a:cubicBezTo>
                  <a:pt x="153" y="156"/>
                  <a:pt x="150" y="159"/>
                  <a:pt x="147" y="161"/>
                </a:cubicBezTo>
                <a:cubicBezTo>
                  <a:pt x="144" y="163"/>
                  <a:pt x="142" y="167"/>
                  <a:pt x="141" y="173"/>
                </a:cubicBezTo>
                <a:cubicBezTo>
                  <a:pt x="139" y="172"/>
                  <a:pt x="136" y="174"/>
                  <a:pt x="131" y="178"/>
                </a:cubicBezTo>
                <a:cubicBezTo>
                  <a:pt x="131" y="180"/>
                  <a:pt x="132" y="183"/>
                  <a:pt x="134" y="188"/>
                </a:cubicBezTo>
                <a:cubicBezTo>
                  <a:pt x="138" y="188"/>
                  <a:pt x="142" y="188"/>
                  <a:pt x="144" y="187"/>
                </a:cubicBezTo>
                <a:lnTo>
                  <a:pt x="154" y="188"/>
                </a:lnTo>
                <a:cubicBezTo>
                  <a:pt x="154" y="189"/>
                  <a:pt x="154" y="189"/>
                  <a:pt x="154" y="189"/>
                </a:cubicBezTo>
                <a:cubicBezTo>
                  <a:pt x="153" y="190"/>
                  <a:pt x="147" y="193"/>
                  <a:pt x="137" y="197"/>
                </a:cubicBezTo>
                <a:cubicBezTo>
                  <a:pt x="127" y="201"/>
                  <a:pt x="122" y="205"/>
                  <a:pt x="122" y="208"/>
                </a:cubicBezTo>
                <a:cubicBezTo>
                  <a:pt x="122" y="210"/>
                  <a:pt x="123" y="211"/>
                  <a:pt x="126" y="212"/>
                </a:cubicBezTo>
                <a:cubicBezTo>
                  <a:pt x="127" y="212"/>
                  <a:pt x="128" y="212"/>
                  <a:pt x="128" y="213"/>
                </a:cubicBezTo>
                <a:cubicBezTo>
                  <a:pt x="131" y="213"/>
                  <a:pt x="134" y="213"/>
                  <a:pt x="138" y="212"/>
                </a:cubicBezTo>
                <a:cubicBezTo>
                  <a:pt x="140" y="212"/>
                  <a:pt x="142" y="211"/>
                  <a:pt x="143" y="210"/>
                </a:cubicBezTo>
                <a:cubicBezTo>
                  <a:pt x="149" y="208"/>
                  <a:pt x="153" y="207"/>
                  <a:pt x="155" y="206"/>
                </a:cubicBezTo>
                <a:cubicBezTo>
                  <a:pt x="155" y="206"/>
                  <a:pt x="156" y="206"/>
                  <a:pt x="156" y="206"/>
                </a:cubicBezTo>
                <a:cubicBezTo>
                  <a:pt x="156" y="206"/>
                  <a:pt x="156" y="207"/>
                  <a:pt x="156" y="208"/>
                </a:cubicBezTo>
                <a:cubicBezTo>
                  <a:pt x="156" y="211"/>
                  <a:pt x="153" y="212"/>
                  <a:pt x="149" y="214"/>
                </a:cubicBezTo>
                <a:cubicBezTo>
                  <a:pt x="146" y="215"/>
                  <a:pt x="143" y="216"/>
                  <a:pt x="139" y="216"/>
                </a:cubicBezTo>
                <a:cubicBezTo>
                  <a:pt x="136" y="218"/>
                  <a:pt x="130" y="221"/>
                  <a:pt x="124" y="225"/>
                </a:cubicBezTo>
                <a:cubicBezTo>
                  <a:pt x="116" y="229"/>
                  <a:pt x="111" y="231"/>
                  <a:pt x="108" y="234"/>
                </a:cubicBezTo>
                <a:cubicBezTo>
                  <a:pt x="102" y="238"/>
                  <a:pt x="99" y="244"/>
                  <a:pt x="99" y="251"/>
                </a:cubicBezTo>
                <a:lnTo>
                  <a:pt x="97" y="272"/>
                </a:lnTo>
                <a:cubicBezTo>
                  <a:pt x="97" y="272"/>
                  <a:pt x="98" y="272"/>
                  <a:pt x="98" y="273"/>
                </a:cubicBezTo>
                <a:lnTo>
                  <a:pt x="99" y="273"/>
                </a:lnTo>
                <a:cubicBezTo>
                  <a:pt x="106" y="269"/>
                  <a:pt x="117" y="265"/>
                  <a:pt x="132" y="261"/>
                </a:cubicBezTo>
                <a:cubicBezTo>
                  <a:pt x="146" y="257"/>
                  <a:pt x="153" y="255"/>
                  <a:pt x="155" y="255"/>
                </a:cubicBezTo>
                <a:cubicBezTo>
                  <a:pt x="156" y="255"/>
                  <a:pt x="158" y="257"/>
                  <a:pt x="163" y="260"/>
                </a:cubicBezTo>
                <a:cubicBezTo>
                  <a:pt x="168" y="263"/>
                  <a:pt x="171" y="264"/>
                  <a:pt x="172" y="264"/>
                </a:cubicBezTo>
                <a:cubicBezTo>
                  <a:pt x="174" y="265"/>
                  <a:pt x="176" y="264"/>
                  <a:pt x="180" y="262"/>
                </a:cubicBezTo>
                <a:cubicBezTo>
                  <a:pt x="184" y="260"/>
                  <a:pt x="186" y="259"/>
                  <a:pt x="187" y="258"/>
                </a:cubicBezTo>
                <a:lnTo>
                  <a:pt x="197" y="260"/>
                </a:lnTo>
                <a:cubicBezTo>
                  <a:pt x="196" y="262"/>
                  <a:pt x="195" y="266"/>
                  <a:pt x="195" y="270"/>
                </a:cubicBezTo>
                <a:cubicBezTo>
                  <a:pt x="197" y="272"/>
                  <a:pt x="201" y="273"/>
                  <a:pt x="207" y="275"/>
                </a:cubicBezTo>
                <a:cubicBezTo>
                  <a:pt x="206" y="279"/>
                  <a:pt x="202" y="284"/>
                  <a:pt x="194" y="289"/>
                </a:cubicBezTo>
                <a:cubicBezTo>
                  <a:pt x="186" y="294"/>
                  <a:pt x="183" y="299"/>
                  <a:pt x="182" y="304"/>
                </a:cubicBezTo>
                <a:cubicBezTo>
                  <a:pt x="182" y="308"/>
                  <a:pt x="182" y="313"/>
                  <a:pt x="184" y="318"/>
                </a:cubicBezTo>
                <a:lnTo>
                  <a:pt x="199" y="320"/>
                </a:lnTo>
                <a:cubicBezTo>
                  <a:pt x="199" y="320"/>
                  <a:pt x="202" y="319"/>
                  <a:pt x="210" y="318"/>
                </a:cubicBezTo>
                <a:cubicBezTo>
                  <a:pt x="214" y="318"/>
                  <a:pt x="217" y="316"/>
                  <a:pt x="217" y="312"/>
                </a:cubicBezTo>
                <a:cubicBezTo>
                  <a:pt x="220" y="314"/>
                  <a:pt x="227" y="317"/>
                  <a:pt x="238" y="320"/>
                </a:cubicBezTo>
                <a:cubicBezTo>
                  <a:pt x="246" y="323"/>
                  <a:pt x="252" y="326"/>
                  <a:pt x="254" y="329"/>
                </a:cubicBezTo>
                <a:cubicBezTo>
                  <a:pt x="255" y="332"/>
                  <a:pt x="259" y="336"/>
                  <a:pt x="267" y="342"/>
                </a:cubicBezTo>
                <a:cubicBezTo>
                  <a:pt x="274" y="348"/>
                  <a:pt x="278" y="351"/>
                  <a:pt x="279" y="351"/>
                </a:cubicBezTo>
                <a:cubicBezTo>
                  <a:pt x="280" y="351"/>
                  <a:pt x="283" y="351"/>
                  <a:pt x="288" y="350"/>
                </a:cubicBezTo>
                <a:cubicBezTo>
                  <a:pt x="293" y="350"/>
                  <a:pt x="299" y="350"/>
                  <a:pt x="306" y="350"/>
                </a:cubicBezTo>
                <a:cubicBezTo>
                  <a:pt x="306" y="350"/>
                  <a:pt x="309" y="347"/>
                  <a:pt x="313" y="342"/>
                </a:cubicBezTo>
                <a:cubicBezTo>
                  <a:pt x="315" y="339"/>
                  <a:pt x="318" y="337"/>
                  <a:pt x="322" y="338"/>
                </a:cubicBezTo>
                <a:cubicBezTo>
                  <a:pt x="324" y="338"/>
                  <a:pt x="336" y="342"/>
                  <a:pt x="356" y="351"/>
                </a:cubicBezTo>
                <a:cubicBezTo>
                  <a:pt x="377" y="360"/>
                  <a:pt x="389" y="365"/>
                  <a:pt x="393" y="365"/>
                </a:cubicBezTo>
                <a:cubicBezTo>
                  <a:pt x="394" y="367"/>
                  <a:pt x="394" y="372"/>
                  <a:pt x="393" y="378"/>
                </a:cubicBezTo>
                <a:cubicBezTo>
                  <a:pt x="393" y="383"/>
                  <a:pt x="392" y="386"/>
                  <a:pt x="392" y="388"/>
                </a:cubicBezTo>
                <a:cubicBezTo>
                  <a:pt x="391" y="390"/>
                  <a:pt x="388" y="393"/>
                  <a:pt x="382" y="398"/>
                </a:cubicBezTo>
                <a:lnTo>
                  <a:pt x="380" y="416"/>
                </a:lnTo>
                <a:cubicBezTo>
                  <a:pt x="392" y="418"/>
                  <a:pt x="401" y="421"/>
                  <a:pt x="406" y="426"/>
                </a:cubicBezTo>
                <a:cubicBezTo>
                  <a:pt x="412" y="431"/>
                  <a:pt x="415" y="438"/>
                  <a:pt x="417" y="447"/>
                </a:cubicBezTo>
                <a:cubicBezTo>
                  <a:pt x="413" y="448"/>
                  <a:pt x="409" y="451"/>
                  <a:pt x="404" y="457"/>
                </a:cubicBezTo>
                <a:cubicBezTo>
                  <a:pt x="399" y="464"/>
                  <a:pt x="394" y="469"/>
                  <a:pt x="391" y="471"/>
                </a:cubicBezTo>
                <a:cubicBezTo>
                  <a:pt x="384" y="469"/>
                  <a:pt x="379" y="470"/>
                  <a:pt x="374" y="474"/>
                </a:cubicBezTo>
                <a:cubicBezTo>
                  <a:pt x="368" y="480"/>
                  <a:pt x="362" y="484"/>
                  <a:pt x="359" y="485"/>
                </a:cubicBezTo>
                <a:cubicBezTo>
                  <a:pt x="355" y="485"/>
                  <a:pt x="349" y="486"/>
                  <a:pt x="341" y="488"/>
                </a:cubicBezTo>
                <a:cubicBezTo>
                  <a:pt x="335" y="489"/>
                  <a:pt x="329" y="492"/>
                  <a:pt x="325" y="496"/>
                </a:cubicBezTo>
                <a:cubicBezTo>
                  <a:pt x="323" y="497"/>
                  <a:pt x="319" y="501"/>
                  <a:pt x="311" y="508"/>
                </a:cubicBezTo>
                <a:cubicBezTo>
                  <a:pt x="304" y="513"/>
                  <a:pt x="298" y="513"/>
                  <a:pt x="293" y="508"/>
                </a:cubicBezTo>
                <a:lnTo>
                  <a:pt x="293" y="509"/>
                </a:lnTo>
                <a:cubicBezTo>
                  <a:pt x="292" y="510"/>
                  <a:pt x="292" y="510"/>
                  <a:pt x="291" y="510"/>
                </a:cubicBezTo>
                <a:cubicBezTo>
                  <a:pt x="291" y="512"/>
                  <a:pt x="292" y="517"/>
                  <a:pt x="295" y="524"/>
                </a:cubicBezTo>
                <a:cubicBezTo>
                  <a:pt x="297" y="529"/>
                  <a:pt x="297" y="535"/>
                  <a:pt x="297" y="539"/>
                </a:cubicBezTo>
                <a:cubicBezTo>
                  <a:pt x="296" y="544"/>
                  <a:pt x="291" y="556"/>
                  <a:pt x="282" y="574"/>
                </a:cubicBezTo>
                <a:cubicBezTo>
                  <a:pt x="273" y="593"/>
                  <a:pt x="268" y="605"/>
                  <a:pt x="268" y="612"/>
                </a:cubicBezTo>
                <a:cubicBezTo>
                  <a:pt x="267" y="615"/>
                  <a:pt x="268" y="618"/>
                  <a:pt x="270" y="620"/>
                </a:cubicBezTo>
                <a:cubicBezTo>
                  <a:pt x="271" y="623"/>
                  <a:pt x="272" y="624"/>
                  <a:pt x="272" y="625"/>
                </a:cubicBezTo>
                <a:cubicBezTo>
                  <a:pt x="271" y="630"/>
                  <a:pt x="269" y="633"/>
                  <a:pt x="264" y="635"/>
                </a:cubicBezTo>
                <a:cubicBezTo>
                  <a:pt x="262" y="637"/>
                  <a:pt x="257" y="638"/>
                  <a:pt x="250" y="640"/>
                </a:cubicBezTo>
                <a:cubicBezTo>
                  <a:pt x="244" y="641"/>
                  <a:pt x="239" y="643"/>
                  <a:pt x="236" y="644"/>
                </a:cubicBezTo>
                <a:cubicBezTo>
                  <a:pt x="232" y="647"/>
                  <a:pt x="229" y="651"/>
                  <a:pt x="229" y="656"/>
                </a:cubicBezTo>
                <a:cubicBezTo>
                  <a:pt x="228" y="661"/>
                  <a:pt x="230" y="666"/>
                  <a:pt x="233" y="670"/>
                </a:cubicBezTo>
                <a:cubicBezTo>
                  <a:pt x="237" y="675"/>
                  <a:pt x="239" y="680"/>
                  <a:pt x="238" y="685"/>
                </a:cubicBezTo>
                <a:cubicBezTo>
                  <a:pt x="238" y="689"/>
                  <a:pt x="236" y="694"/>
                  <a:pt x="231" y="699"/>
                </a:cubicBezTo>
                <a:cubicBezTo>
                  <a:pt x="230" y="700"/>
                  <a:pt x="225" y="705"/>
                  <a:pt x="219" y="711"/>
                </a:cubicBezTo>
                <a:cubicBezTo>
                  <a:pt x="208" y="721"/>
                  <a:pt x="203" y="729"/>
                  <a:pt x="206" y="735"/>
                </a:cubicBezTo>
                <a:lnTo>
                  <a:pt x="179" y="732"/>
                </a:lnTo>
                <a:cubicBezTo>
                  <a:pt x="172" y="727"/>
                  <a:pt x="157" y="721"/>
                  <a:pt x="132" y="714"/>
                </a:cubicBezTo>
                <a:cubicBezTo>
                  <a:pt x="132" y="716"/>
                  <a:pt x="136" y="725"/>
                  <a:pt x="141" y="740"/>
                </a:cubicBezTo>
                <a:cubicBezTo>
                  <a:pt x="146" y="754"/>
                  <a:pt x="149" y="761"/>
                  <a:pt x="149" y="762"/>
                </a:cubicBezTo>
                <a:cubicBezTo>
                  <a:pt x="149" y="764"/>
                  <a:pt x="148" y="766"/>
                  <a:pt x="146" y="769"/>
                </a:cubicBezTo>
                <a:cubicBezTo>
                  <a:pt x="145" y="771"/>
                  <a:pt x="144" y="774"/>
                  <a:pt x="144" y="775"/>
                </a:cubicBezTo>
                <a:cubicBezTo>
                  <a:pt x="147" y="808"/>
                  <a:pt x="156" y="827"/>
                  <a:pt x="171" y="832"/>
                </a:cubicBezTo>
                <a:lnTo>
                  <a:pt x="169" y="852"/>
                </a:lnTo>
                <a:cubicBezTo>
                  <a:pt x="161" y="853"/>
                  <a:pt x="154" y="857"/>
                  <a:pt x="146" y="865"/>
                </a:cubicBezTo>
                <a:cubicBezTo>
                  <a:pt x="137" y="874"/>
                  <a:pt x="129" y="880"/>
                  <a:pt x="122" y="883"/>
                </a:cubicBezTo>
                <a:cubicBezTo>
                  <a:pt x="117" y="885"/>
                  <a:pt x="113" y="888"/>
                  <a:pt x="111" y="893"/>
                </a:cubicBezTo>
                <a:cubicBezTo>
                  <a:pt x="110" y="895"/>
                  <a:pt x="108" y="900"/>
                  <a:pt x="105" y="907"/>
                </a:cubicBezTo>
                <a:cubicBezTo>
                  <a:pt x="104" y="910"/>
                  <a:pt x="101" y="912"/>
                  <a:pt x="96" y="916"/>
                </a:cubicBezTo>
                <a:cubicBezTo>
                  <a:pt x="91" y="919"/>
                  <a:pt x="89" y="922"/>
                  <a:pt x="90" y="927"/>
                </a:cubicBezTo>
                <a:cubicBezTo>
                  <a:pt x="90" y="931"/>
                  <a:pt x="93" y="942"/>
                  <a:pt x="97" y="961"/>
                </a:cubicBezTo>
                <a:cubicBezTo>
                  <a:pt x="101" y="979"/>
                  <a:pt x="104" y="988"/>
                  <a:pt x="104" y="987"/>
                </a:cubicBezTo>
                <a:cubicBezTo>
                  <a:pt x="105" y="987"/>
                  <a:pt x="108" y="987"/>
                  <a:pt x="115" y="988"/>
                </a:cubicBezTo>
                <a:cubicBezTo>
                  <a:pt x="120" y="989"/>
                  <a:pt x="123" y="989"/>
                  <a:pt x="126" y="988"/>
                </a:cubicBezTo>
                <a:lnTo>
                  <a:pt x="128" y="992"/>
                </a:lnTo>
                <a:cubicBezTo>
                  <a:pt x="128" y="993"/>
                  <a:pt x="124" y="998"/>
                  <a:pt x="114" y="1005"/>
                </a:cubicBezTo>
                <a:cubicBezTo>
                  <a:pt x="105" y="1011"/>
                  <a:pt x="101" y="1015"/>
                  <a:pt x="100" y="1015"/>
                </a:cubicBezTo>
                <a:cubicBezTo>
                  <a:pt x="97" y="1015"/>
                  <a:pt x="94" y="1013"/>
                  <a:pt x="92" y="1011"/>
                </a:cubicBezTo>
                <a:cubicBezTo>
                  <a:pt x="89" y="1011"/>
                  <a:pt x="87" y="1012"/>
                  <a:pt x="85" y="1014"/>
                </a:cubicBezTo>
                <a:cubicBezTo>
                  <a:pt x="83" y="1016"/>
                  <a:pt x="81" y="1017"/>
                  <a:pt x="78" y="1016"/>
                </a:cubicBezTo>
                <a:cubicBezTo>
                  <a:pt x="72" y="1015"/>
                  <a:pt x="67" y="1016"/>
                  <a:pt x="65" y="1019"/>
                </a:cubicBezTo>
                <a:cubicBezTo>
                  <a:pt x="64" y="1021"/>
                  <a:pt x="61" y="1025"/>
                  <a:pt x="58" y="1031"/>
                </a:cubicBezTo>
                <a:cubicBezTo>
                  <a:pt x="55" y="1035"/>
                  <a:pt x="51" y="1038"/>
                  <a:pt x="47" y="1038"/>
                </a:cubicBezTo>
                <a:cubicBezTo>
                  <a:pt x="38" y="1040"/>
                  <a:pt x="30" y="1046"/>
                  <a:pt x="23" y="1056"/>
                </a:cubicBezTo>
                <a:cubicBezTo>
                  <a:pt x="22" y="1057"/>
                  <a:pt x="19" y="1059"/>
                  <a:pt x="13" y="1064"/>
                </a:cubicBezTo>
                <a:cubicBezTo>
                  <a:pt x="8" y="1067"/>
                  <a:pt x="5" y="1071"/>
                  <a:pt x="5" y="1075"/>
                </a:cubicBezTo>
                <a:cubicBezTo>
                  <a:pt x="5" y="1077"/>
                  <a:pt x="6" y="1079"/>
                  <a:pt x="7" y="1081"/>
                </a:cubicBezTo>
                <a:cubicBezTo>
                  <a:pt x="9" y="1083"/>
                  <a:pt x="10" y="1085"/>
                  <a:pt x="10" y="1089"/>
                </a:cubicBezTo>
                <a:cubicBezTo>
                  <a:pt x="9" y="1094"/>
                  <a:pt x="7" y="1108"/>
                  <a:pt x="3" y="1131"/>
                </a:cubicBezTo>
                <a:lnTo>
                  <a:pt x="3" y="1131"/>
                </a:lnTo>
                <a:cubicBezTo>
                  <a:pt x="3" y="1132"/>
                  <a:pt x="2" y="1134"/>
                  <a:pt x="1" y="1135"/>
                </a:cubicBezTo>
                <a:lnTo>
                  <a:pt x="0" y="1140"/>
                </a:lnTo>
                <a:cubicBezTo>
                  <a:pt x="1" y="1140"/>
                  <a:pt x="1" y="1139"/>
                  <a:pt x="2" y="1138"/>
                </a:cubicBezTo>
                <a:cubicBezTo>
                  <a:pt x="2" y="1138"/>
                  <a:pt x="2" y="1138"/>
                  <a:pt x="2" y="1138"/>
                </a:cubicBezTo>
                <a:cubicBezTo>
                  <a:pt x="7" y="1143"/>
                  <a:pt x="11" y="1146"/>
                  <a:pt x="14" y="1147"/>
                </a:cubicBezTo>
                <a:cubicBezTo>
                  <a:pt x="19" y="1148"/>
                  <a:pt x="25" y="1149"/>
                  <a:pt x="33" y="1150"/>
                </a:cubicBezTo>
                <a:cubicBezTo>
                  <a:pt x="38" y="1151"/>
                  <a:pt x="44" y="1153"/>
                  <a:pt x="49" y="1155"/>
                </a:cubicBezTo>
                <a:cubicBezTo>
                  <a:pt x="57" y="1159"/>
                  <a:pt x="62" y="1162"/>
                  <a:pt x="64" y="1162"/>
                </a:cubicBezTo>
                <a:cubicBezTo>
                  <a:pt x="64" y="1160"/>
                  <a:pt x="65" y="1157"/>
                  <a:pt x="67" y="1155"/>
                </a:cubicBezTo>
                <a:cubicBezTo>
                  <a:pt x="69" y="1155"/>
                  <a:pt x="70" y="1156"/>
                  <a:pt x="71" y="1159"/>
                </a:cubicBezTo>
                <a:cubicBezTo>
                  <a:pt x="72" y="1161"/>
                  <a:pt x="73" y="1162"/>
                  <a:pt x="75" y="1162"/>
                </a:cubicBezTo>
                <a:cubicBezTo>
                  <a:pt x="75" y="1162"/>
                  <a:pt x="75" y="1162"/>
                  <a:pt x="76" y="1162"/>
                </a:cubicBezTo>
                <a:cubicBezTo>
                  <a:pt x="74" y="1163"/>
                  <a:pt x="72" y="1165"/>
                  <a:pt x="69" y="1168"/>
                </a:cubicBezTo>
                <a:cubicBezTo>
                  <a:pt x="70" y="1174"/>
                  <a:pt x="76" y="1181"/>
                  <a:pt x="85" y="1188"/>
                </a:cubicBezTo>
                <a:cubicBezTo>
                  <a:pt x="95" y="1196"/>
                  <a:pt x="102" y="1203"/>
                  <a:pt x="105" y="1209"/>
                </a:cubicBezTo>
                <a:cubicBezTo>
                  <a:pt x="106" y="1211"/>
                  <a:pt x="108" y="1216"/>
                  <a:pt x="111" y="1222"/>
                </a:cubicBezTo>
                <a:cubicBezTo>
                  <a:pt x="114" y="1229"/>
                  <a:pt x="115" y="1233"/>
                  <a:pt x="115" y="1235"/>
                </a:cubicBezTo>
                <a:cubicBezTo>
                  <a:pt x="116" y="1238"/>
                  <a:pt x="116" y="1242"/>
                  <a:pt x="117" y="1249"/>
                </a:cubicBezTo>
                <a:cubicBezTo>
                  <a:pt x="118" y="1254"/>
                  <a:pt x="120" y="1258"/>
                  <a:pt x="124" y="1259"/>
                </a:cubicBezTo>
                <a:cubicBezTo>
                  <a:pt x="123" y="1260"/>
                  <a:pt x="120" y="1262"/>
                  <a:pt x="115" y="1265"/>
                </a:cubicBezTo>
                <a:cubicBezTo>
                  <a:pt x="111" y="1268"/>
                  <a:pt x="109" y="1271"/>
                  <a:pt x="109" y="1276"/>
                </a:cubicBezTo>
                <a:cubicBezTo>
                  <a:pt x="108" y="1285"/>
                  <a:pt x="110" y="1292"/>
                  <a:pt x="115" y="1297"/>
                </a:cubicBezTo>
                <a:cubicBezTo>
                  <a:pt x="122" y="1303"/>
                  <a:pt x="126" y="1310"/>
                  <a:pt x="126" y="1319"/>
                </a:cubicBezTo>
                <a:lnTo>
                  <a:pt x="119" y="1318"/>
                </a:lnTo>
                <a:lnTo>
                  <a:pt x="119" y="1325"/>
                </a:lnTo>
                <a:cubicBezTo>
                  <a:pt x="121" y="1331"/>
                  <a:pt x="124" y="1343"/>
                  <a:pt x="128" y="1360"/>
                </a:cubicBezTo>
                <a:cubicBezTo>
                  <a:pt x="132" y="1375"/>
                  <a:pt x="138" y="1384"/>
                  <a:pt x="145" y="1389"/>
                </a:cubicBezTo>
                <a:cubicBezTo>
                  <a:pt x="149" y="1390"/>
                  <a:pt x="152" y="1394"/>
                  <a:pt x="155" y="1400"/>
                </a:cubicBezTo>
                <a:cubicBezTo>
                  <a:pt x="159" y="1407"/>
                  <a:pt x="162" y="1411"/>
                  <a:pt x="166" y="1414"/>
                </a:cubicBezTo>
                <a:cubicBezTo>
                  <a:pt x="174" y="1420"/>
                  <a:pt x="181" y="1427"/>
                  <a:pt x="190" y="1436"/>
                </a:cubicBezTo>
                <a:cubicBezTo>
                  <a:pt x="190" y="1436"/>
                  <a:pt x="194" y="1435"/>
                  <a:pt x="201" y="1434"/>
                </a:cubicBezTo>
                <a:cubicBezTo>
                  <a:pt x="207" y="1432"/>
                  <a:pt x="211" y="1431"/>
                  <a:pt x="213" y="1430"/>
                </a:cubicBezTo>
                <a:cubicBezTo>
                  <a:pt x="215" y="1429"/>
                  <a:pt x="216" y="1426"/>
                  <a:pt x="218" y="1419"/>
                </a:cubicBezTo>
                <a:cubicBezTo>
                  <a:pt x="219" y="1413"/>
                  <a:pt x="221" y="1411"/>
                  <a:pt x="224" y="1411"/>
                </a:cubicBezTo>
                <a:cubicBezTo>
                  <a:pt x="225" y="1411"/>
                  <a:pt x="227" y="1412"/>
                  <a:pt x="229" y="1414"/>
                </a:cubicBezTo>
                <a:cubicBezTo>
                  <a:pt x="232" y="1416"/>
                  <a:pt x="233" y="1417"/>
                  <a:pt x="233" y="1417"/>
                </a:cubicBezTo>
                <a:cubicBezTo>
                  <a:pt x="235" y="1417"/>
                  <a:pt x="237" y="1415"/>
                  <a:pt x="240" y="1411"/>
                </a:cubicBezTo>
                <a:cubicBezTo>
                  <a:pt x="245" y="1404"/>
                  <a:pt x="249" y="1399"/>
                  <a:pt x="253" y="1396"/>
                </a:cubicBezTo>
                <a:cubicBezTo>
                  <a:pt x="268" y="1382"/>
                  <a:pt x="288" y="1376"/>
                  <a:pt x="314" y="1379"/>
                </a:cubicBezTo>
                <a:cubicBezTo>
                  <a:pt x="317" y="1379"/>
                  <a:pt x="321" y="1381"/>
                  <a:pt x="324" y="1383"/>
                </a:cubicBezTo>
                <a:cubicBezTo>
                  <a:pt x="328" y="1385"/>
                  <a:pt x="330" y="1386"/>
                  <a:pt x="331" y="1386"/>
                </a:cubicBezTo>
                <a:cubicBezTo>
                  <a:pt x="340" y="1387"/>
                  <a:pt x="346" y="1387"/>
                  <a:pt x="352" y="1385"/>
                </a:cubicBezTo>
                <a:cubicBezTo>
                  <a:pt x="361" y="1384"/>
                  <a:pt x="366" y="1383"/>
                  <a:pt x="369" y="1381"/>
                </a:cubicBezTo>
                <a:cubicBezTo>
                  <a:pt x="375" y="1377"/>
                  <a:pt x="379" y="1374"/>
                  <a:pt x="381" y="1372"/>
                </a:cubicBezTo>
                <a:cubicBezTo>
                  <a:pt x="386" y="1370"/>
                  <a:pt x="391" y="1369"/>
                  <a:pt x="396" y="1369"/>
                </a:cubicBezTo>
                <a:lnTo>
                  <a:pt x="398" y="1368"/>
                </a:lnTo>
                <a:lnTo>
                  <a:pt x="398" y="1368"/>
                </a:lnTo>
                <a:lnTo>
                  <a:pt x="416" y="1370"/>
                </a:lnTo>
                <a:cubicBezTo>
                  <a:pt x="418" y="1372"/>
                  <a:pt x="422" y="1373"/>
                  <a:pt x="429" y="1374"/>
                </a:cubicBezTo>
                <a:cubicBezTo>
                  <a:pt x="430" y="1374"/>
                  <a:pt x="432" y="1374"/>
                  <a:pt x="434" y="1373"/>
                </a:cubicBezTo>
                <a:cubicBezTo>
                  <a:pt x="437" y="1373"/>
                  <a:pt x="439" y="1372"/>
                  <a:pt x="441" y="1373"/>
                </a:cubicBezTo>
                <a:cubicBezTo>
                  <a:pt x="442" y="1373"/>
                  <a:pt x="446" y="1374"/>
                  <a:pt x="454" y="1377"/>
                </a:cubicBezTo>
                <a:cubicBezTo>
                  <a:pt x="461" y="1380"/>
                  <a:pt x="467" y="1382"/>
                  <a:pt x="472" y="1382"/>
                </a:cubicBezTo>
                <a:cubicBezTo>
                  <a:pt x="474" y="1382"/>
                  <a:pt x="479" y="1384"/>
                  <a:pt x="486" y="1386"/>
                </a:cubicBezTo>
                <a:cubicBezTo>
                  <a:pt x="493" y="1389"/>
                  <a:pt x="498" y="1390"/>
                  <a:pt x="503" y="1390"/>
                </a:cubicBezTo>
                <a:cubicBezTo>
                  <a:pt x="507" y="1390"/>
                  <a:pt x="511" y="1393"/>
                  <a:pt x="516" y="1398"/>
                </a:cubicBezTo>
                <a:cubicBezTo>
                  <a:pt x="520" y="1404"/>
                  <a:pt x="524" y="1407"/>
                  <a:pt x="528" y="1408"/>
                </a:cubicBezTo>
                <a:cubicBezTo>
                  <a:pt x="541" y="1406"/>
                  <a:pt x="549" y="1405"/>
                  <a:pt x="551" y="1406"/>
                </a:cubicBezTo>
                <a:cubicBezTo>
                  <a:pt x="561" y="1407"/>
                  <a:pt x="568" y="1408"/>
                  <a:pt x="572" y="1410"/>
                </a:cubicBezTo>
                <a:cubicBezTo>
                  <a:pt x="581" y="1413"/>
                  <a:pt x="589" y="1416"/>
                  <a:pt x="597" y="1418"/>
                </a:cubicBezTo>
                <a:cubicBezTo>
                  <a:pt x="599" y="1419"/>
                  <a:pt x="604" y="1422"/>
                  <a:pt x="614" y="1429"/>
                </a:cubicBezTo>
                <a:cubicBezTo>
                  <a:pt x="624" y="1435"/>
                  <a:pt x="630" y="1438"/>
                  <a:pt x="633" y="1438"/>
                </a:cubicBezTo>
                <a:cubicBezTo>
                  <a:pt x="639" y="1439"/>
                  <a:pt x="644" y="1438"/>
                  <a:pt x="647" y="1437"/>
                </a:cubicBezTo>
                <a:cubicBezTo>
                  <a:pt x="648" y="1436"/>
                  <a:pt x="650" y="1435"/>
                  <a:pt x="653" y="1431"/>
                </a:cubicBezTo>
                <a:cubicBezTo>
                  <a:pt x="659" y="1425"/>
                  <a:pt x="671" y="1424"/>
                  <a:pt x="689" y="1425"/>
                </a:cubicBezTo>
                <a:cubicBezTo>
                  <a:pt x="692" y="1426"/>
                  <a:pt x="697" y="1430"/>
                  <a:pt x="701" y="1437"/>
                </a:cubicBezTo>
                <a:cubicBezTo>
                  <a:pt x="706" y="1444"/>
                  <a:pt x="710" y="1448"/>
                  <a:pt x="714" y="1449"/>
                </a:cubicBezTo>
                <a:cubicBezTo>
                  <a:pt x="717" y="1449"/>
                  <a:pt x="721" y="1448"/>
                  <a:pt x="727" y="1445"/>
                </a:cubicBezTo>
                <a:cubicBezTo>
                  <a:pt x="732" y="1442"/>
                  <a:pt x="736" y="1440"/>
                  <a:pt x="740" y="1437"/>
                </a:cubicBezTo>
                <a:cubicBezTo>
                  <a:pt x="742" y="1435"/>
                  <a:pt x="746" y="1433"/>
                  <a:pt x="753" y="1432"/>
                </a:cubicBezTo>
                <a:cubicBezTo>
                  <a:pt x="757" y="1430"/>
                  <a:pt x="760" y="1428"/>
                  <a:pt x="760" y="1425"/>
                </a:cubicBezTo>
                <a:cubicBezTo>
                  <a:pt x="761" y="1423"/>
                  <a:pt x="765" y="1416"/>
                  <a:pt x="773" y="1404"/>
                </a:cubicBezTo>
                <a:cubicBezTo>
                  <a:pt x="780" y="1395"/>
                  <a:pt x="784" y="1389"/>
                  <a:pt x="786" y="1383"/>
                </a:cubicBezTo>
                <a:cubicBezTo>
                  <a:pt x="786" y="1382"/>
                  <a:pt x="786" y="1381"/>
                  <a:pt x="786" y="1380"/>
                </a:cubicBezTo>
                <a:cubicBezTo>
                  <a:pt x="787" y="1377"/>
                  <a:pt x="786" y="1374"/>
                  <a:pt x="785" y="1372"/>
                </a:cubicBezTo>
                <a:cubicBezTo>
                  <a:pt x="787" y="1373"/>
                  <a:pt x="789" y="1373"/>
                  <a:pt x="790" y="1373"/>
                </a:cubicBezTo>
                <a:cubicBezTo>
                  <a:pt x="796" y="1370"/>
                  <a:pt x="802" y="1367"/>
                  <a:pt x="808" y="1364"/>
                </a:cubicBezTo>
                <a:cubicBezTo>
                  <a:pt x="814" y="1361"/>
                  <a:pt x="820" y="1358"/>
                  <a:pt x="826" y="1355"/>
                </a:cubicBezTo>
                <a:cubicBezTo>
                  <a:pt x="852" y="1343"/>
                  <a:pt x="868" y="1337"/>
                  <a:pt x="877" y="1338"/>
                </a:cubicBezTo>
                <a:cubicBezTo>
                  <a:pt x="881" y="1339"/>
                  <a:pt x="884" y="1339"/>
                  <a:pt x="884" y="1339"/>
                </a:cubicBezTo>
                <a:cubicBezTo>
                  <a:pt x="887" y="1340"/>
                  <a:pt x="888" y="1342"/>
                  <a:pt x="889" y="1344"/>
                </a:cubicBezTo>
                <a:cubicBezTo>
                  <a:pt x="892" y="1344"/>
                  <a:pt x="896" y="1344"/>
                  <a:pt x="899" y="1343"/>
                </a:cubicBezTo>
                <a:cubicBezTo>
                  <a:pt x="903" y="1342"/>
                  <a:pt x="906" y="1342"/>
                  <a:pt x="908" y="1343"/>
                </a:cubicBezTo>
                <a:cubicBezTo>
                  <a:pt x="913" y="1343"/>
                  <a:pt x="917" y="1344"/>
                  <a:pt x="920" y="1346"/>
                </a:cubicBezTo>
                <a:cubicBezTo>
                  <a:pt x="924" y="1349"/>
                  <a:pt x="925" y="1350"/>
                  <a:pt x="926" y="1350"/>
                </a:cubicBezTo>
                <a:cubicBezTo>
                  <a:pt x="941" y="1348"/>
                  <a:pt x="949" y="1348"/>
                  <a:pt x="951" y="1348"/>
                </a:cubicBezTo>
                <a:cubicBezTo>
                  <a:pt x="955" y="1348"/>
                  <a:pt x="958" y="1345"/>
                  <a:pt x="960" y="1340"/>
                </a:cubicBezTo>
                <a:cubicBezTo>
                  <a:pt x="962" y="1335"/>
                  <a:pt x="963" y="1331"/>
                  <a:pt x="964" y="1328"/>
                </a:cubicBezTo>
                <a:cubicBezTo>
                  <a:pt x="963" y="1328"/>
                  <a:pt x="963" y="1328"/>
                  <a:pt x="963" y="1328"/>
                </a:cubicBezTo>
                <a:cubicBezTo>
                  <a:pt x="962" y="1329"/>
                  <a:pt x="960" y="1330"/>
                  <a:pt x="958" y="1334"/>
                </a:cubicBezTo>
                <a:cubicBezTo>
                  <a:pt x="955" y="1336"/>
                  <a:pt x="954" y="1337"/>
                  <a:pt x="952" y="1337"/>
                </a:cubicBezTo>
                <a:cubicBezTo>
                  <a:pt x="950" y="1337"/>
                  <a:pt x="948" y="1335"/>
                  <a:pt x="947" y="1330"/>
                </a:cubicBezTo>
                <a:cubicBezTo>
                  <a:pt x="946" y="1325"/>
                  <a:pt x="945" y="1322"/>
                  <a:pt x="944" y="1322"/>
                </a:cubicBezTo>
                <a:cubicBezTo>
                  <a:pt x="950" y="1321"/>
                  <a:pt x="955" y="1317"/>
                  <a:pt x="961" y="1310"/>
                </a:cubicBezTo>
                <a:cubicBezTo>
                  <a:pt x="966" y="1302"/>
                  <a:pt x="971" y="1296"/>
                  <a:pt x="974" y="1292"/>
                </a:cubicBezTo>
                <a:cubicBezTo>
                  <a:pt x="976" y="1289"/>
                  <a:pt x="980" y="1283"/>
                  <a:pt x="985" y="1272"/>
                </a:cubicBezTo>
                <a:cubicBezTo>
                  <a:pt x="989" y="1263"/>
                  <a:pt x="993" y="1258"/>
                  <a:pt x="997" y="1256"/>
                </a:cubicBezTo>
                <a:cubicBezTo>
                  <a:pt x="1006" y="1252"/>
                  <a:pt x="1011" y="1247"/>
                  <a:pt x="1014" y="1241"/>
                </a:cubicBezTo>
                <a:cubicBezTo>
                  <a:pt x="1016" y="1237"/>
                  <a:pt x="1018" y="1234"/>
                  <a:pt x="1021" y="1232"/>
                </a:cubicBezTo>
                <a:cubicBezTo>
                  <a:pt x="1023" y="1231"/>
                  <a:pt x="1027" y="1229"/>
                  <a:pt x="1033" y="1228"/>
                </a:cubicBezTo>
                <a:cubicBezTo>
                  <a:pt x="1035" y="1228"/>
                  <a:pt x="1037" y="1225"/>
                  <a:pt x="1040" y="1222"/>
                </a:cubicBezTo>
                <a:cubicBezTo>
                  <a:pt x="1044" y="1217"/>
                  <a:pt x="1046" y="1214"/>
                  <a:pt x="1048" y="1213"/>
                </a:cubicBezTo>
                <a:cubicBezTo>
                  <a:pt x="1050" y="1211"/>
                  <a:pt x="1055" y="1209"/>
                  <a:pt x="1060" y="1209"/>
                </a:cubicBezTo>
                <a:cubicBezTo>
                  <a:pt x="1064" y="1209"/>
                  <a:pt x="1066" y="1209"/>
                  <a:pt x="1069" y="1209"/>
                </a:cubicBezTo>
                <a:cubicBezTo>
                  <a:pt x="1069" y="1209"/>
                  <a:pt x="1069" y="1209"/>
                  <a:pt x="1069" y="1209"/>
                </a:cubicBezTo>
                <a:lnTo>
                  <a:pt x="1069" y="1209"/>
                </a:lnTo>
                <a:cubicBezTo>
                  <a:pt x="1075" y="1206"/>
                  <a:pt x="1080" y="1205"/>
                  <a:pt x="1087" y="1205"/>
                </a:cubicBezTo>
                <a:cubicBezTo>
                  <a:pt x="1087" y="1199"/>
                  <a:pt x="1090" y="1195"/>
                  <a:pt x="1097" y="1194"/>
                </a:cubicBezTo>
                <a:cubicBezTo>
                  <a:pt x="1101" y="1194"/>
                  <a:pt x="1104" y="1194"/>
                  <a:pt x="1106" y="1194"/>
                </a:cubicBezTo>
                <a:cubicBezTo>
                  <a:pt x="1109" y="1193"/>
                  <a:pt x="1111" y="1193"/>
                  <a:pt x="1112" y="1192"/>
                </a:cubicBezTo>
                <a:cubicBezTo>
                  <a:pt x="1119" y="1187"/>
                  <a:pt x="1127" y="1182"/>
                  <a:pt x="1138" y="1178"/>
                </a:cubicBezTo>
                <a:cubicBezTo>
                  <a:pt x="1136" y="1176"/>
                  <a:pt x="1133" y="1172"/>
                  <a:pt x="1131" y="1167"/>
                </a:cubicBezTo>
                <a:cubicBezTo>
                  <a:pt x="1128" y="1163"/>
                  <a:pt x="1126" y="1160"/>
                  <a:pt x="1123" y="1158"/>
                </a:cubicBezTo>
                <a:cubicBezTo>
                  <a:pt x="1122" y="1157"/>
                  <a:pt x="1118" y="1155"/>
                  <a:pt x="1112" y="1152"/>
                </a:cubicBezTo>
                <a:cubicBezTo>
                  <a:pt x="1106" y="1150"/>
                  <a:pt x="1103" y="1147"/>
                  <a:pt x="1100" y="1144"/>
                </a:cubicBezTo>
                <a:cubicBezTo>
                  <a:pt x="1092" y="1132"/>
                  <a:pt x="1088" y="1123"/>
                  <a:pt x="1087" y="1117"/>
                </a:cubicBezTo>
                <a:cubicBezTo>
                  <a:pt x="1087" y="1115"/>
                  <a:pt x="1087" y="1111"/>
                  <a:pt x="1088" y="1107"/>
                </a:cubicBezTo>
                <a:cubicBezTo>
                  <a:pt x="1090" y="1100"/>
                  <a:pt x="1090" y="1094"/>
                  <a:pt x="1091" y="1090"/>
                </a:cubicBezTo>
                <a:cubicBezTo>
                  <a:pt x="1091" y="1086"/>
                  <a:pt x="1090" y="1078"/>
                  <a:pt x="1087" y="1065"/>
                </a:cubicBezTo>
                <a:cubicBezTo>
                  <a:pt x="1083" y="1052"/>
                  <a:pt x="1082" y="1046"/>
                  <a:pt x="1082" y="1046"/>
                </a:cubicBezTo>
                <a:cubicBezTo>
                  <a:pt x="1082" y="1042"/>
                  <a:pt x="1090" y="1031"/>
                  <a:pt x="1105" y="1012"/>
                </a:cubicBezTo>
                <a:cubicBezTo>
                  <a:pt x="1121" y="993"/>
                  <a:pt x="1132" y="980"/>
                  <a:pt x="1141" y="973"/>
                </a:cubicBezTo>
                <a:cubicBezTo>
                  <a:pt x="1144" y="970"/>
                  <a:pt x="1150" y="965"/>
                  <a:pt x="1157" y="958"/>
                </a:cubicBezTo>
                <a:cubicBezTo>
                  <a:pt x="1164" y="951"/>
                  <a:pt x="1169" y="946"/>
                  <a:pt x="1174" y="943"/>
                </a:cubicBezTo>
                <a:cubicBezTo>
                  <a:pt x="1176" y="941"/>
                  <a:pt x="1182" y="936"/>
                  <a:pt x="1191" y="925"/>
                </a:cubicBezTo>
                <a:cubicBezTo>
                  <a:pt x="1197" y="919"/>
                  <a:pt x="1202" y="915"/>
                  <a:pt x="1208" y="914"/>
                </a:cubicBezTo>
                <a:cubicBezTo>
                  <a:pt x="1213" y="909"/>
                  <a:pt x="1225" y="899"/>
                  <a:pt x="1242" y="881"/>
                </a:cubicBezTo>
                <a:cubicBezTo>
                  <a:pt x="1257" y="867"/>
                  <a:pt x="1265" y="859"/>
                  <a:pt x="1267" y="860"/>
                </a:cubicBezTo>
                <a:cubicBezTo>
                  <a:pt x="1268" y="860"/>
                  <a:pt x="1270" y="860"/>
                  <a:pt x="1272" y="862"/>
                </a:cubicBezTo>
                <a:cubicBezTo>
                  <a:pt x="1271" y="864"/>
                  <a:pt x="1270" y="866"/>
                  <a:pt x="1269" y="868"/>
                </a:cubicBezTo>
                <a:lnTo>
                  <a:pt x="1269" y="868"/>
                </a:lnTo>
                <a:cubicBezTo>
                  <a:pt x="1270" y="868"/>
                  <a:pt x="1273" y="865"/>
                  <a:pt x="1276" y="862"/>
                </a:cubicBezTo>
                <a:cubicBezTo>
                  <a:pt x="1279" y="859"/>
                  <a:pt x="1282" y="857"/>
                  <a:pt x="1284" y="855"/>
                </a:cubicBezTo>
                <a:cubicBezTo>
                  <a:pt x="1297" y="852"/>
                  <a:pt x="1304" y="850"/>
                  <a:pt x="1304" y="847"/>
                </a:cubicBezTo>
                <a:cubicBezTo>
                  <a:pt x="1304" y="845"/>
                  <a:pt x="1302" y="843"/>
                  <a:pt x="1297" y="840"/>
                </a:cubicBezTo>
                <a:cubicBezTo>
                  <a:pt x="1292" y="837"/>
                  <a:pt x="1288" y="836"/>
                  <a:pt x="1285" y="835"/>
                </a:cubicBezTo>
                <a:lnTo>
                  <a:pt x="1286" y="826"/>
                </a:lnTo>
                <a:cubicBezTo>
                  <a:pt x="1299" y="817"/>
                  <a:pt x="1309" y="810"/>
                  <a:pt x="1316" y="806"/>
                </a:cubicBezTo>
                <a:cubicBezTo>
                  <a:pt x="1328" y="798"/>
                  <a:pt x="1338" y="794"/>
                  <a:pt x="1346" y="795"/>
                </a:cubicBezTo>
                <a:cubicBezTo>
                  <a:pt x="1349" y="795"/>
                  <a:pt x="1355" y="794"/>
                  <a:pt x="1363" y="792"/>
                </a:cubicBezTo>
                <a:cubicBezTo>
                  <a:pt x="1371" y="789"/>
                  <a:pt x="1377" y="789"/>
                  <a:pt x="1381" y="790"/>
                </a:cubicBezTo>
                <a:cubicBezTo>
                  <a:pt x="1388" y="792"/>
                  <a:pt x="1394" y="790"/>
                  <a:pt x="1399" y="785"/>
                </a:cubicBezTo>
                <a:cubicBezTo>
                  <a:pt x="1400" y="785"/>
                  <a:pt x="1406" y="785"/>
                  <a:pt x="1416" y="786"/>
                </a:cubicBezTo>
                <a:cubicBezTo>
                  <a:pt x="1424" y="787"/>
                  <a:pt x="1448" y="786"/>
                  <a:pt x="1489" y="782"/>
                </a:cubicBezTo>
                <a:cubicBezTo>
                  <a:pt x="1494" y="783"/>
                  <a:pt x="1498" y="780"/>
                  <a:pt x="1503" y="775"/>
                </a:cubicBezTo>
                <a:cubicBezTo>
                  <a:pt x="1508" y="769"/>
                  <a:pt x="1511" y="765"/>
                  <a:pt x="1513" y="764"/>
                </a:cubicBezTo>
                <a:cubicBezTo>
                  <a:pt x="1515" y="763"/>
                  <a:pt x="1520" y="761"/>
                  <a:pt x="1528" y="758"/>
                </a:cubicBezTo>
                <a:cubicBezTo>
                  <a:pt x="1536" y="755"/>
                  <a:pt x="1541" y="753"/>
                  <a:pt x="1543" y="752"/>
                </a:cubicBezTo>
                <a:cubicBezTo>
                  <a:pt x="1548" y="749"/>
                  <a:pt x="1558" y="746"/>
                  <a:pt x="1573" y="742"/>
                </a:cubicBezTo>
                <a:cubicBezTo>
                  <a:pt x="1589" y="739"/>
                  <a:pt x="1601" y="735"/>
                  <a:pt x="1608" y="732"/>
                </a:cubicBezTo>
                <a:cubicBezTo>
                  <a:pt x="1621" y="727"/>
                  <a:pt x="1632" y="723"/>
                  <a:pt x="1639" y="719"/>
                </a:cubicBezTo>
                <a:cubicBezTo>
                  <a:pt x="1653" y="712"/>
                  <a:pt x="1660" y="704"/>
                  <a:pt x="1661" y="694"/>
                </a:cubicBezTo>
                <a:cubicBezTo>
                  <a:pt x="1660" y="692"/>
                  <a:pt x="1660" y="690"/>
                  <a:pt x="1660" y="689"/>
                </a:cubicBezTo>
                <a:cubicBezTo>
                  <a:pt x="1660" y="687"/>
                  <a:pt x="1661" y="685"/>
                  <a:pt x="1663" y="681"/>
                </a:cubicBezTo>
                <a:cubicBezTo>
                  <a:pt x="1665" y="678"/>
                  <a:pt x="1666" y="675"/>
                  <a:pt x="1666" y="673"/>
                </a:cubicBezTo>
                <a:cubicBezTo>
                  <a:pt x="1666" y="670"/>
                  <a:pt x="1665" y="667"/>
                  <a:pt x="1661" y="664"/>
                </a:cubicBezTo>
                <a:cubicBezTo>
                  <a:pt x="1658" y="661"/>
                  <a:pt x="1656" y="660"/>
                  <a:pt x="1654" y="659"/>
                </a:cubicBezTo>
                <a:lnTo>
                  <a:pt x="1655" y="654"/>
                </a:lnTo>
                <a:cubicBezTo>
                  <a:pt x="1655" y="649"/>
                  <a:pt x="1657" y="645"/>
                  <a:pt x="1660" y="644"/>
                </a:cubicBezTo>
                <a:cubicBezTo>
                  <a:pt x="1662" y="642"/>
                  <a:pt x="1666" y="642"/>
                  <a:pt x="1671" y="643"/>
                </a:cubicBezTo>
                <a:cubicBezTo>
                  <a:pt x="1676" y="643"/>
                  <a:pt x="1680" y="643"/>
                  <a:pt x="1681" y="643"/>
                </a:cubicBezTo>
                <a:cubicBezTo>
                  <a:pt x="1685" y="642"/>
                  <a:pt x="1687" y="638"/>
                  <a:pt x="1687" y="633"/>
                </a:cubicBezTo>
                <a:cubicBezTo>
                  <a:pt x="1688" y="630"/>
                  <a:pt x="1686" y="628"/>
                  <a:pt x="1683" y="627"/>
                </a:cubicBezTo>
                <a:lnTo>
                  <a:pt x="1683" y="62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" name="Freeform 210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" name="Freeform 211"/>
          <p:cNvSpPr/>
          <p:nvPr/>
        </p:nvSpPr>
        <p:spPr bwMode="auto">
          <a:xfrm>
            <a:off x="8982615" y="4638035"/>
            <a:ext cx="407020" cy="267271"/>
          </a:xfrm>
          <a:custGeom>
            <a:avLst/>
            <a:gdLst>
              <a:gd name="T0" fmla="*/ 0 w 390"/>
              <a:gd name="T1" fmla="*/ 107 h 255"/>
              <a:gd name="T2" fmla="*/ 31 w 390"/>
              <a:gd name="T3" fmla="*/ 115 h 255"/>
              <a:gd name="T4" fmla="*/ 8 w 390"/>
              <a:gd name="T5" fmla="*/ 143 h 255"/>
              <a:gd name="T6" fmla="*/ 19 w 390"/>
              <a:gd name="T7" fmla="*/ 153 h 255"/>
              <a:gd name="T8" fmla="*/ 24 w 390"/>
              <a:gd name="T9" fmla="*/ 155 h 255"/>
              <a:gd name="T10" fmla="*/ 22 w 390"/>
              <a:gd name="T11" fmla="*/ 175 h 255"/>
              <a:gd name="T12" fmla="*/ 46 w 390"/>
              <a:gd name="T13" fmla="*/ 196 h 255"/>
              <a:gd name="T14" fmla="*/ 51 w 390"/>
              <a:gd name="T15" fmla="*/ 218 h 255"/>
              <a:gd name="T16" fmla="*/ 42 w 390"/>
              <a:gd name="T17" fmla="*/ 220 h 255"/>
              <a:gd name="T18" fmla="*/ 31 w 390"/>
              <a:gd name="T19" fmla="*/ 226 h 255"/>
              <a:gd name="T20" fmla="*/ 15 w 390"/>
              <a:gd name="T21" fmla="*/ 234 h 255"/>
              <a:gd name="T22" fmla="*/ 30 w 390"/>
              <a:gd name="T23" fmla="*/ 245 h 255"/>
              <a:gd name="T24" fmla="*/ 62 w 390"/>
              <a:gd name="T25" fmla="*/ 246 h 255"/>
              <a:gd name="T26" fmla="*/ 91 w 390"/>
              <a:gd name="T27" fmla="*/ 241 h 255"/>
              <a:gd name="T28" fmla="*/ 123 w 390"/>
              <a:gd name="T29" fmla="*/ 240 h 255"/>
              <a:gd name="T30" fmla="*/ 143 w 390"/>
              <a:gd name="T31" fmla="*/ 213 h 255"/>
              <a:gd name="T32" fmla="*/ 179 w 390"/>
              <a:gd name="T33" fmla="*/ 246 h 255"/>
              <a:gd name="T34" fmla="*/ 199 w 390"/>
              <a:gd name="T35" fmla="*/ 248 h 255"/>
              <a:gd name="T36" fmla="*/ 235 w 390"/>
              <a:gd name="T37" fmla="*/ 250 h 255"/>
              <a:gd name="T38" fmla="*/ 233 w 390"/>
              <a:gd name="T39" fmla="*/ 223 h 255"/>
              <a:gd name="T40" fmla="*/ 223 w 390"/>
              <a:gd name="T41" fmla="*/ 210 h 255"/>
              <a:gd name="T42" fmla="*/ 272 w 390"/>
              <a:gd name="T43" fmla="*/ 186 h 255"/>
              <a:gd name="T44" fmla="*/ 286 w 390"/>
              <a:gd name="T45" fmla="*/ 181 h 255"/>
              <a:gd name="T46" fmla="*/ 284 w 390"/>
              <a:gd name="T47" fmla="*/ 161 h 255"/>
              <a:gd name="T48" fmla="*/ 286 w 390"/>
              <a:gd name="T49" fmla="*/ 150 h 255"/>
              <a:gd name="T50" fmla="*/ 279 w 390"/>
              <a:gd name="T51" fmla="*/ 122 h 255"/>
              <a:gd name="T52" fmla="*/ 306 w 390"/>
              <a:gd name="T53" fmla="*/ 112 h 255"/>
              <a:gd name="T54" fmla="*/ 315 w 390"/>
              <a:gd name="T55" fmla="*/ 104 h 255"/>
              <a:gd name="T56" fmla="*/ 337 w 390"/>
              <a:gd name="T57" fmla="*/ 85 h 255"/>
              <a:gd name="T58" fmla="*/ 350 w 390"/>
              <a:gd name="T59" fmla="*/ 72 h 255"/>
              <a:gd name="T60" fmla="*/ 377 w 390"/>
              <a:gd name="T61" fmla="*/ 67 h 255"/>
              <a:gd name="T62" fmla="*/ 390 w 390"/>
              <a:gd name="T63" fmla="*/ 71 h 255"/>
              <a:gd name="T64" fmla="*/ 376 w 390"/>
              <a:gd name="T65" fmla="*/ 55 h 255"/>
              <a:gd name="T66" fmla="*/ 361 w 390"/>
              <a:gd name="T67" fmla="*/ 21 h 255"/>
              <a:gd name="T68" fmla="*/ 337 w 390"/>
              <a:gd name="T69" fmla="*/ 1 h 255"/>
              <a:gd name="T70" fmla="*/ 320 w 390"/>
              <a:gd name="T71" fmla="*/ 26 h 255"/>
              <a:gd name="T72" fmla="*/ 304 w 390"/>
              <a:gd name="T73" fmla="*/ 28 h 255"/>
              <a:gd name="T74" fmla="*/ 280 w 390"/>
              <a:gd name="T75" fmla="*/ 30 h 255"/>
              <a:gd name="T76" fmla="*/ 249 w 390"/>
              <a:gd name="T77" fmla="*/ 42 h 255"/>
              <a:gd name="T78" fmla="*/ 217 w 390"/>
              <a:gd name="T79" fmla="*/ 41 h 255"/>
              <a:gd name="T80" fmla="*/ 190 w 390"/>
              <a:gd name="T81" fmla="*/ 44 h 255"/>
              <a:gd name="T82" fmla="*/ 154 w 390"/>
              <a:gd name="T83" fmla="*/ 71 h 255"/>
              <a:gd name="T84" fmla="*/ 144 w 390"/>
              <a:gd name="T85" fmla="*/ 82 h 255"/>
              <a:gd name="T86" fmla="*/ 122 w 390"/>
              <a:gd name="T87" fmla="*/ 73 h 255"/>
              <a:gd name="T88" fmla="*/ 57 w 390"/>
              <a:gd name="T89" fmla="*/ 56 h 255"/>
              <a:gd name="T90" fmla="*/ 25 w 390"/>
              <a:gd name="T91" fmla="*/ 66 h 255"/>
              <a:gd name="T92" fmla="*/ 1 w 390"/>
              <a:gd name="T93" fmla="*/ 93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255">
                <a:moveTo>
                  <a:pt x="1" y="93"/>
                </a:moveTo>
                <a:lnTo>
                  <a:pt x="1" y="93"/>
                </a:lnTo>
                <a:lnTo>
                  <a:pt x="0" y="107"/>
                </a:lnTo>
                <a:cubicBezTo>
                  <a:pt x="2" y="107"/>
                  <a:pt x="4" y="107"/>
                  <a:pt x="7" y="106"/>
                </a:cubicBezTo>
                <a:cubicBezTo>
                  <a:pt x="10" y="106"/>
                  <a:pt x="13" y="109"/>
                  <a:pt x="18" y="113"/>
                </a:cubicBezTo>
                <a:cubicBezTo>
                  <a:pt x="23" y="117"/>
                  <a:pt x="27" y="117"/>
                  <a:pt x="31" y="115"/>
                </a:cubicBezTo>
                <a:cubicBezTo>
                  <a:pt x="32" y="117"/>
                  <a:pt x="33" y="118"/>
                  <a:pt x="33" y="119"/>
                </a:cubicBezTo>
                <a:cubicBezTo>
                  <a:pt x="32" y="119"/>
                  <a:pt x="29" y="123"/>
                  <a:pt x="21" y="129"/>
                </a:cubicBezTo>
                <a:cubicBezTo>
                  <a:pt x="13" y="137"/>
                  <a:pt x="9" y="141"/>
                  <a:pt x="8" y="143"/>
                </a:cubicBezTo>
                <a:cubicBezTo>
                  <a:pt x="8" y="145"/>
                  <a:pt x="9" y="147"/>
                  <a:pt x="11" y="150"/>
                </a:cubicBezTo>
                <a:cubicBezTo>
                  <a:pt x="13" y="153"/>
                  <a:pt x="15" y="155"/>
                  <a:pt x="16" y="155"/>
                </a:cubicBezTo>
                <a:cubicBezTo>
                  <a:pt x="17" y="155"/>
                  <a:pt x="18" y="154"/>
                  <a:pt x="19" y="153"/>
                </a:cubicBezTo>
                <a:cubicBezTo>
                  <a:pt x="19" y="152"/>
                  <a:pt x="20" y="151"/>
                  <a:pt x="21" y="150"/>
                </a:cubicBezTo>
                <a:cubicBezTo>
                  <a:pt x="22" y="150"/>
                  <a:pt x="23" y="151"/>
                  <a:pt x="24" y="153"/>
                </a:cubicBezTo>
                <a:cubicBezTo>
                  <a:pt x="24" y="153"/>
                  <a:pt x="24" y="154"/>
                  <a:pt x="24" y="155"/>
                </a:cubicBezTo>
                <a:cubicBezTo>
                  <a:pt x="24" y="155"/>
                  <a:pt x="23" y="159"/>
                  <a:pt x="23" y="159"/>
                </a:cubicBezTo>
                <a:cubicBezTo>
                  <a:pt x="24" y="161"/>
                  <a:pt x="25" y="162"/>
                  <a:pt x="24" y="165"/>
                </a:cubicBezTo>
                <a:cubicBezTo>
                  <a:pt x="24" y="166"/>
                  <a:pt x="23" y="169"/>
                  <a:pt x="22" y="175"/>
                </a:cubicBezTo>
                <a:cubicBezTo>
                  <a:pt x="21" y="178"/>
                  <a:pt x="24" y="181"/>
                  <a:pt x="31" y="184"/>
                </a:cubicBezTo>
                <a:cubicBezTo>
                  <a:pt x="34" y="186"/>
                  <a:pt x="38" y="188"/>
                  <a:pt x="43" y="190"/>
                </a:cubicBezTo>
                <a:cubicBezTo>
                  <a:pt x="44" y="190"/>
                  <a:pt x="45" y="192"/>
                  <a:pt x="46" y="196"/>
                </a:cubicBezTo>
                <a:cubicBezTo>
                  <a:pt x="46" y="199"/>
                  <a:pt x="47" y="201"/>
                  <a:pt x="48" y="202"/>
                </a:cubicBezTo>
                <a:cubicBezTo>
                  <a:pt x="49" y="205"/>
                  <a:pt x="52" y="209"/>
                  <a:pt x="56" y="212"/>
                </a:cubicBezTo>
                <a:cubicBezTo>
                  <a:pt x="54" y="213"/>
                  <a:pt x="53" y="215"/>
                  <a:pt x="51" y="218"/>
                </a:cubicBezTo>
                <a:cubicBezTo>
                  <a:pt x="51" y="220"/>
                  <a:pt x="49" y="220"/>
                  <a:pt x="46" y="220"/>
                </a:cubicBezTo>
                <a:cubicBezTo>
                  <a:pt x="44" y="220"/>
                  <a:pt x="43" y="219"/>
                  <a:pt x="42" y="219"/>
                </a:cubicBezTo>
                <a:lnTo>
                  <a:pt x="42" y="220"/>
                </a:lnTo>
                <a:cubicBezTo>
                  <a:pt x="40" y="220"/>
                  <a:pt x="39" y="220"/>
                  <a:pt x="38" y="220"/>
                </a:cubicBezTo>
                <a:cubicBezTo>
                  <a:pt x="36" y="220"/>
                  <a:pt x="34" y="220"/>
                  <a:pt x="34" y="219"/>
                </a:cubicBezTo>
                <a:cubicBezTo>
                  <a:pt x="33" y="219"/>
                  <a:pt x="32" y="222"/>
                  <a:pt x="31" y="226"/>
                </a:cubicBezTo>
                <a:cubicBezTo>
                  <a:pt x="29" y="228"/>
                  <a:pt x="28" y="229"/>
                  <a:pt x="26" y="229"/>
                </a:cubicBezTo>
                <a:cubicBezTo>
                  <a:pt x="23" y="229"/>
                  <a:pt x="21" y="230"/>
                  <a:pt x="19" y="231"/>
                </a:cubicBezTo>
                <a:cubicBezTo>
                  <a:pt x="17" y="233"/>
                  <a:pt x="16" y="234"/>
                  <a:pt x="15" y="234"/>
                </a:cubicBezTo>
                <a:cubicBezTo>
                  <a:pt x="15" y="236"/>
                  <a:pt x="16" y="237"/>
                  <a:pt x="15" y="238"/>
                </a:cubicBezTo>
                <a:cubicBezTo>
                  <a:pt x="17" y="239"/>
                  <a:pt x="18" y="239"/>
                  <a:pt x="20" y="241"/>
                </a:cubicBezTo>
                <a:cubicBezTo>
                  <a:pt x="25" y="243"/>
                  <a:pt x="28" y="245"/>
                  <a:pt x="30" y="245"/>
                </a:cubicBezTo>
                <a:cubicBezTo>
                  <a:pt x="31" y="245"/>
                  <a:pt x="34" y="245"/>
                  <a:pt x="38" y="244"/>
                </a:cubicBezTo>
                <a:cubicBezTo>
                  <a:pt x="44" y="245"/>
                  <a:pt x="49" y="247"/>
                  <a:pt x="51" y="251"/>
                </a:cubicBezTo>
                <a:cubicBezTo>
                  <a:pt x="56" y="249"/>
                  <a:pt x="59" y="247"/>
                  <a:pt x="62" y="246"/>
                </a:cubicBezTo>
                <a:cubicBezTo>
                  <a:pt x="66" y="244"/>
                  <a:pt x="68" y="241"/>
                  <a:pt x="68" y="237"/>
                </a:cubicBezTo>
                <a:cubicBezTo>
                  <a:pt x="69" y="238"/>
                  <a:pt x="74" y="239"/>
                  <a:pt x="82" y="243"/>
                </a:cubicBezTo>
                <a:cubicBezTo>
                  <a:pt x="84" y="243"/>
                  <a:pt x="87" y="242"/>
                  <a:pt x="91" y="241"/>
                </a:cubicBezTo>
                <a:cubicBezTo>
                  <a:pt x="96" y="239"/>
                  <a:pt x="99" y="238"/>
                  <a:pt x="100" y="238"/>
                </a:cubicBezTo>
                <a:cubicBezTo>
                  <a:pt x="100" y="238"/>
                  <a:pt x="104" y="240"/>
                  <a:pt x="110" y="243"/>
                </a:cubicBezTo>
                <a:cubicBezTo>
                  <a:pt x="114" y="243"/>
                  <a:pt x="118" y="242"/>
                  <a:pt x="123" y="240"/>
                </a:cubicBezTo>
                <a:cubicBezTo>
                  <a:pt x="128" y="238"/>
                  <a:pt x="131" y="235"/>
                  <a:pt x="131" y="232"/>
                </a:cubicBezTo>
                <a:cubicBezTo>
                  <a:pt x="131" y="226"/>
                  <a:pt x="132" y="221"/>
                  <a:pt x="135" y="219"/>
                </a:cubicBezTo>
                <a:cubicBezTo>
                  <a:pt x="135" y="219"/>
                  <a:pt x="138" y="217"/>
                  <a:pt x="143" y="213"/>
                </a:cubicBezTo>
                <a:cubicBezTo>
                  <a:pt x="145" y="215"/>
                  <a:pt x="149" y="221"/>
                  <a:pt x="156" y="232"/>
                </a:cubicBezTo>
                <a:cubicBezTo>
                  <a:pt x="163" y="243"/>
                  <a:pt x="168" y="249"/>
                  <a:pt x="172" y="249"/>
                </a:cubicBezTo>
                <a:cubicBezTo>
                  <a:pt x="174" y="249"/>
                  <a:pt x="176" y="248"/>
                  <a:pt x="179" y="246"/>
                </a:cubicBezTo>
                <a:cubicBezTo>
                  <a:pt x="183" y="243"/>
                  <a:pt x="184" y="241"/>
                  <a:pt x="185" y="240"/>
                </a:cubicBezTo>
                <a:lnTo>
                  <a:pt x="188" y="240"/>
                </a:lnTo>
                <a:cubicBezTo>
                  <a:pt x="189" y="240"/>
                  <a:pt x="193" y="243"/>
                  <a:pt x="199" y="248"/>
                </a:cubicBezTo>
                <a:cubicBezTo>
                  <a:pt x="205" y="252"/>
                  <a:pt x="209" y="254"/>
                  <a:pt x="210" y="255"/>
                </a:cubicBezTo>
                <a:cubicBezTo>
                  <a:pt x="211" y="255"/>
                  <a:pt x="214" y="254"/>
                  <a:pt x="221" y="251"/>
                </a:cubicBezTo>
                <a:cubicBezTo>
                  <a:pt x="228" y="250"/>
                  <a:pt x="233" y="249"/>
                  <a:pt x="235" y="250"/>
                </a:cubicBezTo>
                <a:cubicBezTo>
                  <a:pt x="234" y="248"/>
                  <a:pt x="233" y="245"/>
                  <a:pt x="230" y="240"/>
                </a:cubicBezTo>
                <a:cubicBezTo>
                  <a:pt x="228" y="236"/>
                  <a:pt x="228" y="233"/>
                  <a:pt x="228" y="230"/>
                </a:cubicBezTo>
                <a:cubicBezTo>
                  <a:pt x="228" y="227"/>
                  <a:pt x="230" y="225"/>
                  <a:pt x="233" y="223"/>
                </a:cubicBezTo>
                <a:cubicBezTo>
                  <a:pt x="237" y="220"/>
                  <a:pt x="239" y="218"/>
                  <a:pt x="240" y="217"/>
                </a:cubicBezTo>
                <a:cubicBezTo>
                  <a:pt x="236" y="217"/>
                  <a:pt x="233" y="215"/>
                  <a:pt x="230" y="215"/>
                </a:cubicBezTo>
                <a:cubicBezTo>
                  <a:pt x="225" y="213"/>
                  <a:pt x="222" y="212"/>
                  <a:pt x="223" y="210"/>
                </a:cubicBezTo>
                <a:cubicBezTo>
                  <a:pt x="227" y="207"/>
                  <a:pt x="232" y="205"/>
                  <a:pt x="236" y="203"/>
                </a:cubicBezTo>
                <a:cubicBezTo>
                  <a:pt x="246" y="198"/>
                  <a:pt x="251" y="193"/>
                  <a:pt x="252" y="187"/>
                </a:cubicBezTo>
                <a:cubicBezTo>
                  <a:pt x="256" y="188"/>
                  <a:pt x="263" y="187"/>
                  <a:pt x="272" y="186"/>
                </a:cubicBezTo>
                <a:lnTo>
                  <a:pt x="272" y="187"/>
                </a:lnTo>
                <a:cubicBezTo>
                  <a:pt x="273" y="186"/>
                  <a:pt x="276" y="185"/>
                  <a:pt x="280" y="184"/>
                </a:cubicBezTo>
                <a:cubicBezTo>
                  <a:pt x="284" y="183"/>
                  <a:pt x="285" y="182"/>
                  <a:pt x="286" y="181"/>
                </a:cubicBezTo>
                <a:cubicBezTo>
                  <a:pt x="286" y="180"/>
                  <a:pt x="285" y="178"/>
                  <a:pt x="284" y="176"/>
                </a:cubicBezTo>
                <a:cubicBezTo>
                  <a:pt x="282" y="173"/>
                  <a:pt x="282" y="171"/>
                  <a:pt x="282" y="168"/>
                </a:cubicBezTo>
                <a:cubicBezTo>
                  <a:pt x="282" y="166"/>
                  <a:pt x="283" y="163"/>
                  <a:pt x="284" y="161"/>
                </a:cubicBezTo>
                <a:cubicBezTo>
                  <a:pt x="285" y="159"/>
                  <a:pt x="285" y="156"/>
                  <a:pt x="286" y="154"/>
                </a:cubicBezTo>
                <a:cubicBezTo>
                  <a:pt x="286" y="153"/>
                  <a:pt x="286" y="153"/>
                  <a:pt x="286" y="153"/>
                </a:cubicBezTo>
                <a:cubicBezTo>
                  <a:pt x="286" y="152"/>
                  <a:pt x="286" y="151"/>
                  <a:pt x="286" y="150"/>
                </a:cubicBezTo>
                <a:cubicBezTo>
                  <a:pt x="286" y="149"/>
                  <a:pt x="284" y="146"/>
                  <a:pt x="278" y="142"/>
                </a:cubicBezTo>
                <a:cubicBezTo>
                  <a:pt x="272" y="139"/>
                  <a:pt x="271" y="134"/>
                  <a:pt x="273" y="130"/>
                </a:cubicBezTo>
                <a:cubicBezTo>
                  <a:pt x="275" y="126"/>
                  <a:pt x="277" y="123"/>
                  <a:pt x="279" y="122"/>
                </a:cubicBezTo>
                <a:cubicBezTo>
                  <a:pt x="281" y="120"/>
                  <a:pt x="286" y="119"/>
                  <a:pt x="295" y="119"/>
                </a:cubicBezTo>
                <a:cubicBezTo>
                  <a:pt x="295" y="118"/>
                  <a:pt x="295" y="116"/>
                  <a:pt x="295" y="116"/>
                </a:cubicBezTo>
                <a:cubicBezTo>
                  <a:pt x="298" y="116"/>
                  <a:pt x="302" y="115"/>
                  <a:pt x="306" y="112"/>
                </a:cubicBezTo>
                <a:cubicBezTo>
                  <a:pt x="308" y="110"/>
                  <a:pt x="310" y="109"/>
                  <a:pt x="312" y="108"/>
                </a:cubicBezTo>
                <a:lnTo>
                  <a:pt x="311" y="107"/>
                </a:lnTo>
                <a:cubicBezTo>
                  <a:pt x="312" y="106"/>
                  <a:pt x="313" y="105"/>
                  <a:pt x="315" y="104"/>
                </a:cubicBezTo>
                <a:cubicBezTo>
                  <a:pt x="317" y="101"/>
                  <a:pt x="320" y="99"/>
                  <a:pt x="323" y="99"/>
                </a:cubicBezTo>
                <a:cubicBezTo>
                  <a:pt x="325" y="99"/>
                  <a:pt x="327" y="96"/>
                  <a:pt x="330" y="92"/>
                </a:cubicBezTo>
                <a:cubicBezTo>
                  <a:pt x="334" y="87"/>
                  <a:pt x="336" y="85"/>
                  <a:pt x="337" y="85"/>
                </a:cubicBezTo>
                <a:cubicBezTo>
                  <a:pt x="340" y="86"/>
                  <a:pt x="346" y="87"/>
                  <a:pt x="355" y="90"/>
                </a:cubicBezTo>
                <a:cubicBezTo>
                  <a:pt x="357" y="91"/>
                  <a:pt x="358" y="90"/>
                  <a:pt x="358" y="89"/>
                </a:cubicBezTo>
                <a:lnTo>
                  <a:pt x="350" y="72"/>
                </a:lnTo>
                <a:cubicBezTo>
                  <a:pt x="350" y="70"/>
                  <a:pt x="352" y="68"/>
                  <a:pt x="355" y="66"/>
                </a:cubicBezTo>
                <a:cubicBezTo>
                  <a:pt x="359" y="64"/>
                  <a:pt x="362" y="63"/>
                  <a:pt x="365" y="63"/>
                </a:cubicBezTo>
                <a:cubicBezTo>
                  <a:pt x="369" y="63"/>
                  <a:pt x="374" y="65"/>
                  <a:pt x="377" y="67"/>
                </a:cubicBezTo>
                <a:cubicBezTo>
                  <a:pt x="380" y="70"/>
                  <a:pt x="384" y="71"/>
                  <a:pt x="386" y="72"/>
                </a:cubicBezTo>
                <a:cubicBezTo>
                  <a:pt x="386" y="72"/>
                  <a:pt x="387" y="72"/>
                  <a:pt x="387" y="72"/>
                </a:cubicBezTo>
                <a:cubicBezTo>
                  <a:pt x="388" y="72"/>
                  <a:pt x="389" y="71"/>
                  <a:pt x="390" y="71"/>
                </a:cubicBezTo>
                <a:cubicBezTo>
                  <a:pt x="390" y="70"/>
                  <a:pt x="390" y="70"/>
                  <a:pt x="390" y="71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84" y="62"/>
                  <a:pt x="379" y="58"/>
                  <a:pt x="376" y="55"/>
                </a:cubicBezTo>
                <a:cubicBezTo>
                  <a:pt x="373" y="51"/>
                  <a:pt x="371" y="46"/>
                  <a:pt x="372" y="40"/>
                </a:cubicBezTo>
                <a:cubicBezTo>
                  <a:pt x="372" y="37"/>
                  <a:pt x="370" y="33"/>
                  <a:pt x="367" y="29"/>
                </a:cubicBezTo>
                <a:cubicBezTo>
                  <a:pt x="363" y="24"/>
                  <a:pt x="360" y="22"/>
                  <a:pt x="361" y="21"/>
                </a:cubicBezTo>
                <a:cubicBezTo>
                  <a:pt x="362" y="17"/>
                  <a:pt x="363" y="15"/>
                  <a:pt x="363" y="13"/>
                </a:cubicBezTo>
                <a:cubicBezTo>
                  <a:pt x="364" y="6"/>
                  <a:pt x="356" y="2"/>
                  <a:pt x="341" y="0"/>
                </a:cubicBezTo>
                <a:cubicBezTo>
                  <a:pt x="340" y="0"/>
                  <a:pt x="339" y="1"/>
                  <a:pt x="337" y="1"/>
                </a:cubicBezTo>
                <a:cubicBezTo>
                  <a:pt x="335" y="2"/>
                  <a:pt x="332" y="4"/>
                  <a:pt x="329" y="6"/>
                </a:cubicBezTo>
                <a:cubicBezTo>
                  <a:pt x="322" y="11"/>
                  <a:pt x="319" y="14"/>
                  <a:pt x="319" y="16"/>
                </a:cubicBezTo>
                <a:cubicBezTo>
                  <a:pt x="319" y="21"/>
                  <a:pt x="319" y="24"/>
                  <a:pt x="320" y="26"/>
                </a:cubicBezTo>
                <a:cubicBezTo>
                  <a:pt x="323" y="30"/>
                  <a:pt x="324" y="34"/>
                  <a:pt x="325" y="37"/>
                </a:cubicBezTo>
                <a:lnTo>
                  <a:pt x="321" y="37"/>
                </a:lnTo>
                <a:cubicBezTo>
                  <a:pt x="313" y="31"/>
                  <a:pt x="307" y="28"/>
                  <a:pt x="304" y="28"/>
                </a:cubicBezTo>
                <a:cubicBezTo>
                  <a:pt x="302" y="27"/>
                  <a:pt x="299" y="28"/>
                  <a:pt x="295" y="30"/>
                </a:cubicBezTo>
                <a:cubicBezTo>
                  <a:pt x="291" y="32"/>
                  <a:pt x="288" y="33"/>
                  <a:pt x="287" y="32"/>
                </a:cubicBezTo>
                <a:cubicBezTo>
                  <a:pt x="283" y="31"/>
                  <a:pt x="281" y="30"/>
                  <a:pt x="280" y="30"/>
                </a:cubicBezTo>
                <a:cubicBezTo>
                  <a:pt x="277" y="30"/>
                  <a:pt x="273" y="32"/>
                  <a:pt x="267" y="38"/>
                </a:cubicBezTo>
                <a:cubicBezTo>
                  <a:pt x="262" y="43"/>
                  <a:pt x="258" y="46"/>
                  <a:pt x="256" y="46"/>
                </a:cubicBezTo>
                <a:cubicBezTo>
                  <a:pt x="254" y="46"/>
                  <a:pt x="252" y="44"/>
                  <a:pt x="249" y="42"/>
                </a:cubicBezTo>
                <a:cubicBezTo>
                  <a:pt x="246" y="41"/>
                  <a:pt x="244" y="40"/>
                  <a:pt x="242" y="39"/>
                </a:cubicBezTo>
                <a:cubicBezTo>
                  <a:pt x="241" y="39"/>
                  <a:pt x="238" y="40"/>
                  <a:pt x="232" y="41"/>
                </a:cubicBezTo>
                <a:cubicBezTo>
                  <a:pt x="227" y="41"/>
                  <a:pt x="222" y="41"/>
                  <a:pt x="217" y="41"/>
                </a:cubicBezTo>
                <a:cubicBezTo>
                  <a:pt x="210" y="40"/>
                  <a:pt x="205" y="40"/>
                  <a:pt x="204" y="40"/>
                </a:cubicBezTo>
                <a:cubicBezTo>
                  <a:pt x="199" y="40"/>
                  <a:pt x="196" y="42"/>
                  <a:pt x="195" y="46"/>
                </a:cubicBezTo>
                <a:cubicBezTo>
                  <a:pt x="194" y="45"/>
                  <a:pt x="193" y="44"/>
                  <a:pt x="190" y="44"/>
                </a:cubicBezTo>
                <a:cubicBezTo>
                  <a:pt x="187" y="43"/>
                  <a:pt x="183" y="46"/>
                  <a:pt x="178" y="51"/>
                </a:cubicBezTo>
                <a:cubicBezTo>
                  <a:pt x="171" y="57"/>
                  <a:pt x="168" y="61"/>
                  <a:pt x="167" y="61"/>
                </a:cubicBezTo>
                <a:cubicBezTo>
                  <a:pt x="160" y="67"/>
                  <a:pt x="156" y="71"/>
                  <a:pt x="154" y="71"/>
                </a:cubicBezTo>
                <a:cubicBezTo>
                  <a:pt x="147" y="74"/>
                  <a:pt x="144" y="78"/>
                  <a:pt x="144" y="82"/>
                </a:cubicBezTo>
                <a:lnTo>
                  <a:pt x="144" y="83"/>
                </a:lnTo>
                <a:cubicBezTo>
                  <a:pt x="144" y="82"/>
                  <a:pt x="144" y="82"/>
                  <a:pt x="144" y="82"/>
                </a:cubicBezTo>
                <a:lnTo>
                  <a:pt x="144" y="82"/>
                </a:lnTo>
                <a:cubicBezTo>
                  <a:pt x="142" y="80"/>
                  <a:pt x="138" y="78"/>
                  <a:pt x="131" y="76"/>
                </a:cubicBezTo>
                <a:cubicBezTo>
                  <a:pt x="125" y="74"/>
                  <a:pt x="122" y="73"/>
                  <a:pt x="122" y="73"/>
                </a:cubicBezTo>
                <a:cubicBezTo>
                  <a:pt x="116" y="75"/>
                  <a:pt x="112" y="76"/>
                  <a:pt x="110" y="76"/>
                </a:cubicBezTo>
                <a:cubicBezTo>
                  <a:pt x="102" y="75"/>
                  <a:pt x="93" y="72"/>
                  <a:pt x="83" y="66"/>
                </a:cubicBezTo>
                <a:cubicBezTo>
                  <a:pt x="74" y="60"/>
                  <a:pt x="65" y="57"/>
                  <a:pt x="57" y="56"/>
                </a:cubicBezTo>
                <a:cubicBezTo>
                  <a:pt x="52" y="57"/>
                  <a:pt x="46" y="57"/>
                  <a:pt x="39" y="56"/>
                </a:cubicBezTo>
                <a:cubicBezTo>
                  <a:pt x="38" y="61"/>
                  <a:pt x="37" y="64"/>
                  <a:pt x="36" y="65"/>
                </a:cubicBezTo>
                <a:cubicBezTo>
                  <a:pt x="34" y="68"/>
                  <a:pt x="30" y="68"/>
                  <a:pt x="25" y="66"/>
                </a:cubicBezTo>
                <a:cubicBezTo>
                  <a:pt x="24" y="70"/>
                  <a:pt x="20" y="74"/>
                  <a:pt x="13" y="79"/>
                </a:cubicBezTo>
                <a:cubicBezTo>
                  <a:pt x="6" y="83"/>
                  <a:pt x="3" y="88"/>
                  <a:pt x="1" y="93"/>
                </a:cubicBezTo>
                <a:lnTo>
                  <a:pt x="1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" name="Freeform 212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" name="Freeform 213"/>
          <p:cNvSpPr/>
          <p:nvPr/>
        </p:nvSpPr>
        <p:spPr bwMode="auto">
          <a:xfrm>
            <a:off x="9429813" y="4127950"/>
            <a:ext cx="695253" cy="349373"/>
          </a:xfrm>
          <a:custGeom>
            <a:avLst/>
            <a:gdLst>
              <a:gd name="T0" fmla="*/ 228 w 665"/>
              <a:gd name="T1" fmla="*/ 15 h 334"/>
              <a:gd name="T2" fmla="*/ 194 w 665"/>
              <a:gd name="T3" fmla="*/ 29 h 334"/>
              <a:gd name="T4" fmla="*/ 168 w 665"/>
              <a:gd name="T5" fmla="*/ 54 h 334"/>
              <a:gd name="T6" fmla="*/ 146 w 665"/>
              <a:gd name="T7" fmla="*/ 81 h 334"/>
              <a:gd name="T8" fmla="*/ 142 w 665"/>
              <a:gd name="T9" fmla="*/ 99 h 334"/>
              <a:gd name="T10" fmla="*/ 116 w 665"/>
              <a:gd name="T11" fmla="*/ 121 h 334"/>
              <a:gd name="T12" fmla="*/ 103 w 665"/>
              <a:gd name="T13" fmla="*/ 129 h 334"/>
              <a:gd name="T14" fmla="*/ 74 w 665"/>
              <a:gd name="T15" fmla="*/ 139 h 334"/>
              <a:gd name="T16" fmla="*/ 48 w 665"/>
              <a:gd name="T17" fmla="*/ 135 h 334"/>
              <a:gd name="T18" fmla="*/ 21 w 665"/>
              <a:gd name="T19" fmla="*/ 149 h 334"/>
              <a:gd name="T20" fmla="*/ 11 w 665"/>
              <a:gd name="T21" fmla="*/ 175 h 334"/>
              <a:gd name="T22" fmla="*/ 36 w 665"/>
              <a:gd name="T23" fmla="*/ 285 h 334"/>
              <a:gd name="T24" fmla="*/ 49 w 665"/>
              <a:gd name="T25" fmla="*/ 282 h 334"/>
              <a:gd name="T26" fmla="*/ 146 w 665"/>
              <a:gd name="T27" fmla="*/ 331 h 334"/>
              <a:gd name="T28" fmla="*/ 193 w 665"/>
              <a:gd name="T29" fmla="*/ 327 h 334"/>
              <a:gd name="T30" fmla="*/ 237 w 665"/>
              <a:gd name="T31" fmla="*/ 317 h 334"/>
              <a:gd name="T32" fmla="*/ 227 w 665"/>
              <a:gd name="T33" fmla="*/ 293 h 334"/>
              <a:gd name="T34" fmla="*/ 278 w 665"/>
              <a:gd name="T35" fmla="*/ 269 h 334"/>
              <a:gd name="T36" fmla="*/ 320 w 665"/>
              <a:gd name="T37" fmla="*/ 248 h 334"/>
              <a:gd name="T38" fmla="*/ 354 w 665"/>
              <a:gd name="T39" fmla="*/ 249 h 334"/>
              <a:gd name="T40" fmla="*/ 396 w 665"/>
              <a:gd name="T41" fmla="*/ 233 h 334"/>
              <a:gd name="T42" fmla="*/ 420 w 665"/>
              <a:gd name="T43" fmla="*/ 213 h 334"/>
              <a:gd name="T44" fmla="*/ 431 w 665"/>
              <a:gd name="T45" fmla="*/ 187 h 334"/>
              <a:gd name="T46" fmla="*/ 473 w 665"/>
              <a:gd name="T47" fmla="*/ 175 h 334"/>
              <a:gd name="T48" fmla="*/ 492 w 665"/>
              <a:gd name="T49" fmla="*/ 180 h 334"/>
              <a:gd name="T50" fmla="*/ 522 w 665"/>
              <a:gd name="T51" fmla="*/ 181 h 334"/>
              <a:gd name="T52" fmla="*/ 535 w 665"/>
              <a:gd name="T53" fmla="*/ 174 h 334"/>
              <a:gd name="T54" fmla="*/ 553 w 665"/>
              <a:gd name="T55" fmla="*/ 181 h 334"/>
              <a:gd name="T56" fmla="*/ 581 w 665"/>
              <a:gd name="T57" fmla="*/ 207 h 334"/>
              <a:gd name="T58" fmla="*/ 627 w 665"/>
              <a:gd name="T59" fmla="*/ 193 h 334"/>
              <a:gd name="T60" fmla="*/ 628 w 665"/>
              <a:gd name="T61" fmla="*/ 171 h 334"/>
              <a:gd name="T62" fmla="*/ 638 w 665"/>
              <a:gd name="T63" fmla="*/ 149 h 334"/>
              <a:gd name="T64" fmla="*/ 657 w 665"/>
              <a:gd name="T65" fmla="*/ 92 h 334"/>
              <a:gd name="T66" fmla="*/ 665 w 665"/>
              <a:gd name="T67" fmla="*/ 72 h 334"/>
              <a:gd name="T68" fmla="*/ 638 w 665"/>
              <a:gd name="T69" fmla="*/ 65 h 334"/>
              <a:gd name="T70" fmla="*/ 599 w 665"/>
              <a:gd name="T71" fmla="*/ 48 h 334"/>
              <a:gd name="T72" fmla="*/ 570 w 665"/>
              <a:gd name="T73" fmla="*/ 25 h 334"/>
              <a:gd name="T74" fmla="*/ 556 w 665"/>
              <a:gd name="T75" fmla="*/ 22 h 334"/>
              <a:gd name="T76" fmla="*/ 533 w 665"/>
              <a:gd name="T77" fmla="*/ 23 h 334"/>
              <a:gd name="T78" fmla="*/ 501 w 665"/>
              <a:gd name="T79" fmla="*/ 26 h 334"/>
              <a:gd name="T80" fmla="*/ 487 w 665"/>
              <a:gd name="T81" fmla="*/ 28 h 334"/>
              <a:gd name="T82" fmla="*/ 459 w 665"/>
              <a:gd name="T83" fmla="*/ 39 h 334"/>
              <a:gd name="T84" fmla="*/ 438 w 665"/>
              <a:gd name="T85" fmla="*/ 31 h 334"/>
              <a:gd name="T86" fmla="*/ 414 w 665"/>
              <a:gd name="T87" fmla="*/ 31 h 334"/>
              <a:gd name="T88" fmla="*/ 401 w 665"/>
              <a:gd name="T89" fmla="*/ 34 h 334"/>
              <a:gd name="T90" fmla="*/ 383 w 665"/>
              <a:gd name="T91" fmla="*/ 50 h 334"/>
              <a:gd name="T92" fmla="*/ 373 w 665"/>
              <a:gd name="T93" fmla="*/ 70 h 334"/>
              <a:gd name="T94" fmla="*/ 352 w 665"/>
              <a:gd name="T95" fmla="*/ 64 h 334"/>
              <a:gd name="T96" fmla="*/ 340 w 665"/>
              <a:gd name="T97" fmla="*/ 61 h 334"/>
              <a:gd name="T98" fmla="*/ 333 w 665"/>
              <a:gd name="T99" fmla="*/ 33 h 334"/>
              <a:gd name="T100" fmla="*/ 316 w 665"/>
              <a:gd name="T101" fmla="*/ 22 h 334"/>
              <a:gd name="T102" fmla="*/ 301 w 665"/>
              <a:gd name="T103" fmla="*/ 0 h 334"/>
              <a:gd name="T104" fmla="*/ 279 w 665"/>
              <a:gd name="T105" fmla="*/ 12 h 334"/>
              <a:gd name="T106" fmla="*/ 259 w 665"/>
              <a:gd name="T107" fmla="*/ 32 h 334"/>
              <a:gd name="T108" fmla="*/ 246 w 665"/>
              <a:gd name="T109" fmla="*/ 32 h 334"/>
              <a:gd name="T110" fmla="*/ 229 w 665"/>
              <a:gd name="T111" fmla="*/ 15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5" h="334">
                <a:moveTo>
                  <a:pt x="229" y="15"/>
                </a:moveTo>
                <a:lnTo>
                  <a:pt x="229" y="15"/>
                </a:lnTo>
                <a:cubicBezTo>
                  <a:pt x="229" y="15"/>
                  <a:pt x="229" y="15"/>
                  <a:pt x="228" y="15"/>
                </a:cubicBezTo>
                <a:cubicBezTo>
                  <a:pt x="225" y="15"/>
                  <a:pt x="221" y="16"/>
                  <a:pt x="217" y="17"/>
                </a:cubicBezTo>
                <a:cubicBezTo>
                  <a:pt x="210" y="20"/>
                  <a:pt x="205" y="21"/>
                  <a:pt x="204" y="21"/>
                </a:cubicBezTo>
                <a:cubicBezTo>
                  <a:pt x="200" y="22"/>
                  <a:pt x="196" y="24"/>
                  <a:pt x="194" y="29"/>
                </a:cubicBezTo>
                <a:cubicBezTo>
                  <a:pt x="193" y="30"/>
                  <a:pt x="191" y="31"/>
                  <a:pt x="187" y="32"/>
                </a:cubicBezTo>
                <a:cubicBezTo>
                  <a:pt x="184" y="34"/>
                  <a:pt x="182" y="35"/>
                  <a:pt x="181" y="37"/>
                </a:cubicBezTo>
                <a:cubicBezTo>
                  <a:pt x="177" y="45"/>
                  <a:pt x="172" y="51"/>
                  <a:pt x="168" y="54"/>
                </a:cubicBezTo>
                <a:cubicBezTo>
                  <a:pt x="166" y="56"/>
                  <a:pt x="162" y="57"/>
                  <a:pt x="158" y="58"/>
                </a:cubicBezTo>
                <a:cubicBezTo>
                  <a:pt x="154" y="59"/>
                  <a:pt x="152" y="60"/>
                  <a:pt x="151" y="62"/>
                </a:cubicBezTo>
                <a:cubicBezTo>
                  <a:pt x="149" y="65"/>
                  <a:pt x="147" y="72"/>
                  <a:pt x="146" y="81"/>
                </a:cubicBezTo>
                <a:cubicBezTo>
                  <a:pt x="146" y="83"/>
                  <a:pt x="146" y="84"/>
                  <a:pt x="147" y="86"/>
                </a:cubicBezTo>
                <a:cubicBezTo>
                  <a:pt x="148" y="88"/>
                  <a:pt x="149" y="90"/>
                  <a:pt x="148" y="91"/>
                </a:cubicBezTo>
                <a:cubicBezTo>
                  <a:pt x="148" y="95"/>
                  <a:pt x="146" y="98"/>
                  <a:pt x="142" y="99"/>
                </a:cubicBezTo>
                <a:cubicBezTo>
                  <a:pt x="140" y="100"/>
                  <a:pt x="136" y="101"/>
                  <a:pt x="129" y="103"/>
                </a:cubicBezTo>
                <a:cubicBezTo>
                  <a:pt x="123" y="105"/>
                  <a:pt x="121" y="107"/>
                  <a:pt x="121" y="109"/>
                </a:cubicBezTo>
                <a:cubicBezTo>
                  <a:pt x="121" y="113"/>
                  <a:pt x="119" y="117"/>
                  <a:pt x="116" y="121"/>
                </a:cubicBezTo>
                <a:cubicBezTo>
                  <a:pt x="115" y="123"/>
                  <a:pt x="113" y="125"/>
                  <a:pt x="111" y="125"/>
                </a:cubicBezTo>
                <a:cubicBezTo>
                  <a:pt x="109" y="125"/>
                  <a:pt x="108" y="124"/>
                  <a:pt x="106" y="124"/>
                </a:cubicBezTo>
                <a:cubicBezTo>
                  <a:pt x="105" y="125"/>
                  <a:pt x="104" y="127"/>
                  <a:pt x="103" y="129"/>
                </a:cubicBezTo>
                <a:cubicBezTo>
                  <a:pt x="102" y="131"/>
                  <a:pt x="100" y="132"/>
                  <a:pt x="98" y="133"/>
                </a:cubicBezTo>
                <a:cubicBezTo>
                  <a:pt x="96" y="134"/>
                  <a:pt x="92" y="135"/>
                  <a:pt x="85" y="137"/>
                </a:cubicBezTo>
                <a:cubicBezTo>
                  <a:pt x="79" y="138"/>
                  <a:pt x="75" y="139"/>
                  <a:pt x="74" y="139"/>
                </a:cubicBezTo>
                <a:cubicBezTo>
                  <a:pt x="71" y="138"/>
                  <a:pt x="69" y="137"/>
                  <a:pt x="67" y="136"/>
                </a:cubicBezTo>
                <a:cubicBezTo>
                  <a:pt x="60" y="138"/>
                  <a:pt x="56" y="139"/>
                  <a:pt x="55" y="138"/>
                </a:cubicBezTo>
                <a:cubicBezTo>
                  <a:pt x="53" y="138"/>
                  <a:pt x="51" y="137"/>
                  <a:pt x="48" y="135"/>
                </a:cubicBezTo>
                <a:cubicBezTo>
                  <a:pt x="46" y="133"/>
                  <a:pt x="43" y="132"/>
                  <a:pt x="41" y="132"/>
                </a:cubicBezTo>
                <a:cubicBezTo>
                  <a:pt x="36" y="132"/>
                  <a:pt x="32" y="134"/>
                  <a:pt x="30" y="139"/>
                </a:cubicBezTo>
                <a:cubicBezTo>
                  <a:pt x="28" y="145"/>
                  <a:pt x="25" y="148"/>
                  <a:pt x="21" y="149"/>
                </a:cubicBezTo>
                <a:cubicBezTo>
                  <a:pt x="18" y="150"/>
                  <a:pt x="16" y="153"/>
                  <a:pt x="13" y="160"/>
                </a:cubicBezTo>
                <a:cubicBezTo>
                  <a:pt x="12" y="163"/>
                  <a:pt x="11" y="167"/>
                  <a:pt x="10" y="172"/>
                </a:cubicBezTo>
                <a:cubicBezTo>
                  <a:pt x="11" y="174"/>
                  <a:pt x="11" y="175"/>
                  <a:pt x="11" y="175"/>
                </a:cubicBezTo>
                <a:lnTo>
                  <a:pt x="0" y="214"/>
                </a:lnTo>
                <a:cubicBezTo>
                  <a:pt x="0" y="218"/>
                  <a:pt x="3" y="229"/>
                  <a:pt x="11" y="247"/>
                </a:cubicBezTo>
                <a:cubicBezTo>
                  <a:pt x="19" y="266"/>
                  <a:pt x="27" y="279"/>
                  <a:pt x="36" y="285"/>
                </a:cubicBezTo>
                <a:cubicBezTo>
                  <a:pt x="37" y="285"/>
                  <a:pt x="37" y="284"/>
                  <a:pt x="37" y="284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40" y="282"/>
                  <a:pt x="44" y="281"/>
                  <a:pt x="49" y="282"/>
                </a:cubicBezTo>
                <a:cubicBezTo>
                  <a:pt x="53" y="282"/>
                  <a:pt x="62" y="291"/>
                  <a:pt x="77" y="309"/>
                </a:cubicBezTo>
                <a:cubicBezTo>
                  <a:pt x="97" y="325"/>
                  <a:pt x="108" y="333"/>
                  <a:pt x="112" y="333"/>
                </a:cubicBezTo>
                <a:cubicBezTo>
                  <a:pt x="116" y="334"/>
                  <a:pt x="127" y="333"/>
                  <a:pt x="146" y="331"/>
                </a:cubicBezTo>
                <a:cubicBezTo>
                  <a:pt x="150" y="331"/>
                  <a:pt x="155" y="332"/>
                  <a:pt x="163" y="332"/>
                </a:cubicBezTo>
                <a:cubicBezTo>
                  <a:pt x="170" y="333"/>
                  <a:pt x="175" y="331"/>
                  <a:pt x="178" y="329"/>
                </a:cubicBezTo>
                <a:cubicBezTo>
                  <a:pt x="181" y="326"/>
                  <a:pt x="186" y="326"/>
                  <a:pt x="193" y="327"/>
                </a:cubicBezTo>
                <a:cubicBezTo>
                  <a:pt x="202" y="328"/>
                  <a:pt x="208" y="328"/>
                  <a:pt x="212" y="327"/>
                </a:cubicBezTo>
                <a:cubicBezTo>
                  <a:pt x="215" y="327"/>
                  <a:pt x="218" y="324"/>
                  <a:pt x="223" y="320"/>
                </a:cubicBezTo>
                <a:cubicBezTo>
                  <a:pt x="227" y="317"/>
                  <a:pt x="231" y="316"/>
                  <a:pt x="237" y="317"/>
                </a:cubicBezTo>
                <a:lnTo>
                  <a:pt x="237" y="316"/>
                </a:lnTo>
                <a:cubicBezTo>
                  <a:pt x="228" y="309"/>
                  <a:pt x="224" y="303"/>
                  <a:pt x="224" y="300"/>
                </a:cubicBezTo>
                <a:cubicBezTo>
                  <a:pt x="225" y="298"/>
                  <a:pt x="226" y="296"/>
                  <a:pt x="227" y="293"/>
                </a:cubicBezTo>
                <a:cubicBezTo>
                  <a:pt x="229" y="290"/>
                  <a:pt x="230" y="287"/>
                  <a:pt x="230" y="283"/>
                </a:cubicBezTo>
                <a:cubicBezTo>
                  <a:pt x="230" y="280"/>
                  <a:pt x="235" y="277"/>
                  <a:pt x="243" y="275"/>
                </a:cubicBezTo>
                <a:cubicBezTo>
                  <a:pt x="250" y="274"/>
                  <a:pt x="262" y="272"/>
                  <a:pt x="278" y="269"/>
                </a:cubicBezTo>
                <a:cubicBezTo>
                  <a:pt x="281" y="269"/>
                  <a:pt x="288" y="268"/>
                  <a:pt x="296" y="268"/>
                </a:cubicBezTo>
                <a:cubicBezTo>
                  <a:pt x="303" y="267"/>
                  <a:pt x="308" y="265"/>
                  <a:pt x="311" y="262"/>
                </a:cubicBezTo>
                <a:cubicBezTo>
                  <a:pt x="313" y="261"/>
                  <a:pt x="316" y="256"/>
                  <a:pt x="320" y="248"/>
                </a:cubicBezTo>
                <a:cubicBezTo>
                  <a:pt x="322" y="244"/>
                  <a:pt x="327" y="241"/>
                  <a:pt x="332" y="242"/>
                </a:cubicBezTo>
                <a:cubicBezTo>
                  <a:pt x="335" y="242"/>
                  <a:pt x="340" y="243"/>
                  <a:pt x="347" y="245"/>
                </a:cubicBezTo>
                <a:cubicBezTo>
                  <a:pt x="347" y="245"/>
                  <a:pt x="350" y="246"/>
                  <a:pt x="354" y="249"/>
                </a:cubicBezTo>
                <a:cubicBezTo>
                  <a:pt x="359" y="253"/>
                  <a:pt x="364" y="255"/>
                  <a:pt x="367" y="255"/>
                </a:cubicBezTo>
                <a:cubicBezTo>
                  <a:pt x="371" y="255"/>
                  <a:pt x="376" y="252"/>
                  <a:pt x="383" y="246"/>
                </a:cubicBezTo>
                <a:cubicBezTo>
                  <a:pt x="390" y="239"/>
                  <a:pt x="394" y="235"/>
                  <a:pt x="396" y="233"/>
                </a:cubicBezTo>
                <a:cubicBezTo>
                  <a:pt x="397" y="232"/>
                  <a:pt x="400" y="232"/>
                  <a:pt x="405" y="231"/>
                </a:cubicBezTo>
                <a:cubicBezTo>
                  <a:pt x="409" y="231"/>
                  <a:pt x="412" y="230"/>
                  <a:pt x="413" y="229"/>
                </a:cubicBezTo>
                <a:cubicBezTo>
                  <a:pt x="417" y="223"/>
                  <a:pt x="420" y="218"/>
                  <a:pt x="420" y="213"/>
                </a:cubicBezTo>
                <a:cubicBezTo>
                  <a:pt x="420" y="210"/>
                  <a:pt x="421" y="207"/>
                  <a:pt x="423" y="204"/>
                </a:cubicBezTo>
                <a:cubicBezTo>
                  <a:pt x="426" y="199"/>
                  <a:pt x="428" y="197"/>
                  <a:pt x="428" y="196"/>
                </a:cubicBezTo>
                <a:cubicBezTo>
                  <a:pt x="429" y="192"/>
                  <a:pt x="430" y="189"/>
                  <a:pt x="431" y="187"/>
                </a:cubicBezTo>
                <a:cubicBezTo>
                  <a:pt x="433" y="184"/>
                  <a:pt x="435" y="182"/>
                  <a:pt x="438" y="181"/>
                </a:cubicBezTo>
                <a:cubicBezTo>
                  <a:pt x="441" y="180"/>
                  <a:pt x="446" y="179"/>
                  <a:pt x="454" y="177"/>
                </a:cubicBezTo>
                <a:cubicBezTo>
                  <a:pt x="461" y="175"/>
                  <a:pt x="467" y="174"/>
                  <a:pt x="473" y="175"/>
                </a:cubicBezTo>
                <a:cubicBezTo>
                  <a:pt x="474" y="175"/>
                  <a:pt x="476" y="176"/>
                  <a:pt x="479" y="178"/>
                </a:cubicBezTo>
                <a:cubicBezTo>
                  <a:pt x="482" y="181"/>
                  <a:pt x="485" y="182"/>
                  <a:pt x="486" y="182"/>
                </a:cubicBezTo>
                <a:cubicBezTo>
                  <a:pt x="488" y="182"/>
                  <a:pt x="490" y="181"/>
                  <a:pt x="492" y="180"/>
                </a:cubicBezTo>
                <a:cubicBezTo>
                  <a:pt x="493" y="180"/>
                  <a:pt x="496" y="182"/>
                  <a:pt x="500" y="184"/>
                </a:cubicBezTo>
                <a:cubicBezTo>
                  <a:pt x="501" y="184"/>
                  <a:pt x="504" y="184"/>
                  <a:pt x="510" y="182"/>
                </a:cubicBezTo>
                <a:cubicBezTo>
                  <a:pt x="516" y="181"/>
                  <a:pt x="519" y="181"/>
                  <a:pt x="522" y="181"/>
                </a:cubicBezTo>
                <a:cubicBezTo>
                  <a:pt x="524" y="177"/>
                  <a:pt x="525" y="175"/>
                  <a:pt x="525" y="175"/>
                </a:cubicBezTo>
                <a:cubicBezTo>
                  <a:pt x="526" y="175"/>
                  <a:pt x="527" y="175"/>
                  <a:pt x="530" y="175"/>
                </a:cubicBezTo>
                <a:cubicBezTo>
                  <a:pt x="532" y="175"/>
                  <a:pt x="533" y="175"/>
                  <a:pt x="535" y="174"/>
                </a:cubicBezTo>
                <a:cubicBezTo>
                  <a:pt x="537" y="174"/>
                  <a:pt x="539" y="173"/>
                  <a:pt x="541" y="174"/>
                </a:cubicBezTo>
                <a:cubicBezTo>
                  <a:pt x="544" y="174"/>
                  <a:pt x="546" y="175"/>
                  <a:pt x="546" y="177"/>
                </a:cubicBezTo>
                <a:cubicBezTo>
                  <a:pt x="547" y="179"/>
                  <a:pt x="549" y="181"/>
                  <a:pt x="553" y="181"/>
                </a:cubicBezTo>
                <a:cubicBezTo>
                  <a:pt x="556" y="182"/>
                  <a:pt x="560" y="184"/>
                  <a:pt x="565" y="188"/>
                </a:cubicBezTo>
                <a:cubicBezTo>
                  <a:pt x="565" y="190"/>
                  <a:pt x="567" y="194"/>
                  <a:pt x="572" y="200"/>
                </a:cubicBezTo>
                <a:cubicBezTo>
                  <a:pt x="577" y="205"/>
                  <a:pt x="579" y="207"/>
                  <a:pt x="581" y="207"/>
                </a:cubicBezTo>
                <a:cubicBezTo>
                  <a:pt x="582" y="207"/>
                  <a:pt x="586" y="207"/>
                  <a:pt x="592" y="205"/>
                </a:cubicBezTo>
                <a:cubicBezTo>
                  <a:pt x="598" y="203"/>
                  <a:pt x="603" y="203"/>
                  <a:pt x="606" y="203"/>
                </a:cubicBezTo>
                <a:cubicBezTo>
                  <a:pt x="619" y="203"/>
                  <a:pt x="625" y="199"/>
                  <a:pt x="627" y="193"/>
                </a:cubicBezTo>
                <a:cubicBezTo>
                  <a:pt x="627" y="192"/>
                  <a:pt x="627" y="191"/>
                  <a:pt x="627" y="191"/>
                </a:cubicBezTo>
                <a:cubicBezTo>
                  <a:pt x="627" y="183"/>
                  <a:pt x="626" y="177"/>
                  <a:pt x="627" y="174"/>
                </a:cubicBezTo>
                <a:cubicBezTo>
                  <a:pt x="627" y="173"/>
                  <a:pt x="627" y="172"/>
                  <a:pt x="628" y="171"/>
                </a:cubicBezTo>
                <a:cubicBezTo>
                  <a:pt x="629" y="170"/>
                  <a:pt x="630" y="169"/>
                  <a:pt x="630" y="167"/>
                </a:cubicBezTo>
                <a:cubicBezTo>
                  <a:pt x="629" y="164"/>
                  <a:pt x="629" y="161"/>
                  <a:pt x="629" y="160"/>
                </a:cubicBezTo>
                <a:cubicBezTo>
                  <a:pt x="629" y="158"/>
                  <a:pt x="632" y="155"/>
                  <a:pt x="638" y="149"/>
                </a:cubicBezTo>
                <a:cubicBezTo>
                  <a:pt x="644" y="143"/>
                  <a:pt x="648" y="136"/>
                  <a:pt x="649" y="129"/>
                </a:cubicBezTo>
                <a:cubicBezTo>
                  <a:pt x="648" y="120"/>
                  <a:pt x="648" y="115"/>
                  <a:pt x="649" y="114"/>
                </a:cubicBezTo>
                <a:cubicBezTo>
                  <a:pt x="650" y="102"/>
                  <a:pt x="653" y="95"/>
                  <a:pt x="657" y="92"/>
                </a:cubicBezTo>
                <a:cubicBezTo>
                  <a:pt x="659" y="91"/>
                  <a:pt x="660" y="90"/>
                  <a:pt x="662" y="88"/>
                </a:cubicBezTo>
                <a:cubicBezTo>
                  <a:pt x="664" y="86"/>
                  <a:pt x="665" y="84"/>
                  <a:pt x="665" y="81"/>
                </a:cubicBezTo>
                <a:cubicBezTo>
                  <a:pt x="665" y="78"/>
                  <a:pt x="665" y="75"/>
                  <a:pt x="665" y="72"/>
                </a:cubicBezTo>
                <a:cubicBezTo>
                  <a:pt x="659" y="73"/>
                  <a:pt x="654" y="72"/>
                  <a:pt x="651" y="72"/>
                </a:cubicBezTo>
                <a:cubicBezTo>
                  <a:pt x="650" y="72"/>
                  <a:pt x="648" y="71"/>
                  <a:pt x="645" y="68"/>
                </a:cubicBezTo>
                <a:cubicBezTo>
                  <a:pt x="642" y="66"/>
                  <a:pt x="640" y="65"/>
                  <a:pt x="638" y="65"/>
                </a:cubicBezTo>
                <a:cubicBezTo>
                  <a:pt x="633" y="66"/>
                  <a:pt x="629" y="64"/>
                  <a:pt x="626" y="59"/>
                </a:cubicBezTo>
                <a:cubicBezTo>
                  <a:pt x="625" y="57"/>
                  <a:pt x="620" y="56"/>
                  <a:pt x="612" y="55"/>
                </a:cubicBezTo>
                <a:cubicBezTo>
                  <a:pt x="607" y="54"/>
                  <a:pt x="603" y="52"/>
                  <a:pt x="599" y="48"/>
                </a:cubicBezTo>
                <a:cubicBezTo>
                  <a:pt x="596" y="45"/>
                  <a:pt x="594" y="41"/>
                  <a:pt x="594" y="37"/>
                </a:cubicBezTo>
                <a:cubicBezTo>
                  <a:pt x="594" y="33"/>
                  <a:pt x="591" y="30"/>
                  <a:pt x="585" y="28"/>
                </a:cubicBezTo>
                <a:cubicBezTo>
                  <a:pt x="578" y="27"/>
                  <a:pt x="573" y="26"/>
                  <a:pt x="570" y="25"/>
                </a:cubicBezTo>
                <a:lnTo>
                  <a:pt x="567" y="25"/>
                </a:lnTo>
                <a:cubicBezTo>
                  <a:pt x="566" y="25"/>
                  <a:pt x="566" y="25"/>
                  <a:pt x="565" y="25"/>
                </a:cubicBezTo>
                <a:cubicBezTo>
                  <a:pt x="562" y="25"/>
                  <a:pt x="559" y="24"/>
                  <a:pt x="556" y="22"/>
                </a:cubicBezTo>
                <a:cubicBezTo>
                  <a:pt x="552" y="20"/>
                  <a:pt x="549" y="18"/>
                  <a:pt x="547" y="18"/>
                </a:cubicBezTo>
                <a:cubicBezTo>
                  <a:pt x="546" y="18"/>
                  <a:pt x="544" y="19"/>
                  <a:pt x="540" y="20"/>
                </a:cubicBezTo>
                <a:cubicBezTo>
                  <a:pt x="536" y="22"/>
                  <a:pt x="534" y="23"/>
                  <a:pt x="533" y="23"/>
                </a:cubicBezTo>
                <a:cubicBezTo>
                  <a:pt x="525" y="21"/>
                  <a:pt x="521" y="19"/>
                  <a:pt x="519" y="19"/>
                </a:cubicBezTo>
                <a:cubicBezTo>
                  <a:pt x="513" y="19"/>
                  <a:pt x="509" y="20"/>
                  <a:pt x="507" y="22"/>
                </a:cubicBezTo>
                <a:cubicBezTo>
                  <a:pt x="505" y="25"/>
                  <a:pt x="503" y="26"/>
                  <a:pt x="501" y="26"/>
                </a:cubicBezTo>
                <a:cubicBezTo>
                  <a:pt x="500" y="24"/>
                  <a:pt x="498" y="24"/>
                  <a:pt x="496" y="24"/>
                </a:cubicBezTo>
                <a:cubicBezTo>
                  <a:pt x="493" y="24"/>
                  <a:pt x="490" y="25"/>
                  <a:pt x="489" y="24"/>
                </a:cubicBezTo>
                <a:cubicBezTo>
                  <a:pt x="488" y="25"/>
                  <a:pt x="488" y="27"/>
                  <a:pt x="487" y="28"/>
                </a:cubicBezTo>
                <a:cubicBezTo>
                  <a:pt x="487" y="29"/>
                  <a:pt x="488" y="31"/>
                  <a:pt x="489" y="32"/>
                </a:cubicBezTo>
                <a:cubicBezTo>
                  <a:pt x="478" y="42"/>
                  <a:pt x="473" y="47"/>
                  <a:pt x="473" y="47"/>
                </a:cubicBezTo>
                <a:cubicBezTo>
                  <a:pt x="472" y="47"/>
                  <a:pt x="468" y="44"/>
                  <a:pt x="459" y="39"/>
                </a:cubicBezTo>
                <a:cubicBezTo>
                  <a:pt x="457" y="37"/>
                  <a:pt x="455" y="35"/>
                  <a:pt x="453" y="33"/>
                </a:cubicBezTo>
                <a:cubicBezTo>
                  <a:pt x="450" y="31"/>
                  <a:pt x="448" y="29"/>
                  <a:pt x="446" y="29"/>
                </a:cubicBezTo>
                <a:cubicBezTo>
                  <a:pt x="443" y="29"/>
                  <a:pt x="441" y="30"/>
                  <a:pt x="438" y="31"/>
                </a:cubicBezTo>
                <a:cubicBezTo>
                  <a:pt x="435" y="33"/>
                  <a:pt x="433" y="34"/>
                  <a:pt x="430" y="33"/>
                </a:cubicBezTo>
                <a:cubicBezTo>
                  <a:pt x="425" y="31"/>
                  <a:pt x="421" y="30"/>
                  <a:pt x="418" y="29"/>
                </a:cubicBezTo>
                <a:cubicBezTo>
                  <a:pt x="416" y="29"/>
                  <a:pt x="415" y="30"/>
                  <a:pt x="414" y="31"/>
                </a:cubicBezTo>
                <a:cubicBezTo>
                  <a:pt x="414" y="32"/>
                  <a:pt x="413" y="32"/>
                  <a:pt x="411" y="32"/>
                </a:cubicBezTo>
                <a:cubicBezTo>
                  <a:pt x="410" y="32"/>
                  <a:pt x="408" y="32"/>
                  <a:pt x="406" y="32"/>
                </a:cubicBezTo>
                <a:cubicBezTo>
                  <a:pt x="403" y="31"/>
                  <a:pt x="402" y="32"/>
                  <a:pt x="401" y="34"/>
                </a:cubicBezTo>
                <a:cubicBezTo>
                  <a:pt x="401" y="40"/>
                  <a:pt x="397" y="43"/>
                  <a:pt x="392" y="43"/>
                </a:cubicBezTo>
                <a:cubicBezTo>
                  <a:pt x="389" y="43"/>
                  <a:pt x="387" y="44"/>
                  <a:pt x="386" y="44"/>
                </a:cubicBezTo>
                <a:cubicBezTo>
                  <a:pt x="384" y="45"/>
                  <a:pt x="383" y="47"/>
                  <a:pt x="383" y="50"/>
                </a:cubicBezTo>
                <a:cubicBezTo>
                  <a:pt x="382" y="50"/>
                  <a:pt x="383" y="51"/>
                  <a:pt x="383" y="51"/>
                </a:cubicBezTo>
                <a:cubicBezTo>
                  <a:pt x="384" y="51"/>
                  <a:pt x="384" y="52"/>
                  <a:pt x="384" y="52"/>
                </a:cubicBezTo>
                <a:cubicBezTo>
                  <a:pt x="379" y="64"/>
                  <a:pt x="375" y="70"/>
                  <a:pt x="373" y="70"/>
                </a:cubicBezTo>
                <a:cubicBezTo>
                  <a:pt x="371" y="70"/>
                  <a:pt x="368" y="68"/>
                  <a:pt x="365" y="66"/>
                </a:cubicBezTo>
                <a:cubicBezTo>
                  <a:pt x="361" y="64"/>
                  <a:pt x="359" y="62"/>
                  <a:pt x="357" y="62"/>
                </a:cubicBezTo>
                <a:cubicBezTo>
                  <a:pt x="356" y="62"/>
                  <a:pt x="355" y="63"/>
                  <a:pt x="352" y="64"/>
                </a:cubicBezTo>
                <a:cubicBezTo>
                  <a:pt x="349" y="66"/>
                  <a:pt x="347" y="66"/>
                  <a:pt x="345" y="66"/>
                </a:cubicBezTo>
                <a:cubicBezTo>
                  <a:pt x="342" y="66"/>
                  <a:pt x="341" y="66"/>
                  <a:pt x="341" y="65"/>
                </a:cubicBezTo>
                <a:cubicBezTo>
                  <a:pt x="340" y="64"/>
                  <a:pt x="340" y="63"/>
                  <a:pt x="340" y="61"/>
                </a:cubicBezTo>
                <a:cubicBezTo>
                  <a:pt x="342" y="57"/>
                  <a:pt x="343" y="54"/>
                  <a:pt x="343" y="53"/>
                </a:cubicBezTo>
                <a:cubicBezTo>
                  <a:pt x="344" y="44"/>
                  <a:pt x="343" y="39"/>
                  <a:pt x="340" y="37"/>
                </a:cubicBezTo>
                <a:cubicBezTo>
                  <a:pt x="337" y="36"/>
                  <a:pt x="335" y="34"/>
                  <a:pt x="333" y="33"/>
                </a:cubicBezTo>
                <a:cubicBezTo>
                  <a:pt x="331" y="31"/>
                  <a:pt x="328" y="28"/>
                  <a:pt x="325" y="24"/>
                </a:cubicBezTo>
                <a:cubicBezTo>
                  <a:pt x="324" y="23"/>
                  <a:pt x="323" y="22"/>
                  <a:pt x="321" y="22"/>
                </a:cubicBezTo>
                <a:cubicBezTo>
                  <a:pt x="318" y="22"/>
                  <a:pt x="316" y="22"/>
                  <a:pt x="316" y="22"/>
                </a:cubicBezTo>
                <a:cubicBezTo>
                  <a:pt x="313" y="22"/>
                  <a:pt x="312" y="19"/>
                  <a:pt x="312" y="13"/>
                </a:cubicBezTo>
                <a:cubicBezTo>
                  <a:pt x="313" y="10"/>
                  <a:pt x="311" y="7"/>
                  <a:pt x="309" y="5"/>
                </a:cubicBezTo>
                <a:cubicBezTo>
                  <a:pt x="305" y="2"/>
                  <a:pt x="302" y="1"/>
                  <a:pt x="301" y="0"/>
                </a:cubicBezTo>
                <a:cubicBezTo>
                  <a:pt x="298" y="3"/>
                  <a:pt x="295" y="6"/>
                  <a:pt x="292" y="10"/>
                </a:cubicBezTo>
                <a:cubicBezTo>
                  <a:pt x="291" y="11"/>
                  <a:pt x="289" y="11"/>
                  <a:pt x="285" y="12"/>
                </a:cubicBezTo>
                <a:cubicBezTo>
                  <a:pt x="281" y="11"/>
                  <a:pt x="279" y="11"/>
                  <a:pt x="279" y="12"/>
                </a:cubicBezTo>
                <a:cubicBezTo>
                  <a:pt x="277" y="12"/>
                  <a:pt x="275" y="16"/>
                  <a:pt x="272" y="23"/>
                </a:cubicBezTo>
                <a:cubicBezTo>
                  <a:pt x="269" y="31"/>
                  <a:pt x="267" y="34"/>
                  <a:pt x="267" y="34"/>
                </a:cubicBezTo>
                <a:cubicBezTo>
                  <a:pt x="263" y="33"/>
                  <a:pt x="260" y="32"/>
                  <a:pt x="259" y="32"/>
                </a:cubicBezTo>
                <a:cubicBezTo>
                  <a:pt x="258" y="32"/>
                  <a:pt x="257" y="32"/>
                  <a:pt x="255" y="34"/>
                </a:cubicBezTo>
                <a:cubicBezTo>
                  <a:pt x="253" y="35"/>
                  <a:pt x="251" y="36"/>
                  <a:pt x="250" y="36"/>
                </a:cubicBezTo>
                <a:cubicBezTo>
                  <a:pt x="248" y="36"/>
                  <a:pt x="246" y="34"/>
                  <a:pt x="246" y="32"/>
                </a:cubicBezTo>
                <a:cubicBezTo>
                  <a:pt x="246" y="29"/>
                  <a:pt x="246" y="27"/>
                  <a:pt x="246" y="25"/>
                </a:cubicBezTo>
                <a:cubicBezTo>
                  <a:pt x="246" y="19"/>
                  <a:pt x="242" y="15"/>
                  <a:pt x="233" y="14"/>
                </a:cubicBezTo>
                <a:cubicBezTo>
                  <a:pt x="232" y="14"/>
                  <a:pt x="231" y="14"/>
                  <a:pt x="229" y="15"/>
                </a:cubicBezTo>
                <a:lnTo>
                  <a:pt x="229" y="1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" name="Freeform 214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" name="Freeform 215"/>
          <p:cNvSpPr/>
          <p:nvPr/>
        </p:nvSpPr>
        <p:spPr bwMode="auto">
          <a:xfrm>
            <a:off x="9688349" y="4763809"/>
            <a:ext cx="578213" cy="721456"/>
          </a:xfrm>
          <a:custGeom>
            <a:avLst/>
            <a:gdLst>
              <a:gd name="T0" fmla="*/ 512 w 554"/>
              <a:gd name="T1" fmla="*/ 475 h 690"/>
              <a:gd name="T2" fmla="*/ 488 w 554"/>
              <a:gd name="T3" fmla="*/ 360 h 690"/>
              <a:gd name="T4" fmla="*/ 491 w 554"/>
              <a:gd name="T5" fmla="*/ 317 h 690"/>
              <a:gd name="T6" fmla="*/ 479 w 554"/>
              <a:gd name="T7" fmla="*/ 281 h 690"/>
              <a:gd name="T8" fmla="*/ 462 w 554"/>
              <a:gd name="T9" fmla="*/ 245 h 690"/>
              <a:gd name="T10" fmla="*/ 428 w 554"/>
              <a:gd name="T11" fmla="*/ 284 h 690"/>
              <a:gd name="T12" fmla="*/ 364 w 554"/>
              <a:gd name="T13" fmla="*/ 256 h 690"/>
              <a:gd name="T14" fmla="*/ 323 w 554"/>
              <a:gd name="T15" fmla="*/ 233 h 690"/>
              <a:gd name="T16" fmla="*/ 346 w 554"/>
              <a:gd name="T17" fmla="*/ 221 h 690"/>
              <a:gd name="T18" fmla="*/ 330 w 554"/>
              <a:gd name="T19" fmla="*/ 190 h 690"/>
              <a:gd name="T20" fmla="*/ 299 w 554"/>
              <a:gd name="T21" fmla="*/ 156 h 690"/>
              <a:gd name="T22" fmla="*/ 279 w 554"/>
              <a:gd name="T23" fmla="*/ 150 h 690"/>
              <a:gd name="T24" fmla="*/ 243 w 554"/>
              <a:gd name="T25" fmla="*/ 119 h 690"/>
              <a:gd name="T26" fmla="*/ 240 w 554"/>
              <a:gd name="T27" fmla="*/ 93 h 690"/>
              <a:gd name="T28" fmla="*/ 201 w 554"/>
              <a:gd name="T29" fmla="*/ 41 h 690"/>
              <a:gd name="T30" fmla="*/ 174 w 554"/>
              <a:gd name="T31" fmla="*/ 7 h 690"/>
              <a:gd name="T32" fmla="*/ 145 w 554"/>
              <a:gd name="T33" fmla="*/ 4 h 690"/>
              <a:gd name="T34" fmla="*/ 96 w 554"/>
              <a:gd name="T35" fmla="*/ 1 h 690"/>
              <a:gd name="T36" fmla="*/ 57 w 554"/>
              <a:gd name="T37" fmla="*/ 31 h 690"/>
              <a:gd name="T38" fmla="*/ 30 w 554"/>
              <a:gd name="T39" fmla="*/ 30 h 690"/>
              <a:gd name="T40" fmla="*/ 0 w 554"/>
              <a:gd name="T41" fmla="*/ 49 h 690"/>
              <a:gd name="T42" fmla="*/ 9 w 554"/>
              <a:gd name="T43" fmla="*/ 71 h 690"/>
              <a:gd name="T44" fmla="*/ 12 w 554"/>
              <a:gd name="T45" fmla="*/ 91 h 690"/>
              <a:gd name="T46" fmla="*/ 30 w 554"/>
              <a:gd name="T47" fmla="*/ 120 h 690"/>
              <a:gd name="T48" fmla="*/ 74 w 554"/>
              <a:gd name="T49" fmla="*/ 173 h 690"/>
              <a:gd name="T50" fmla="*/ 31 w 554"/>
              <a:gd name="T51" fmla="*/ 184 h 690"/>
              <a:gd name="T52" fmla="*/ 26 w 554"/>
              <a:gd name="T53" fmla="*/ 237 h 690"/>
              <a:gd name="T54" fmla="*/ 70 w 554"/>
              <a:gd name="T55" fmla="*/ 232 h 690"/>
              <a:gd name="T56" fmla="*/ 54 w 554"/>
              <a:gd name="T57" fmla="*/ 280 h 690"/>
              <a:gd name="T58" fmla="*/ 43 w 554"/>
              <a:gd name="T59" fmla="*/ 299 h 690"/>
              <a:gd name="T60" fmla="*/ 38 w 554"/>
              <a:gd name="T61" fmla="*/ 323 h 690"/>
              <a:gd name="T62" fmla="*/ 51 w 554"/>
              <a:gd name="T63" fmla="*/ 344 h 690"/>
              <a:gd name="T64" fmla="*/ 81 w 554"/>
              <a:gd name="T65" fmla="*/ 362 h 690"/>
              <a:gd name="T66" fmla="*/ 77 w 554"/>
              <a:gd name="T67" fmla="*/ 398 h 690"/>
              <a:gd name="T68" fmla="*/ 69 w 554"/>
              <a:gd name="T69" fmla="*/ 407 h 690"/>
              <a:gd name="T70" fmla="*/ 91 w 554"/>
              <a:gd name="T71" fmla="*/ 460 h 690"/>
              <a:gd name="T72" fmla="*/ 76 w 554"/>
              <a:gd name="T73" fmla="*/ 461 h 690"/>
              <a:gd name="T74" fmla="*/ 63 w 554"/>
              <a:gd name="T75" fmla="*/ 496 h 690"/>
              <a:gd name="T76" fmla="*/ 95 w 554"/>
              <a:gd name="T77" fmla="*/ 519 h 690"/>
              <a:gd name="T78" fmla="*/ 131 w 554"/>
              <a:gd name="T79" fmla="*/ 548 h 690"/>
              <a:gd name="T80" fmla="*/ 155 w 554"/>
              <a:gd name="T81" fmla="*/ 552 h 690"/>
              <a:gd name="T82" fmla="*/ 200 w 554"/>
              <a:gd name="T83" fmla="*/ 576 h 690"/>
              <a:gd name="T84" fmla="*/ 212 w 554"/>
              <a:gd name="T85" fmla="*/ 594 h 690"/>
              <a:gd name="T86" fmla="*/ 215 w 554"/>
              <a:gd name="T87" fmla="*/ 593 h 690"/>
              <a:gd name="T88" fmla="*/ 224 w 554"/>
              <a:gd name="T89" fmla="*/ 576 h 690"/>
              <a:gd name="T90" fmla="*/ 247 w 554"/>
              <a:gd name="T91" fmla="*/ 553 h 690"/>
              <a:gd name="T92" fmla="*/ 268 w 554"/>
              <a:gd name="T93" fmla="*/ 515 h 690"/>
              <a:gd name="T94" fmla="*/ 289 w 554"/>
              <a:gd name="T95" fmla="*/ 539 h 690"/>
              <a:gd name="T96" fmla="*/ 339 w 554"/>
              <a:gd name="T97" fmla="*/ 581 h 690"/>
              <a:gd name="T98" fmla="*/ 373 w 554"/>
              <a:gd name="T99" fmla="*/ 609 h 690"/>
              <a:gd name="T100" fmla="*/ 397 w 554"/>
              <a:gd name="T101" fmla="*/ 611 h 690"/>
              <a:gd name="T102" fmla="*/ 397 w 554"/>
              <a:gd name="T103" fmla="*/ 634 h 690"/>
              <a:gd name="T104" fmla="*/ 376 w 554"/>
              <a:gd name="T105" fmla="*/ 668 h 690"/>
              <a:gd name="T106" fmla="*/ 380 w 554"/>
              <a:gd name="T107" fmla="*/ 690 h 690"/>
              <a:gd name="T108" fmla="*/ 410 w 554"/>
              <a:gd name="T109" fmla="*/ 679 h 690"/>
              <a:gd name="T110" fmla="*/ 426 w 554"/>
              <a:gd name="T111" fmla="*/ 672 h 690"/>
              <a:gd name="T112" fmla="*/ 472 w 554"/>
              <a:gd name="T113" fmla="*/ 663 h 690"/>
              <a:gd name="T114" fmla="*/ 497 w 554"/>
              <a:gd name="T115" fmla="*/ 661 h 690"/>
              <a:gd name="T116" fmla="*/ 487 w 554"/>
              <a:gd name="T117" fmla="*/ 599 h 690"/>
              <a:gd name="T118" fmla="*/ 498 w 554"/>
              <a:gd name="T119" fmla="*/ 571 h 690"/>
              <a:gd name="T120" fmla="*/ 553 w 554"/>
              <a:gd name="T121" fmla="*/ 522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54" h="690">
                <a:moveTo>
                  <a:pt x="537" y="500"/>
                </a:moveTo>
                <a:lnTo>
                  <a:pt x="537" y="500"/>
                </a:lnTo>
                <a:cubicBezTo>
                  <a:pt x="535" y="498"/>
                  <a:pt x="532" y="493"/>
                  <a:pt x="528" y="485"/>
                </a:cubicBezTo>
                <a:cubicBezTo>
                  <a:pt x="526" y="481"/>
                  <a:pt x="520" y="478"/>
                  <a:pt x="512" y="475"/>
                </a:cubicBezTo>
                <a:cubicBezTo>
                  <a:pt x="502" y="472"/>
                  <a:pt x="495" y="469"/>
                  <a:pt x="492" y="467"/>
                </a:cubicBezTo>
                <a:cubicBezTo>
                  <a:pt x="472" y="430"/>
                  <a:pt x="463" y="406"/>
                  <a:pt x="464" y="393"/>
                </a:cubicBezTo>
                <a:cubicBezTo>
                  <a:pt x="465" y="380"/>
                  <a:pt x="471" y="371"/>
                  <a:pt x="479" y="365"/>
                </a:cubicBezTo>
                <a:cubicBezTo>
                  <a:pt x="483" y="363"/>
                  <a:pt x="486" y="361"/>
                  <a:pt x="488" y="360"/>
                </a:cubicBezTo>
                <a:cubicBezTo>
                  <a:pt x="491" y="358"/>
                  <a:pt x="492" y="357"/>
                  <a:pt x="492" y="355"/>
                </a:cubicBezTo>
                <a:cubicBezTo>
                  <a:pt x="495" y="341"/>
                  <a:pt x="496" y="332"/>
                  <a:pt x="497" y="327"/>
                </a:cubicBezTo>
                <a:cubicBezTo>
                  <a:pt x="497" y="325"/>
                  <a:pt x="495" y="322"/>
                  <a:pt x="491" y="318"/>
                </a:cubicBezTo>
                <a:cubicBezTo>
                  <a:pt x="491" y="318"/>
                  <a:pt x="491" y="318"/>
                  <a:pt x="491" y="317"/>
                </a:cubicBezTo>
                <a:cubicBezTo>
                  <a:pt x="489" y="315"/>
                  <a:pt x="486" y="313"/>
                  <a:pt x="483" y="310"/>
                </a:cubicBezTo>
                <a:cubicBezTo>
                  <a:pt x="474" y="301"/>
                  <a:pt x="470" y="294"/>
                  <a:pt x="470" y="288"/>
                </a:cubicBezTo>
                <a:cubicBezTo>
                  <a:pt x="471" y="285"/>
                  <a:pt x="471" y="283"/>
                  <a:pt x="471" y="283"/>
                </a:cubicBezTo>
                <a:cubicBezTo>
                  <a:pt x="472" y="282"/>
                  <a:pt x="475" y="282"/>
                  <a:pt x="479" y="281"/>
                </a:cubicBezTo>
                <a:cubicBezTo>
                  <a:pt x="479" y="276"/>
                  <a:pt x="478" y="273"/>
                  <a:pt x="479" y="271"/>
                </a:cubicBezTo>
                <a:cubicBezTo>
                  <a:pt x="492" y="272"/>
                  <a:pt x="501" y="271"/>
                  <a:pt x="506" y="267"/>
                </a:cubicBezTo>
                <a:cubicBezTo>
                  <a:pt x="503" y="262"/>
                  <a:pt x="496" y="259"/>
                  <a:pt x="485" y="257"/>
                </a:cubicBezTo>
                <a:cubicBezTo>
                  <a:pt x="474" y="255"/>
                  <a:pt x="466" y="251"/>
                  <a:pt x="462" y="245"/>
                </a:cubicBezTo>
                <a:cubicBezTo>
                  <a:pt x="460" y="247"/>
                  <a:pt x="456" y="250"/>
                  <a:pt x="451" y="253"/>
                </a:cubicBezTo>
                <a:cubicBezTo>
                  <a:pt x="447" y="255"/>
                  <a:pt x="444" y="258"/>
                  <a:pt x="442" y="260"/>
                </a:cubicBezTo>
                <a:cubicBezTo>
                  <a:pt x="440" y="263"/>
                  <a:pt x="437" y="269"/>
                  <a:pt x="436" y="277"/>
                </a:cubicBezTo>
                <a:cubicBezTo>
                  <a:pt x="435" y="282"/>
                  <a:pt x="432" y="285"/>
                  <a:pt x="428" y="284"/>
                </a:cubicBezTo>
                <a:cubicBezTo>
                  <a:pt x="424" y="284"/>
                  <a:pt x="420" y="282"/>
                  <a:pt x="418" y="280"/>
                </a:cubicBezTo>
                <a:cubicBezTo>
                  <a:pt x="416" y="276"/>
                  <a:pt x="414" y="274"/>
                  <a:pt x="413" y="272"/>
                </a:cubicBezTo>
                <a:cubicBezTo>
                  <a:pt x="406" y="264"/>
                  <a:pt x="393" y="259"/>
                  <a:pt x="374" y="257"/>
                </a:cubicBezTo>
                <a:cubicBezTo>
                  <a:pt x="368" y="257"/>
                  <a:pt x="365" y="256"/>
                  <a:pt x="364" y="256"/>
                </a:cubicBezTo>
                <a:cubicBezTo>
                  <a:pt x="363" y="256"/>
                  <a:pt x="360" y="251"/>
                  <a:pt x="354" y="242"/>
                </a:cubicBezTo>
                <a:cubicBezTo>
                  <a:pt x="353" y="240"/>
                  <a:pt x="348" y="239"/>
                  <a:pt x="339" y="237"/>
                </a:cubicBezTo>
                <a:cubicBezTo>
                  <a:pt x="331" y="236"/>
                  <a:pt x="326" y="235"/>
                  <a:pt x="324" y="236"/>
                </a:cubicBezTo>
                <a:cubicBezTo>
                  <a:pt x="323" y="235"/>
                  <a:pt x="323" y="234"/>
                  <a:pt x="323" y="233"/>
                </a:cubicBezTo>
                <a:lnTo>
                  <a:pt x="323" y="233"/>
                </a:lnTo>
                <a:cubicBezTo>
                  <a:pt x="323" y="232"/>
                  <a:pt x="323" y="231"/>
                  <a:pt x="323" y="230"/>
                </a:cubicBezTo>
                <a:cubicBezTo>
                  <a:pt x="323" y="225"/>
                  <a:pt x="326" y="222"/>
                  <a:pt x="331" y="222"/>
                </a:cubicBezTo>
                <a:cubicBezTo>
                  <a:pt x="334" y="222"/>
                  <a:pt x="339" y="221"/>
                  <a:pt x="346" y="221"/>
                </a:cubicBezTo>
                <a:cubicBezTo>
                  <a:pt x="348" y="218"/>
                  <a:pt x="348" y="215"/>
                  <a:pt x="347" y="214"/>
                </a:cubicBezTo>
                <a:cubicBezTo>
                  <a:pt x="346" y="212"/>
                  <a:pt x="344" y="211"/>
                  <a:pt x="340" y="210"/>
                </a:cubicBezTo>
                <a:cubicBezTo>
                  <a:pt x="331" y="208"/>
                  <a:pt x="325" y="205"/>
                  <a:pt x="324" y="202"/>
                </a:cubicBezTo>
                <a:cubicBezTo>
                  <a:pt x="328" y="200"/>
                  <a:pt x="330" y="196"/>
                  <a:pt x="330" y="190"/>
                </a:cubicBezTo>
                <a:cubicBezTo>
                  <a:pt x="330" y="184"/>
                  <a:pt x="333" y="182"/>
                  <a:pt x="338" y="181"/>
                </a:cubicBezTo>
                <a:cubicBezTo>
                  <a:pt x="337" y="176"/>
                  <a:pt x="335" y="172"/>
                  <a:pt x="333" y="170"/>
                </a:cubicBezTo>
                <a:cubicBezTo>
                  <a:pt x="330" y="167"/>
                  <a:pt x="325" y="164"/>
                  <a:pt x="318" y="164"/>
                </a:cubicBezTo>
                <a:cubicBezTo>
                  <a:pt x="309" y="163"/>
                  <a:pt x="303" y="160"/>
                  <a:pt x="299" y="156"/>
                </a:cubicBezTo>
                <a:cubicBezTo>
                  <a:pt x="299" y="156"/>
                  <a:pt x="298" y="154"/>
                  <a:pt x="296" y="151"/>
                </a:cubicBezTo>
                <a:cubicBezTo>
                  <a:pt x="295" y="150"/>
                  <a:pt x="294" y="149"/>
                  <a:pt x="293" y="149"/>
                </a:cubicBezTo>
                <a:cubicBezTo>
                  <a:pt x="290" y="149"/>
                  <a:pt x="287" y="149"/>
                  <a:pt x="284" y="149"/>
                </a:cubicBezTo>
                <a:cubicBezTo>
                  <a:pt x="281" y="150"/>
                  <a:pt x="280" y="150"/>
                  <a:pt x="279" y="150"/>
                </a:cubicBezTo>
                <a:cubicBezTo>
                  <a:pt x="276" y="150"/>
                  <a:pt x="272" y="146"/>
                  <a:pt x="266" y="139"/>
                </a:cubicBezTo>
                <a:cubicBezTo>
                  <a:pt x="263" y="134"/>
                  <a:pt x="260" y="130"/>
                  <a:pt x="258" y="128"/>
                </a:cubicBezTo>
                <a:cubicBezTo>
                  <a:pt x="254" y="123"/>
                  <a:pt x="249" y="121"/>
                  <a:pt x="242" y="122"/>
                </a:cubicBezTo>
                <a:lnTo>
                  <a:pt x="243" y="119"/>
                </a:lnTo>
                <a:cubicBezTo>
                  <a:pt x="244" y="118"/>
                  <a:pt x="244" y="117"/>
                  <a:pt x="245" y="117"/>
                </a:cubicBezTo>
                <a:cubicBezTo>
                  <a:pt x="246" y="116"/>
                  <a:pt x="246" y="115"/>
                  <a:pt x="247" y="113"/>
                </a:cubicBezTo>
                <a:cubicBezTo>
                  <a:pt x="247" y="111"/>
                  <a:pt x="246" y="108"/>
                  <a:pt x="243" y="105"/>
                </a:cubicBezTo>
                <a:cubicBezTo>
                  <a:pt x="241" y="101"/>
                  <a:pt x="239" y="97"/>
                  <a:pt x="240" y="93"/>
                </a:cubicBezTo>
                <a:cubicBezTo>
                  <a:pt x="242" y="86"/>
                  <a:pt x="243" y="81"/>
                  <a:pt x="244" y="78"/>
                </a:cubicBezTo>
                <a:cubicBezTo>
                  <a:pt x="245" y="73"/>
                  <a:pt x="244" y="70"/>
                  <a:pt x="241" y="67"/>
                </a:cubicBezTo>
                <a:cubicBezTo>
                  <a:pt x="238" y="69"/>
                  <a:pt x="236" y="70"/>
                  <a:pt x="233" y="70"/>
                </a:cubicBezTo>
                <a:cubicBezTo>
                  <a:pt x="222" y="55"/>
                  <a:pt x="211" y="46"/>
                  <a:pt x="201" y="41"/>
                </a:cubicBezTo>
                <a:cubicBezTo>
                  <a:pt x="195" y="38"/>
                  <a:pt x="190" y="32"/>
                  <a:pt x="186" y="24"/>
                </a:cubicBezTo>
                <a:cubicBezTo>
                  <a:pt x="181" y="16"/>
                  <a:pt x="178" y="11"/>
                  <a:pt x="176" y="8"/>
                </a:cubicBezTo>
                <a:cubicBezTo>
                  <a:pt x="176" y="7"/>
                  <a:pt x="176" y="7"/>
                  <a:pt x="176" y="6"/>
                </a:cubicBezTo>
                <a:cubicBezTo>
                  <a:pt x="175" y="7"/>
                  <a:pt x="174" y="7"/>
                  <a:pt x="174" y="7"/>
                </a:cubicBezTo>
                <a:cubicBezTo>
                  <a:pt x="172" y="5"/>
                  <a:pt x="170" y="4"/>
                  <a:pt x="169" y="3"/>
                </a:cubicBezTo>
                <a:cubicBezTo>
                  <a:pt x="167" y="2"/>
                  <a:pt x="164" y="2"/>
                  <a:pt x="161" y="1"/>
                </a:cubicBezTo>
                <a:cubicBezTo>
                  <a:pt x="159" y="1"/>
                  <a:pt x="156" y="1"/>
                  <a:pt x="153" y="3"/>
                </a:cubicBezTo>
                <a:cubicBezTo>
                  <a:pt x="150" y="4"/>
                  <a:pt x="147" y="4"/>
                  <a:pt x="145" y="4"/>
                </a:cubicBezTo>
                <a:cubicBezTo>
                  <a:pt x="138" y="2"/>
                  <a:pt x="134" y="0"/>
                  <a:pt x="132" y="0"/>
                </a:cubicBezTo>
                <a:cubicBezTo>
                  <a:pt x="130" y="0"/>
                  <a:pt x="126" y="1"/>
                  <a:pt x="123" y="3"/>
                </a:cubicBezTo>
                <a:cubicBezTo>
                  <a:pt x="119" y="4"/>
                  <a:pt x="115" y="5"/>
                  <a:pt x="110" y="5"/>
                </a:cubicBezTo>
                <a:cubicBezTo>
                  <a:pt x="103" y="2"/>
                  <a:pt x="98" y="1"/>
                  <a:pt x="96" y="1"/>
                </a:cubicBezTo>
                <a:cubicBezTo>
                  <a:pt x="87" y="0"/>
                  <a:pt x="80" y="4"/>
                  <a:pt x="75" y="12"/>
                </a:cubicBezTo>
                <a:cubicBezTo>
                  <a:pt x="72" y="16"/>
                  <a:pt x="69" y="19"/>
                  <a:pt x="68" y="21"/>
                </a:cubicBezTo>
                <a:cubicBezTo>
                  <a:pt x="65" y="24"/>
                  <a:pt x="61" y="25"/>
                  <a:pt x="56" y="25"/>
                </a:cubicBezTo>
                <a:cubicBezTo>
                  <a:pt x="56" y="26"/>
                  <a:pt x="56" y="28"/>
                  <a:pt x="57" y="31"/>
                </a:cubicBezTo>
                <a:cubicBezTo>
                  <a:pt x="56" y="33"/>
                  <a:pt x="54" y="34"/>
                  <a:pt x="50" y="35"/>
                </a:cubicBezTo>
                <a:cubicBezTo>
                  <a:pt x="46" y="36"/>
                  <a:pt x="43" y="37"/>
                  <a:pt x="41" y="36"/>
                </a:cubicBezTo>
                <a:cubicBezTo>
                  <a:pt x="37" y="36"/>
                  <a:pt x="35" y="35"/>
                  <a:pt x="34" y="33"/>
                </a:cubicBezTo>
                <a:cubicBezTo>
                  <a:pt x="33" y="31"/>
                  <a:pt x="32" y="30"/>
                  <a:pt x="30" y="30"/>
                </a:cubicBezTo>
                <a:cubicBezTo>
                  <a:pt x="30" y="30"/>
                  <a:pt x="28" y="31"/>
                  <a:pt x="26" y="34"/>
                </a:cubicBezTo>
                <a:cubicBezTo>
                  <a:pt x="22" y="37"/>
                  <a:pt x="18" y="39"/>
                  <a:pt x="14" y="42"/>
                </a:cubicBezTo>
                <a:cubicBezTo>
                  <a:pt x="10" y="45"/>
                  <a:pt x="6" y="47"/>
                  <a:pt x="1" y="48"/>
                </a:cubicBezTo>
                <a:lnTo>
                  <a:pt x="0" y="49"/>
                </a:lnTo>
                <a:cubicBezTo>
                  <a:pt x="0" y="52"/>
                  <a:pt x="1" y="54"/>
                  <a:pt x="3" y="57"/>
                </a:cubicBezTo>
                <a:cubicBezTo>
                  <a:pt x="5" y="61"/>
                  <a:pt x="6" y="62"/>
                  <a:pt x="6" y="63"/>
                </a:cubicBezTo>
                <a:cubicBezTo>
                  <a:pt x="5" y="65"/>
                  <a:pt x="5" y="66"/>
                  <a:pt x="3" y="66"/>
                </a:cubicBezTo>
                <a:cubicBezTo>
                  <a:pt x="3" y="66"/>
                  <a:pt x="5" y="68"/>
                  <a:pt x="9" y="71"/>
                </a:cubicBezTo>
                <a:cubicBezTo>
                  <a:pt x="12" y="74"/>
                  <a:pt x="14" y="77"/>
                  <a:pt x="14" y="78"/>
                </a:cubicBezTo>
                <a:cubicBezTo>
                  <a:pt x="14" y="80"/>
                  <a:pt x="13" y="81"/>
                  <a:pt x="11" y="82"/>
                </a:cubicBezTo>
                <a:cubicBezTo>
                  <a:pt x="10" y="84"/>
                  <a:pt x="9" y="85"/>
                  <a:pt x="9" y="86"/>
                </a:cubicBezTo>
                <a:cubicBezTo>
                  <a:pt x="9" y="88"/>
                  <a:pt x="10" y="90"/>
                  <a:pt x="12" y="91"/>
                </a:cubicBezTo>
                <a:cubicBezTo>
                  <a:pt x="14" y="91"/>
                  <a:pt x="15" y="93"/>
                  <a:pt x="14" y="94"/>
                </a:cubicBezTo>
                <a:cubicBezTo>
                  <a:pt x="14" y="94"/>
                  <a:pt x="12" y="99"/>
                  <a:pt x="5" y="108"/>
                </a:cubicBezTo>
                <a:cubicBezTo>
                  <a:pt x="5" y="111"/>
                  <a:pt x="9" y="113"/>
                  <a:pt x="16" y="115"/>
                </a:cubicBezTo>
                <a:cubicBezTo>
                  <a:pt x="24" y="117"/>
                  <a:pt x="29" y="118"/>
                  <a:pt x="30" y="120"/>
                </a:cubicBezTo>
                <a:cubicBezTo>
                  <a:pt x="30" y="121"/>
                  <a:pt x="28" y="122"/>
                  <a:pt x="25" y="124"/>
                </a:cubicBezTo>
                <a:cubicBezTo>
                  <a:pt x="22" y="126"/>
                  <a:pt x="20" y="128"/>
                  <a:pt x="20" y="129"/>
                </a:cubicBezTo>
                <a:cubicBezTo>
                  <a:pt x="19" y="139"/>
                  <a:pt x="25" y="149"/>
                  <a:pt x="39" y="158"/>
                </a:cubicBezTo>
                <a:cubicBezTo>
                  <a:pt x="51" y="166"/>
                  <a:pt x="63" y="171"/>
                  <a:pt x="74" y="173"/>
                </a:cubicBezTo>
                <a:lnTo>
                  <a:pt x="75" y="174"/>
                </a:lnTo>
                <a:lnTo>
                  <a:pt x="75" y="175"/>
                </a:lnTo>
                <a:cubicBezTo>
                  <a:pt x="71" y="178"/>
                  <a:pt x="64" y="180"/>
                  <a:pt x="54" y="181"/>
                </a:cubicBezTo>
                <a:cubicBezTo>
                  <a:pt x="41" y="182"/>
                  <a:pt x="34" y="183"/>
                  <a:pt x="31" y="184"/>
                </a:cubicBezTo>
                <a:cubicBezTo>
                  <a:pt x="32" y="191"/>
                  <a:pt x="34" y="204"/>
                  <a:pt x="37" y="223"/>
                </a:cubicBezTo>
                <a:cubicBezTo>
                  <a:pt x="32" y="223"/>
                  <a:pt x="29" y="223"/>
                  <a:pt x="28" y="223"/>
                </a:cubicBezTo>
                <a:cubicBezTo>
                  <a:pt x="26" y="223"/>
                  <a:pt x="26" y="225"/>
                  <a:pt x="25" y="229"/>
                </a:cubicBezTo>
                <a:cubicBezTo>
                  <a:pt x="25" y="231"/>
                  <a:pt x="25" y="234"/>
                  <a:pt x="26" y="237"/>
                </a:cubicBezTo>
                <a:cubicBezTo>
                  <a:pt x="30" y="236"/>
                  <a:pt x="34" y="234"/>
                  <a:pt x="39" y="231"/>
                </a:cubicBezTo>
                <a:cubicBezTo>
                  <a:pt x="43" y="228"/>
                  <a:pt x="48" y="227"/>
                  <a:pt x="53" y="228"/>
                </a:cubicBezTo>
                <a:cubicBezTo>
                  <a:pt x="55" y="228"/>
                  <a:pt x="58" y="229"/>
                  <a:pt x="62" y="230"/>
                </a:cubicBezTo>
                <a:cubicBezTo>
                  <a:pt x="65" y="231"/>
                  <a:pt x="68" y="232"/>
                  <a:pt x="70" y="232"/>
                </a:cubicBezTo>
                <a:lnTo>
                  <a:pt x="70" y="233"/>
                </a:lnTo>
                <a:cubicBezTo>
                  <a:pt x="68" y="237"/>
                  <a:pt x="67" y="244"/>
                  <a:pt x="66" y="254"/>
                </a:cubicBezTo>
                <a:cubicBezTo>
                  <a:pt x="64" y="261"/>
                  <a:pt x="62" y="267"/>
                  <a:pt x="58" y="272"/>
                </a:cubicBezTo>
                <a:cubicBezTo>
                  <a:pt x="57" y="274"/>
                  <a:pt x="55" y="276"/>
                  <a:pt x="54" y="280"/>
                </a:cubicBezTo>
                <a:cubicBezTo>
                  <a:pt x="52" y="284"/>
                  <a:pt x="51" y="287"/>
                  <a:pt x="49" y="288"/>
                </a:cubicBezTo>
                <a:cubicBezTo>
                  <a:pt x="49" y="290"/>
                  <a:pt x="48" y="291"/>
                  <a:pt x="48" y="293"/>
                </a:cubicBezTo>
                <a:cubicBezTo>
                  <a:pt x="48" y="295"/>
                  <a:pt x="48" y="296"/>
                  <a:pt x="47" y="297"/>
                </a:cubicBezTo>
                <a:lnTo>
                  <a:pt x="43" y="299"/>
                </a:lnTo>
                <a:cubicBezTo>
                  <a:pt x="43" y="300"/>
                  <a:pt x="42" y="301"/>
                  <a:pt x="42" y="302"/>
                </a:cubicBezTo>
                <a:cubicBezTo>
                  <a:pt x="42" y="303"/>
                  <a:pt x="42" y="305"/>
                  <a:pt x="43" y="307"/>
                </a:cubicBezTo>
                <a:cubicBezTo>
                  <a:pt x="44" y="309"/>
                  <a:pt x="45" y="310"/>
                  <a:pt x="44" y="312"/>
                </a:cubicBezTo>
                <a:cubicBezTo>
                  <a:pt x="44" y="313"/>
                  <a:pt x="42" y="317"/>
                  <a:pt x="38" y="323"/>
                </a:cubicBezTo>
                <a:cubicBezTo>
                  <a:pt x="38" y="325"/>
                  <a:pt x="39" y="327"/>
                  <a:pt x="41" y="329"/>
                </a:cubicBezTo>
                <a:cubicBezTo>
                  <a:pt x="43" y="331"/>
                  <a:pt x="44" y="333"/>
                  <a:pt x="45" y="334"/>
                </a:cubicBezTo>
                <a:cubicBezTo>
                  <a:pt x="46" y="338"/>
                  <a:pt x="47" y="340"/>
                  <a:pt x="47" y="341"/>
                </a:cubicBezTo>
                <a:cubicBezTo>
                  <a:pt x="48" y="342"/>
                  <a:pt x="49" y="343"/>
                  <a:pt x="51" y="344"/>
                </a:cubicBezTo>
                <a:cubicBezTo>
                  <a:pt x="56" y="345"/>
                  <a:pt x="61" y="347"/>
                  <a:pt x="65" y="347"/>
                </a:cubicBezTo>
                <a:cubicBezTo>
                  <a:pt x="68" y="347"/>
                  <a:pt x="70" y="348"/>
                  <a:pt x="70" y="349"/>
                </a:cubicBezTo>
                <a:cubicBezTo>
                  <a:pt x="70" y="351"/>
                  <a:pt x="71" y="352"/>
                  <a:pt x="71" y="355"/>
                </a:cubicBezTo>
                <a:cubicBezTo>
                  <a:pt x="73" y="357"/>
                  <a:pt x="76" y="360"/>
                  <a:pt x="81" y="362"/>
                </a:cubicBezTo>
                <a:cubicBezTo>
                  <a:pt x="85" y="364"/>
                  <a:pt x="87" y="366"/>
                  <a:pt x="88" y="370"/>
                </a:cubicBezTo>
                <a:cubicBezTo>
                  <a:pt x="88" y="372"/>
                  <a:pt x="91" y="375"/>
                  <a:pt x="97" y="378"/>
                </a:cubicBezTo>
                <a:cubicBezTo>
                  <a:pt x="102" y="380"/>
                  <a:pt x="104" y="383"/>
                  <a:pt x="104" y="386"/>
                </a:cubicBezTo>
                <a:cubicBezTo>
                  <a:pt x="103" y="396"/>
                  <a:pt x="94" y="399"/>
                  <a:pt x="77" y="398"/>
                </a:cubicBezTo>
                <a:cubicBezTo>
                  <a:pt x="72" y="397"/>
                  <a:pt x="67" y="396"/>
                  <a:pt x="63" y="394"/>
                </a:cubicBezTo>
                <a:lnTo>
                  <a:pt x="58" y="393"/>
                </a:lnTo>
                <a:cubicBezTo>
                  <a:pt x="58" y="396"/>
                  <a:pt x="59" y="398"/>
                  <a:pt x="61" y="400"/>
                </a:cubicBezTo>
                <a:cubicBezTo>
                  <a:pt x="63" y="401"/>
                  <a:pt x="65" y="404"/>
                  <a:pt x="69" y="407"/>
                </a:cubicBezTo>
                <a:cubicBezTo>
                  <a:pt x="70" y="409"/>
                  <a:pt x="74" y="414"/>
                  <a:pt x="79" y="423"/>
                </a:cubicBezTo>
                <a:cubicBezTo>
                  <a:pt x="83" y="428"/>
                  <a:pt x="87" y="433"/>
                  <a:pt x="91" y="438"/>
                </a:cubicBezTo>
                <a:cubicBezTo>
                  <a:pt x="94" y="441"/>
                  <a:pt x="94" y="447"/>
                  <a:pt x="93" y="454"/>
                </a:cubicBezTo>
                <a:cubicBezTo>
                  <a:pt x="93" y="454"/>
                  <a:pt x="93" y="457"/>
                  <a:pt x="91" y="460"/>
                </a:cubicBezTo>
                <a:cubicBezTo>
                  <a:pt x="90" y="464"/>
                  <a:pt x="89" y="467"/>
                  <a:pt x="89" y="469"/>
                </a:cubicBezTo>
                <a:cubicBezTo>
                  <a:pt x="89" y="469"/>
                  <a:pt x="88" y="470"/>
                  <a:pt x="86" y="470"/>
                </a:cubicBezTo>
                <a:cubicBezTo>
                  <a:pt x="84" y="469"/>
                  <a:pt x="83" y="468"/>
                  <a:pt x="81" y="465"/>
                </a:cubicBezTo>
                <a:cubicBezTo>
                  <a:pt x="80" y="462"/>
                  <a:pt x="78" y="461"/>
                  <a:pt x="76" y="461"/>
                </a:cubicBezTo>
                <a:cubicBezTo>
                  <a:pt x="73" y="460"/>
                  <a:pt x="68" y="463"/>
                  <a:pt x="62" y="469"/>
                </a:cubicBezTo>
                <a:cubicBezTo>
                  <a:pt x="58" y="472"/>
                  <a:pt x="55" y="475"/>
                  <a:pt x="53" y="476"/>
                </a:cubicBezTo>
                <a:cubicBezTo>
                  <a:pt x="53" y="478"/>
                  <a:pt x="53" y="481"/>
                  <a:pt x="53" y="485"/>
                </a:cubicBezTo>
                <a:cubicBezTo>
                  <a:pt x="53" y="490"/>
                  <a:pt x="56" y="494"/>
                  <a:pt x="63" y="496"/>
                </a:cubicBezTo>
                <a:cubicBezTo>
                  <a:pt x="63" y="496"/>
                  <a:pt x="66" y="496"/>
                  <a:pt x="71" y="497"/>
                </a:cubicBezTo>
                <a:cubicBezTo>
                  <a:pt x="74" y="498"/>
                  <a:pt x="76" y="499"/>
                  <a:pt x="77" y="500"/>
                </a:cubicBezTo>
                <a:cubicBezTo>
                  <a:pt x="79" y="501"/>
                  <a:pt x="83" y="505"/>
                  <a:pt x="87" y="509"/>
                </a:cubicBezTo>
                <a:cubicBezTo>
                  <a:pt x="91" y="512"/>
                  <a:pt x="94" y="515"/>
                  <a:pt x="95" y="519"/>
                </a:cubicBezTo>
                <a:cubicBezTo>
                  <a:pt x="96" y="523"/>
                  <a:pt x="99" y="526"/>
                  <a:pt x="104" y="529"/>
                </a:cubicBezTo>
                <a:cubicBezTo>
                  <a:pt x="107" y="530"/>
                  <a:pt x="110" y="533"/>
                  <a:pt x="115" y="537"/>
                </a:cubicBezTo>
                <a:cubicBezTo>
                  <a:pt x="119" y="540"/>
                  <a:pt x="123" y="541"/>
                  <a:pt x="127" y="540"/>
                </a:cubicBezTo>
                <a:cubicBezTo>
                  <a:pt x="129" y="542"/>
                  <a:pt x="130" y="544"/>
                  <a:pt x="131" y="548"/>
                </a:cubicBezTo>
                <a:cubicBezTo>
                  <a:pt x="133" y="550"/>
                  <a:pt x="135" y="551"/>
                  <a:pt x="139" y="552"/>
                </a:cubicBezTo>
                <a:cubicBezTo>
                  <a:pt x="140" y="552"/>
                  <a:pt x="142" y="551"/>
                  <a:pt x="146" y="549"/>
                </a:cubicBezTo>
                <a:cubicBezTo>
                  <a:pt x="149" y="548"/>
                  <a:pt x="151" y="547"/>
                  <a:pt x="152" y="547"/>
                </a:cubicBezTo>
                <a:cubicBezTo>
                  <a:pt x="152" y="547"/>
                  <a:pt x="153" y="549"/>
                  <a:pt x="155" y="552"/>
                </a:cubicBezTo>
                <a:cubicBezTo>
                  <a:pt x="158" y="555"/>
                  <a:pt x="160" y="558"/>
                  <a:pt x="164" y="559"/>
                </a:cubicBezTo>
                <a:cubicBezTo>
                  <a:pt x="166" y="561"/>
                  <a:pt x="169" y="563"/>
                  <a:pt x="172" y="566"/>
                </a:cubicBezTo>
                <a:cubicBezTo>
                  <a:pt x="176" y="569"/>
                  <a:pt x="177" y="571"/>
                  <a:pt x="178" y="572"/>
                </a:cubicBezTo>
                <a:cubicBezTo>
                  <a:pt x="181" y="573"/>
                  <a:pt x="189" y="574"/>
                  <a:pt x="200" y="576"/>
                </a:cubicBezTo>
                <a:cubicBezTo>
                  <a:pt x="210" y="578"/>
                  <a:pt x="214" y="582"/>
                  <a:pt x="214" y="587"/>
                </a:cubicBezTo>
                <a:cubicBezTo>
                  <a:pt x="214" y="589"/>
                  <a:pt x="213" y="590"/>
                  <a:pt x="213" y="592"/>
                </a:cubicBezTo>
                <a:cubicBezTo>
                  <a:pt x="212" y="593"/>
                  <a:pt x="212" y="593"/>
                  <a:pt x="212" y="594"/>
                </a:cubicBezTo>
                <a:cubicBezTo>
                  <a:pt x="212" y="594"/>
                  <a:pt x="212" y="594"/>
                  <a:pt x="212" y="594"/>
                </a:cubicBezTo>
                <a:lnTo>
                  <a:pt x="212" y="594"/>
                </a:lnTo>
                <a:cubicBezTo>
                  <a:pt x="212" y="594"/>
                  <a:pt x="212" y="594"/>
                  <a:pt x="212" y="594"/>
                </a:cubicBezTo>
                <a:cubicBezTo>
                  <a:pt x="213" y="594"/>
                  <a:pt x="213" y="594"/>
                  <a:pt x="214" y="594"/>
                </a:cubicBezTo>
                <a:cubicBezTo>
                  <a:pt x="214" y="594"/>
                  <a:pt x="215" y="594"/>
                  <a:pt x="215" y="593"/>
                </a:cubicBezTo>
                <a:cubicBezTo>
                  <a:pt x="217" y="593"/>
                  <a:pt x="220" y="592"/>
                  <a:pt x="223" y="592"/>
                </a:cubicBezTo>
                <a:cubicBezTo>
                  <a:pt x="228" y="591"/>
                  <a:pt x="231" y="589"/>
                  <a:pt x="232" y="587"/>
                </a:cubicBezTo>
                <a:cubicBezTo>
                  <a:pt x="229" y="585"/>
                  <a:pt x="228" y="584"/>
                  <a:pt x="227" y="583"/>
                </a:cubicBezTo>
                <a:cubicBezTo>
                  <a:pt x="225" y="581"/>
                  <a:pt x="224" y="579"/>
                  <a:pt x="224" y="576"/>
                </a:cubicBezTo>
                <a:cubicBezTo>
                  <a:pt x="225" y="572"/>
                  <a:pt x="227" y="570"/>
                  <a:pt x="230" y="570"/>
                </a:cubicBezTo>
                <a:cubicBezTo>
                  <a:pt x="233" y="570"/>
                  <a:pt x="236" y="568"/>
                  <a:pt x="237" y="563"/>
                </a:cubicBezTo>
                <a:lnTo>
                  <a:pt x="244" y="564"/>
                </a:lnTo>
                <a:cubicBezTo>
                  <a:pt x="244" y="561"/>
                  <a:pt x="245" y="557"/>
                  <a:pt x="247" y="553"/>
                </a:cubicBezTo>
                <a:cubicBezTo>
                  <a:pt x="250" y="548"/>
                  <a:pt x="252" y="545"/>
                  <a:pt x="252" y="544"/>
                </a:cubicBezTo>
                <a:cubicBezTo>
                  <a:pt x="252" y="544"/>
                  <a:pt x="249" y="542"/>
                  <a:pt x="244" y="538"/>
                </a:cubicBezTo>
                <a:cubicBezTo>
                  <a:pt x="240" y="535"/>
                  <a:pt x="239" y="532"/>
                  <a:pt x="239" y="530"/>
                </a:cubicBezTo>
                <a:cubicBezTo>
                  <a:pt x="239" y="530"/>
                  <a:pt x="249" y="525"/>
                  <a:pt x="268" y="515"/>
                </a:cubicBezTo>
                <a:cubicBezTo>
                  <a:pt x="269" y="515"/>
                  <a:pt x="271" y="515"/>
                  <a:pt x="273" y="517"/>
                </a:cubicBezTo>
                <a:cubicBezTo>
                  <a:pt x="275" y="518"/>
                  <a:pt x="276" y="519"/>
                  <a:pt x="276" y="520"/>
                </a:cubicBezTo>
                <a:cubicBezTo>
                  <a:pt x="276" y="522"/>
                  <a:pt x="275" y="525"/>
                  <a:pt x="273" y="528"/>
                </a:cubicBezTo>
                <a:cubicBezTo>
                  <a:pt x="272" y="533"/>
                  <a:pt x="278" y="536"/>
                  <a:pt x="289" y="539"/>
                </a:cubicBezTo>
                <a:cubicBezTo>
                  <a:pt x="295" y="541"/>
                  <a:pt x="301" y="542"/>
                  <a:pt x="308" y="543"/>
                </a:cubicBezTo>
                <a:cubicBezTo>
                  <a:pt x="312" y="545"/>
                  <a:pt x="316" y="549"/>
                  <a:pt x="318" y="555"/>
                </a:cubicBezTo>
                <a:cubicBezTo>
                  <a:pt x="323" y="564"/>
                  <a:pt x="326" y="569"/>
                  <a:pt x="326" y="570"/>
                </a:cubicBezTo>
                <a:cubicBezTo>
                  <a:pt x="328" y="573"/>
                  <a:pt x="332" y="577"/>
                  <a:pt x="339" y="581"/>
                </a:cubicBezTo>
                <a:cubicBezTo>
                  <a:pt x="344" y="585"/>
                  <a:pt x="348" y="590"/>
                  <a:pt x="350" y="594"/>
                </a:cubicBezTo>
                <a:cubicBezTo>
                  <a:pt x="351" y="596"/>
                  <a:pt x="353" y="599"/>
                  <a:pt x="354" y="602"/>
                </a:cubicBezTo>
                <a:cubicBezTo>
                  <a:pt x="356" y="604"/>
                  <a:pt x="359" y="605"/>
                  <a:pt x="363" y="605"/>
                </a:cubicBezTo>
                <a:cubicBezTo>
                  <a:pt x="367" y="606"/>
                  <a:pt x="370" y="607"/>
                  <a:pt x="373" y="609"/>
                </a:cubicBezTo>
                <a:cubicBezTo>
                  <a:pt x="376" y="611"/>
                  <a:pt x="378" y="613"/>
                  <a:pt x="381" y="613"/>
                </a:cubicBezTo>
                <a:cubicBezTo>
                  <a:pt x="382" y="613"/>
                  <a:pt x="384" y="612"/>
                  <a:pt x="387" y="611"/>
                </a:cubicBezTo>
                <a:cubicBezTo>
                  <a:pt x="389" y="609"/>
                  <a:pt x="391" y="608"/>
                  <a:pt x="393" y="608"/>
                </a:cubicBezTo>
                <a:cubicBezTo>
                  <a:pt x="394" y="609"/>
                  <a:pt x="395" y="609"/>
                  <a:pt x="397" y="611"/>
                </a:cubicBezTo>
                <a:cubicBezTo>
                  <a:pt x="398" y="613"/>
                  <a:pt x="399" y="615"/>
                  <a:pt x="398" y="618"/>
                </a:cubicBezTo>
                <a:cubicBezTo>
                  <a:pt x="398" y="620"/>
                  <a:pt x="397" y="622"/>
                  <a:pt x="396" y="623"/>
                </a:cubicBezTo>
                <a:cubicBezTo>
                  <a:pt x="395" y="625"/>
                  <a:pt x="394" y="626"/>
                  <a:pt x="394" y="627"/>
                </a:cubicBezTo>
                <a:cubicBezTo>
                  <a:pt x="394" y="627"/>
                  <a:pt x="395" y="630"/>
                  <a:pt x="397" y="634"/>
                </a:cubicBezTo>
                <a:lnTo>
                  <a:pt x="396" y="640"/>
                </a:lnTo>
                <a:cubicBezTo>
                  <a:pt x="394" y="640"/>
                  <a:pt x="392" y="642"/>
                  <a:pt x="388" y="646"/>
                </a:cubicBezTo>
                <a:cubicBezTo>
                  <a:pt x="385" y="650"/>
                  <a:pt x="383" y="654"/>
                  <a:pt x="382" y="656"/>
                </a:cubicBezTo>
                <a:cubicBezTo>
                  <a:pt x="382" y="662"/>
                  <a:pt x="380" y="666"/>
                  <a:pt x="376" y="668"/>
                </a:cubicBezTo>
                <a:cubicBezTo>
                  <a:pt x="372" y="669"/>
                  <a:pt x="370" y="671"/>
                  <a:pt x="370" y="673"/>
                </a:cubicBezTo>
                <a:cubicBezTo>
                  <a:pt x="370" y="675"/>
                  <a:pt x="373" y="677"/>
                  <a:pt x="379" y="680"/>
                </a:cubicBezTo>
                <a:cubicBezTo>
                  <a:pt x="379" y="681"/>
                  <a:pt x="380" y="683"/>
                  <a:pt x="380" y="685"/>
                </a:cubicBezTo>
                <a:cubicBezTo>
                  <a:pt x="380" y="687"/>
                  <a:pt x="380" y="689"/>
                  <a:pt x="380" y="690"/>
                </a:cubicBezTo>
                <a:cubicBezTo>
                  <a:pt x="381" y="690"/>
                  <a:pt x="381" y="690"/>
                  <a:pt x="382" y="690"/>
                </a:cubicBezTo>
                <a:cubicBezTo>
                  <a:pt x="388" y="690"/>
                  <a:pt x="391" y="690"/>
                  <a:pt x="392" y="690"/>
                </a:cubicBezTo>
                <a:cubicBezTo>
                  <a:pt x="394" y="689"/>
                  <a:pt x="397" y="687"/>
                  <a:pt x="401" y="683"/>
                </a:cubicBezTo>
                <a:cubicBezTo>
                  <a:pt x="404" y="680"/>
                  <a:pt x="407" y="678"/>
                  <a:pt x="410" y="679"/>
                </a:cubicBezTo>
                <a:cubicBezTo>
                  <a:pt x="412" y="679"/>
                  <a:pt x="415" y="680"/>
                  <a:pt x="419" y="682"/>
                </a:cubicBezTo>
                <a:lnTo>
                  <a:pt x="420" y="677"/>
                </a:lnTo>
                <a:cubicBezTo>
                  <a:pt x="419" y="676"/>
                  <a:pt x="419" y="675"/>
                  <a:pt x="419" y="673"/>
                </a:cubicBezTo>
                <a:cubicBezTo>
                  <a:pt x="420" y="672"/>
                  <a:pt x="422" y="672"/>
                  <a:pt x="426" y="672"/>
                </a:cubicBezTo>
                <a:cubicBezTo>
                  <a:pt x="427" y="672"/>
                  <a:pt x="429" y="673"/>
                  <a:pt x="432" y="675"/>
                </a:cubicBezTo>
                <a:cubicBezTo>
                  <a:pt x="435" y="676"/>
                  <a:pt x="438" y="677"/>
                  <a:pt x="440" y="677"/>
                </a:cubicBezTo>
                <a:cubicBezTo>
                  <a:pt x="444" y="677"/>
                  <a:pt x="450" y="675"/>
                  <a:pt x="458" y="671"/>
                </a:cubicBezTo>
                <a:cubicBezTo>
                  <a:pt x="467" y="666"/>
                  <a:pt x="472" y="664"/>
                  <a:pt x="472" y="663"/>
                </a:cubicBezTo>
                <a:cubicBezTo>
                  <a:pt x="476" y="669"/>
                  <a:pt x="480" y="673"/>
                  <a:pt x="483" y="674"/>
                </a:cubicBezTo>
                <a:lnTo>
                  <a:pt x="488" y="675"/>
                </a:lnTo>
                <a:lnTo>
                  <a:pt x="488" y="675"/>
                </a:lnTo>
                <a:cubicBezTo>
                  <a:pt x="488" y="670"/>
                  <a:pt x="491" y="665"/>
                  <a:pt x="497" y="661"/>
                </a:cubicBezTo>
                <a:cubicBezTo>
                  <a:pt x="502" y="657"/>
                  <a:pt x="504" y="653"/>
                  <a:pt x="505" y="648"/>
                </a:cubicBezTo>
                <a:cubicBezTo>
                  <a:pt x="505" y="645"/>
                  <a:pt x="503" y="641"/>
                  <a:pt x="498" y="634"/>
                </a:cubicBezTo>
                <a:cubicBezTo>
                  <a:pt x="492" y="627"/>
                  <a:pt x="490" y="622"/>
                  <a:pt x="490" y="620"/>
                </a:cubicBezTo>
                <a:cubicBezTo>
                  <a:pt x="490" y="615"/>
                  <a:pt x="489" y="609"/>
                  <a:pt x="487" y="599"/>
                </a:cubicBezTo>
                <a:cubicBezTo>
                  <a:pt x="485" y="590"/>
                  <a:pt x="484" y="586"/>
                  <a:pt x="484" y="585"/>
                </a:cubicBezTo>
                <a:cubicBezTo>
                  <a:pt x="484" y="583"/>
                  <a:pt x="486" y="581"/>
                  <a:pt x="491" y="578"/>
                </a:cubicBezTo>
                <a:cubicBezTo>
                  <a:pt x="493" y="576"/>
                  <a:pt x="496" y="575"/>
                  <a:pt x="498" y="574"/>
                </a:cubicBezTo>
                <a:lnTo>
                  <a:pt x="498" y="571"/>
                </a:lnTo>
                <a:cubicBezTo>
                  <a:pt x="509" y="570"/>
                  <a:pt x="515" y="569"/>
                  <a:pt x="519" y="568"/>
                </a:cubicBezTo>
                <a:cubicBezTo>
                  <a:pt x="526" y="565"/>
                  <a:pt x="530" y="559"/>
                  <a:pt x="530" y="550"/>
                </a:cubicBezTo>
                <a:cubicBezTo>
                  <a:pt x="535" y="544"/>
                  <a:pt x="539" y="540"/>
                  <a:pt x="542" y="536"/>
                </a:cubicBezTo>
                <a:cubicBezTo>
                  <a:pt x="547" y="531"/>
                  <a:pt x="550" y="526"/>
                  <a:pt x="553" y="522"/>
                </a:cubicBezTo>
                <a:lnTo>
                  <a:pt x="554" y="510"/>
                </a:lnTo>
                <a:cubicBezTo>
                  <a:pt x="548" y="510"/>
                  <a:pt x="542" y="506"/>
                  <a:pt x="537" y="500"/>
                </a:cubicBezTo>
                <a:lnTo>
                  <a:pt x="537" y="50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" name="Freeform 216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" name="Freeform 217"/>
          <p:cNvSpPr/>
          <p:nvPr/>
        </p:nvSpPr>
        <p:spPr bwMode="auto">
          <a:xfrm>
            <a:off x="8825397" y="5160347"/>
            <a:ext cx="15722" cy="17469"/>
          </a:xfrm>
          <a:custGeom>
            <a:avLst/>
            <a:gdLst>
              <a:gd name="T0" fmla="*/ 14 w 15"/>
              <a:gd name="T1" fmla="*/ 8 h 16"/>
              <a:gd name="T2" fmla="*/ 14 w 15"/>
              <a:gd name="T3" fmla="*/ 8 h 16"/>
              <a:gd name="T4" fmla="*/ 14 w 15"/>
              <a:gd name="T5" fmla="*/ 3 h 16"/>
              <a:gd name="T6" fmla="*/ 14 w 15"/>
              <a:gd name="T7" fmla="*/ 0 h 16"/>
              <a:gd name="T8" fmla="*/ 5 w 15"/>
              <a:gd name="T9" fmla="*/ 3 h 16"/>
              <a:gd name="T10" fmla="*/ 0 w 15"/>
              <a:gd name="T11" fmla="*/ 9 h 16"/>
              <a:gd name="T12" fmla="*/ 6 w 15"/>
              <a:gd name="T13" fmla="*/ 16 h 16"/>
              <a:gd name="T14" fmla="*/ 11 w 15"/>
              <a:gd name="T15" fmla="*/ 14 h 16"/>
              <a:gd name="T16" fmla="*/ 14 w 15"/>
              <a:gd name="T17" fmla="*/ 8 h 16"/>
              <a:gd name="T18" fmla="*/ 14 w 15"/>
              <a:gd name="T19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14" y="8"/>
                </a:moveTo>
                <a:lnTo>
                  <a:pt x="14" y="8"/>
                </a:lnTo>
                <a:cubicBezTo>
                  <a:pt x="15" y="7"/>
                  <a:pt x="15" y="5"/>
                  <a:pt x="14" y="3"/>
                </a:cubicBezTo>
                <a:cubicBezTo>
                  <a:pt x="14" y="2"/>
                  <a:pt x="14" y="0"/>
                  <a:pt x="14" y="0"/>
                </a:cubicBezTo>
                <a:cubicBezTo>
                  <a:pt x="12" y="0"/>
                  <a:pt x="9" y="1"/>
                  <a:pt x="5" y="3"/>
                </a:cubicBezTo>
                <a:cubicBezTo>
                  <a:pt x="2" y="5"/>
                  <a:pt x="0" y="7"/>
                  <a:pt x="0" y="9"/>
                </a:cubicBezTo>
                <a:cubicBezTo>
                  <a:pt x="0" y="13"/>
                  <a:pt x="2" y="16"/>
                  <a:pt x="6" y="16"/>
                </a:cubicBezTo>
                <a:cubicBezTo>
                  <a:pt x="7" y="16"/>
                  <a:pt x="9" y="15"/>
                  <a:pt x="11" y="14"/>
                </a:cubicBezTo>
                <a:cubicBezTo>
                  <a:pt x="14" y="13"/>
                  <a:pt x="15" y="11"/>
                  <a:pt x="14" y="8"/>
                </a:cubicBezTo>
                <a:lnTo>
                  <a:pt x="14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" name="Freeform 218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" name="Freeform 219"/>
          <p:cNvSpPr/>
          <p:nvPr/>
        </p:nvSpPr>
        <p:spPr bwMode="auto">
          <a:xfrm>
            <a:off x="9871769" y="4302636"/>
            <a:ext cx="1245516" cy="889156"/>
          </a:xfrm>
          <a:custGeom>
            <a:avLst/>
            <a:gdLst>
              <a:gd name="T0" fmla="*/ 1186 w 1192"/>
              <a:gd name="T1" fmla="*/ 478 h 849"/>
              <a:gd name="T2" fmla="*/ 1108 w 1192"/>
              <a:gd name="T3" fmla="*/ 464 h 849"/>
              <a:gd name="T4" fmla="*/ 1044 w 1192"/>
              <a:gd name="T5" fmla="*/ 495 h 849"/>
              <a:gd name="T6" fmla="*/ 978 w 1192"/>
              <a:gd name="T7" fmla="*/ 439 h 849"/>
              <a:gd name="T8" fmla="*/ 968 w 1192"/>
              <a:gd name="T9" fmla="*/ 378 h 849"/>
              <a:gd name="T10" fmla="*/ 972 w 1192"/>
              <a:gd name="T11" fmla="*/ 281 h 849"/>
              <a:gd name="T12" fmla="*/ 919 w 1192"/>
              <a:gd name="T13" fmla="*/ 194 h 849"/>
              <a:gd name="T14" fmla="*/ 867 w 1192"/>
              <a:gd name="T15" fmla="*/ 130 h 849"/>
              <a:gd name="T16" fmla="*/ 820 w 1192"/>
              <a:gd name="T17" fmla="*/ 81 h 849"/>
              <a:gd name="T18" fmla="*/ 788 w 1192"/>
              <a:gd name="T19" fmla="*/ 30 h 849"/>
              <a:gd name="T20" fmla="*/ 723 w 1192"/>
              <a:gd name="T21" fmla="*/ 10 h 849"/>
              <a:gd name="T22" fmla="*/ 693 w 1192"/>
              <a:gd name="T23" fmla="*/ 37 h 849"/>
              <a:gd name="T24" fmla="*/ 629 w 1192"/>
              <a:gd name="T25" fmla="*/ 71 h 849"/>
              <a:gd name="T26" fmla="*/ 555 w 1192"/>
              <a:gd name="T27" fmla="*/ 117 h 849"/>
              <a:gd name="T28" fmla="*/ 506 w 1192"/>
              <a:gd name="T29" fmla="*/ 90 h 849"/>
              <a:gd name="T30" fmla="*/ 433 w 1192"/>
              <a:gd name="T31" fmla="*/ 91 h 849"/>
              <a:gd name="T32" fmla="*/ 389 w 1192"/>
              <a:gd name="T33" fmla="*/ 86 h 849"/>
              <a:gd name="T34" fmla="*/ 360 w 1192"/>
              <a:gd name="T35" fmla="*/ 89 h 849"/>
              <a:gd name="T36" fmla="*/ 322 w 1192"/>
              <a:gd name="T37" fmla="*/ 78 h 849"/>
              <a:gd name="T38" fmla="*/ 299 w 1192"/>
              <a:gd name="T39" fmla="*/ 99 h 849"/>
              <a:gd name="T40" fmla="*/ 259 w 1192"/>
              <a:gd name="T41" fmla="*/ 137 h 849"/>
              <a:gd name="T42" fmla="*/ 219 w 1192"/>
              <a:gd name="T43" fmla="*/ 158 h 849"/>
              <a:gd name="T44" fmla="*/ 195 w 1192"/>
              <a:gd name="T45" fmla="*/ 192 h 849"/>
              <a:gd name="T46" fmla="*/ 167 w 1192"/>
              <a:gd name="T47" fmla="*/ 260 h 849"/>
              <a:gd name="T48" fmla="*/ 155 w 1192"/>
              <a:gd name="T49" fmla="*/ 305 h 849"/>
              <a:gd name="T50" fmla="*/ 135 w 1192"/>
              <a:gd name="T51" fmla="*/ 349 h 849"/>
              <a:gd name="T52" fmla="*/ 118 w 1192"/>
              <a:gd name="T53" fmla="*/ 370 h 849"/>
              <a:gd name="T54" fmla="*/ 92 w 1192"/>
              <a:gd name="T55" fmla="*/ 424 h 849"/>
              <a:gd name="T56" fmla="*/ 51 w 1192"/>
              <a:gd name="T57" fmla="*/ 441 h 849"/>
              <a:gd name="T58" fmla="*/ 0 w 1192"/>
              <a:gd name="T59" fmla="*/ 449 h 849"/>
              <a:gd name="T60" fmla="*/ 68 w 1192"/>
              <a:gd name="T61" fmla="*/ 519 h 849"/>
              <a:gd name="T62" fmla="*/ 67 w 1192"/>
              <a:gd name="T63" fmla="*/ 560 h 849"/>
              <a:gd name="T64" fmla="*/ 108 w 1192"/>
              <a:gd name="T65" fmla="*/ 590 h 849"/>
              <a:gd name="T66" fmla="*/ 157 w 1192"/>
              <a:gd name="T67" fmla="*/ 611 h 849"/>
              <a:gd name="T68" fmla="*/ 171 w 1192"/>
              <a:gd name="T69" fmla="*/ 655 h 849"/>
              <a:gd name="T70" fmla="*/ 147 w 1192"/>
              <a:gd name="T71" fmla="*/ 674 h 849"/>
              <a:gd name="T72" fmla="*/ 198 w 1192"/>
              <a:gd name="T73" fmla="*/ 698 h 849"/>
              <a:gd name="T74" fmla="*/ 266 w 1192"/>
              <a:gd name="T75" fmla="*/ 701 h 849"/>
              <a:gd name="T76" fmla="*/ 303 w 1192"/>
              <a:gd name="T77" fmla="*/ 712 h 849"/>
              <a:gd name="T78" fmla="*/ 315 w 1192"/>
              <a:gd name="T79" fmla="*/ 758 h 849"/>
              <a:gd name="T80" fmla="*/ 343 w 1192"/>
              <a:gd name="T81" fmla="*/ 781 h 849"/>
              <a:gd name="T82" fmla="*/ 349 w 1192"/>
              <a:gd name="T83" fmla="*/ 826 h 849"/>
              <a:gd name="T84" fmla="*/ 395 w 1192"/>
              <a:gd name="T85" fmla="*/ 834 h 849"/>
              <a:gd name="T86" fmla="*/ 455 w 1192"/>
              <a:gd name="T87" fmla="*/ 834 h 849"/>
              <a:gd name="T88" fmla="*/ 531 w 1192"/>
              <a:gd name="T89" fmla="*/ 846 h 849"/>
              <a:gd name="T90" fmla="*/ 609 w 1192"/>
              <a:gd name="T91" fmla="*/ 834 h 849"/>
              <a:gd name="T92" fmla="*/ 688 w 1192"/>
              <a:gd name="T93" fmla="*/ 841 h 849"/>
              <a:gd name="T94" fmla="*/ 724 w 1192"/>
              <a:gd name="T95" fmla="*/ 824 h 849"/>
              <a:gd name="T96" fmla="*/ 762 w 1192"/>
              <a:gd name="T97" fmla="*/ 778 h 849"/>
              <a:gd name="T98" fmla="*/ 912 w 1192"/>
              <a:gd name="T99" fmla="*/ 723 h 849"/>
              <a:gd name="T100" fmla="*/ 972 w 1192"/>
              <a:gd name="T101" fmla="*/ 739 h 849"/>
              <a:gd name="T102" fmla="*/ 1058 w 1192"/>
              <a:gd name="T103" fmla="*/ 766 h 849"/>
              <a:gd name="T104" fmla="*/ 1095 w 1192"/>
              <a:gd name="T105" fmla="*/ 715 h 849"/>
              <a:gd name="T106" fmla="*/ 1098 w 1192"/>
              <a:gd name="T107" fmla="*/ 631 h 849"/>
              <a:gd name="T108" fmla="*/ 1089 w 1192"/>
              <a:gd name="T109" fmla="*/ 626 h 849"/>
              <a:gd name="T110" fmla="*/ 1098 w 1192"/>
              <a:gd name="T111" fmla="*/ 597 h 849"/>
              <a:gd name="T112" fmla="*/ 1108 w 1192"/>
              <a:gd name="T113" fmla="*/ 575 h 849"/>
              <a:gd name="T114" fmla="*/ 1111 w 1192"/>
              <a:gd name="T115" fmla="*/ 534 h 849"/>
              <a:gd name="T116" fmla="*/ 1117 w 1192"/>
              <a:gd name="T117" fmla="*/ 563 h 849"/>
              <a:gd name="T118" fmla="*/ 1108 w 1192"/>
              <a:gd name="T119" fmla="*/ 584 h 849"/>
              <a:gd name="T120" fmla="*/ 1180 w 1192"/>
              <a:gd name="T121" fmla="*/ 552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92" h="849">
                <a:moveTo>
                  <a:pt x="1187" y="509"/>
                </a:moveTo>
                <a:lnTo>
                  <a:pt x="1187" y="509"/>
                </a:lnTo>
                <a:lnTo>
                  <a:pt x="1189" y="493"/>
                </a:lnTo>
                <a:cubicBezTo>
                  <a:pt x="1189" y="490"/>
                  <a:pt x="1189" y="487"/>
                  <a:pt x="1188" y="483"/>
                </a:cubicBezTo>
                <a:cubicBezTo>
                  <a:pt x="1187" y="479"/>
                  <a:pt x="1186" y="478"/>
                  <a:pt x="1186" y="478"/>
                </a:cubicBezTo>
                <a:cubicBezTo>
                  <a:pt x="1186" y="476"/>
                  <a:pt x="1188" y="475"/>
                  <a:pt x="1191" y="473"/>
                </a:cubicBezTo>
                <a:cubicBezTo>
                  <a:pt x="1191" y="473"/>
                  <a:pt x="1192" y="473"/>
                  <a:pt x="1192" y="473"/>
                </a:cubicBezTo>
                <a:cubicBezTo>
                  <a:pt x="1189" y="465"/>
                  <a:pt x="1188" y="460"/>
                  <a:pt x="1186" y="458"/>
                </a:cubicBezTo>
                <a:cubicBezTo>
                  <a:pt x="1182" y="451"/>
                  <a:pt x="1176" y="447"/>
                  <a:pt x="1168" y="447"/>
                </a:cubicBezTo>
                <a:cubicBezTo>
                  <a:pt x="1142" y="444"/>
                  <a:pt x="1122" y="450"/>
                  <a:pt x="1108" y="464"/>
                </a:cubicBezTo>
                <a:cubicBezTo>
                  <a:pt x="1102" y="471"/>
                  <a:pt x="1097" y="476"/>
                  <a:pt x="1094" y="479"/>
                </a:cubicBezTo>
                <a:cubicBezTo>
                  <a:pt x="1089" y="483"/>
                  <a:pt x="1084" y="485"/>
                  <a:pt x="1077" y="484"/>
                </a:cubicBezTo>
                <a:cubicBezTo>
                  <a:pt x="1074" y="484"/>
                  <a:pt x="1072" y="487"/>
                  <a:pt x="1070" y="492"/>
                </a:cubicBezTo>
                <a:cubicBezTo>
                  <a:pt x="1067" y="497"/>
                  <a:pt x="1065" y="500"/>
                  <a:pt x="1062" y="500"/>
                </a:cubicBezTo>
                <a:cubicBezTo>
                  <a:pt x="1055" y="497"/>
                  <a:pt x="1049" y="495"/>
                  <a:pt x="1044" y="495"/>
                </a:cubicBezTo>
                <a:cubicBezTo>
                  <a:pt x="1033" y="495"/>
                  <a:pt x="1026" y="495"/>
                  <a:pt x="1024" y="494"/>
                </a:cubicBezTo>
                <a:cubicBezTo>
                  <a:pt x="1022" y="494"/>
                  <a:pt x="1013" y="487"/>
                  <a:pt x="998" y="472"/>
                </a:cubicBezTo>
                <a:cubicBezTo>
                  <a:pt x="996" y="470"/>
                  <a:pt x="995" y="469"/>
                  <a:pt x="993" y="467"/>
                </a:cubicBezTo>
                <a:cubicBezTo>
                  <a:pt x="981" y="455"/>
                  <a:pt x="975" y="448"/>
                  <a:pt x="975" y="446"/>
                </a:cubicBezTo>
                <a:cubicBezTo>
                  <a:pt x="975" y="444"/>
                  <a:pt x="976" y="442"/>
                  <a:pt x="978" y="439"/>
                </a:cubicBezTo>
                <a:cubicBezTo>
                  <a:pt x="980" y="436"/>
                  <a:pt x="981" y="434"/>
                  <a:pt x="981" y="432"/>
                </a:cubicBezTo>
                <a:cubicBezTo>
                  <a:pt x="982" y="424"/>
                  <a:pt x="981" y="419"/>
                  <a:pt x="979" y="415"/>
                </a:cubicBezTo>
                <a:cubicBezTo>
                  <a:pt x="974" y="407"/>
                  <a:pt x="972" y="401"/>
                  <a:pt x="970" y="398"/>
                </a:cubicBezTo>
                <a:cubicBezTo>
                  <a:pt x="970" y="396"/>
                  <a:pt x="969" y="392"/>
                  <a:pt x="970" y="387"/>
                </a:cubicBezTo>
                <a:cubicBezTo>
                  <a:pt x="970" y="383"/>
                  <a:pt x="969" y="380"/>
                  <a:pt x="968" y="378"/>
                </a:cubicBezTo>
                <a:cubicBezTo>
                  <a:pt x="964" y="372"/>
                  <a:pt x="962" y="367"/>
                  <a:pt x="962" y="364"/>
                </a:cubicBezTo>
                <a:cubicBezTo>
                  <a:pt x="965" y="357"/>
                  <a:pt x="967" y="352"/>
                  <a:pt x="967" y="350"/>
                </a:cubicBezTo>
                <a:cubicBezTo>
                  <a:pt x="966" y="338"/>
                  <a:pt x="966" y="332"/>
                  <a:pt x="966" y="329"/>
                </a:cubicBezTo>
                <a:cubicBezTo>
                  <a:pt x="970" y="311"/>
                  <a:pt x="972" y="301"/>
                  <a:pt x="972" y="299"/>
                </a:cubicBezTo>
                <a:cubicBezTo>
                  <a:pt x="973" y="290"/>
                  <a:pt x="973" y="284"/>
                  <a:pt x="972" y="281"/>
                </a:cubicBezTo>
                <a:cubicBezTo>
                  <a:pt x="970" y="275"/>
                  <a:pt x="968" y="269"/>
                  <a:pt x="966" y="262"/>
                </a:cubicBezTo>
                <a:cubicBezTo>
                  <a:pt x="964" y="254"/>
                  <a:pt x="958" y="245"/>
                  <a:pt x="948" y="235"/>
                </a:cubicBezTo>
                <a:cubicBezTo>
                  <a:pt x="945" y="232"/>
                  <a:pt x="943" y="227"/>
                  <a:pt x="942" y="219"/>
                </a:cubicBezTo>
                <a:cubicBezTo>
                  <a:pt x="940" y="211"/>
                  <a:pt x="938" y="205"/>
                  <a:pt x="934" y="202"/>
                </a:cubicBezTo>
                <a:cubicBezTo>
                  <a:pt x="931" y="200"/>
                  <a:pt x="926" y="197"/>
                  <a:pt x="919" y="194"/>
                </a:cubicBezTo>
                <a:cubicBezTo>
                  <a:pt x="911" y="190"/>
                  <a:pt x="906" y="187"/>
                  <a:pt x="903" y="185"/>
                </a:cubicBezTo>
                <a:cubicBezTo>
                  <a:pt x="900" y="182"/>
                  <a:pt x="897" y="177"/>
                  <a:pt x="895" y="170"/>
                </a:cubicBezTo>
                <a:cubicBezTo>
                  <a:pt x="892" y="163"/>
                  <a:pt x="890" y="158"/>
                  <a:pt x="886" y="156"/>
                </a:cubicBezTo>
                <a:cubicBezTo>
                  <a:pt x="882" y="153"/>
                  <a:pt x="877" y="149"/>
                  <a:pt x="873" y="144"/>
                </a:cubicBezTo>
                <a:cubicBezTo>
                  <a:pt x="869" y="138"/>
                  <a:pt x="867" y="134"/>
                  <a:pt x="867" y="130"/>
                </a:cubicBezTo>
                <a:cubicBezTo>
                  <a:pt x="867" y="126"/>
                  <a:pt x="863" y="125"/>
                  <a:pt x="857" y="126"/>
                </a:cubicBezTo>
                <a:cubicBezTo>
                  <a:pt x="851" y="127"/>
                  <a:pt x="848" y="123"/>
                  <a:pt x="846" y="116"/>
                </a:cubicBezTo>
                <a:cubicBezTo>
                  <a:pt x="842" y="113"/>
                  <a:pt x="839" y="112"/>
                  <a:pt x="837" y="110"/>
                </a:cubicBezTo>
                <a:cubicBezTo>
                  <a:pt x="835" y="108"/>
                  <a:pt x="832" y="103"/>
                  <a:pt x="827" y="96"/>
                </a:cubicBezTo>
                <a:cubicBezTo>
                  <a:pt x="822" y="88"/>
                  <a:pt x="820" y="83"/>
                  <a:pt x="820" y="81"/>
                </a:cubicBezTo>
                <a:cubicBezTo>
                  <a:pt x="817" y="77"/>
                  <a:pt x="815" y="73"/>
                  <a:pt x="812" y="69"/>
                </a:cubicBezTo>
                <a:cubicBezTo>
                  <a:pt x="807" y="61"/>
                  <a:pt x="804" y="54"/>
                  <a:pt x="805" y="47"/>
                </a:cubicBezTo>
                <a:cubicBezTo>
                  <a:pt x="799" y="42"/>
                  <a:pt x="794" y="37"/>
                  <a:pt x="790" y="33"/>
                </a:cubicBezTo>
                <a:cubicBezTo>
                  <a:pt x="790" y="33"/>
                  <a:pt x="789" y="32"/>
                  <a:pt x="789" y="32"/>
                </a:cubicBezTo>
                <a:cubicBezTo>
                  <a:pt x="789" y="31"/>
                  <a:pt x="789" y="31"/>
                  <a:pt x="788" y="30"/>
                </a:cubicBezTo>
                <a:cubicBezTo>
                  <a:pt x="786" y="23"/>
                  <a:pt x="781" y="17"/>
                  <a:pt x="774" y="11"/>
                </a:cubicBezTo>
                <a:cubicBezTo>
                  <a:pt x="765" y="5"/>
                  <a:pt x="754" y="2"/>
                  <a:pt x="741" y="0"/>
                </a:cubicBezTo>
                <a:cubicBezTo>
                  <a:pt x="738" y="0"/>
                  <a:pt x="735" y="0"/>
                  <a:pt x="734" y="0"/>
                </a:cubicBezTo>
                <a:cubicBezTo>
                  <a:pt x="733" y="1"/>
                  <a:pt x="733" y="1"/>
                  <a:pt x="732" y="1"/>
                </a:cubicBezTo>
                <a:cubicBezTo>
                  <a:pt x="731" y="6"/>
                  <a:pt x="728" y="9"/>
                  <a:pt x="723" y="10"/>
                </a:cubicBezTo>
                <a:cubicBezTo>
                  <a:pt x="719" y="10"/>
                  <a:pt x="716" y="9"/>
                  <a:pt x="714" y="9"/>
                </a:cubicBezTo>
                <a:cubicBezTo>
                  <a:pt x="714" y="10"/>
                  <a:pt x="712" y="12"/>
                  <a:pt x="710" y="14"/>
                </a:cubicBezTo>
                <a:cubicBezTo>
                  <a:pt x="709" y="15"/>
                  <a:pt x="706" y="15"/>
                  <a:pt x="703" y="15"/>
                </a:cubicBezTo>
                <a:cubicBezTo>
                  <a:pt x="700" y="16"/>
                  <a:pt x="698" y="18"/>
                  <a:pt x="698" y="21"/>
                </a:cubicBezTo>
                <a:cubicBezTo>
                  <a:pt x="697" y="26"/>
                  <a:pt x="695" y="32"/>
                  <a:pt x="693" y="37"/>
                </a:cubicBezTo>
                <a:cubicBezTo>
                  <a:pt x="692" y="39"/>
                  <a:pt x="689" y="44"/>
                  <a:pt x="684" y="51"/>
                </a:cubicBezTo>
                <a:cubicBezTo>
                  <a:pt x="682" y="54"/>
                  <a:pt x="678" y="56"/>
                  <a:pt x="672" y="57"/>
                </a:cubicBezTo>
                <a:cubicBezTo>
                  <a:pt x="665" y="58"/>
                  <a:pt x="659" y="58"/>
                  <a:pt x="655" y="59"/>
                </a:cubicBezTo>
                <a:cubicBezTo>
                  <a:pt x="649" y="60"/>
                  <a:pt x="644" y="62"/>
                  <a:pt x="642" y="66"/>
                </a:cubicBezTo>
                <a:cubicBezTo>
                  <a:pt x="640" y="69"/>
                  <a:pt x="636" y="71"/>
                  <a:pt x="629" y="71"/>
                </a:cubicBezTo>
                <a:cubicBezTo>
                  <a:pt x="619" y="72"/>
                  <a:pt x="613" y="73"/>
                  <a:pt x="613" y="73"/>
                </a:cubicBezTo>
                <a:cubicBezTo>
                  <a:pt x="606" y="74"/>
                  <a:pt x="601" y="75"/>
                  <a:pt x="598" y="76"/>
                </a:cubicBezTo>
                <a:cubicBezTo>
                  <a:pt x="591" y="77"/>
                  <a:pt x="586" y="79"/>
                  <a:pt x="583" y="81"/>
                </a:cubicBezTo>
                <a:cubicBezTo>
                  <a:pt x="577" y="87"/>
                  <a:pt x="571" y="96"/>
                  <a:pt x="567" y="107"/>
                </a:cubicBezTo>
                <a:cubicBezTo>
                  <a:pt x="566" y="111"/>
                  <a:pt x="562" y="114"/>
                  <a:pt x="555" y="117"/>
                </a:cubicBezTo>
                <a:cubicBezTo>
                  <a:pt x="549" y="120"/>
                  <a:pt x="545" y="121"/>
                  <a:pt x="542" y="121"/>
                </a:cubicBezTo>
                <a:cubicBezTo>
                  <a:pt x="539" y="118"/>
                  <a:pt x="536" y="114"/>
                  <a:pt x="534" y="111"/>
                </a:cubicBezTo>
                <a:cubicBezTo>
                  <a:pt x="528" y="105"/>
                  <a:pt x="522" y="102"/>
                  <a:pt x="517" y="102"/>
                </a:cubicBezTo>
                <a:cubicBezTo>
                  <a:pt x="512" y="102"/>
                  <a:pt x="510" y="101"/>
                  <a:pt x="509" y="98"/>
                </a:cubicBezTo>
                <a:cubicBezTo>
                  <a:pt x="508" y="95"/>
                  <a:pt x="507" y="92"/>
                  <a:pt x="506" y="90"/>
                </a:cubicBezTo>
                <a:cubicBezTo>
                  <a:pt x="502" y="85"/>
                  <a:pt x="497" y="83"/>
                  <a:pt x="490" y="82"/>
                </a:cubicBezTo>
                <a:cubicBezTo>
                  <a:pt x="484" y="81"/>
                  <a:pt x="477" y="84"/>
                  <a:pt x="470" y="90"/>
                </a:cubicBezTo>
                <a:cubicBezTo>
                  <a:pt x="464" y="95"/>
                  <a:pt x="459" y="98"/>
                  <a:pt x="456" y="98"/>
                </a:cubicBezTo>
                <a:cubicBezTo>
                  <a:pt x="448" y="95"/>
                  <a:pt x="443" y="94"/>
                  <a:pt x="441" y="93"/>
                </a:cubicBezTo>
                <a:cubicBezTo>
                  <a:pt x="438" y="93"/>
                  <a:pt x="435" y="92"/>
                  <a:pt x="433" y="91"/>
                </a:cubicBezTo>
                <a:cubicBezTo>
                  <a:pt x="431" y="89"/>
                  <a:pt x="429" y="89"/>
                  <a:pt x="427" y="88"/>
                </a:cubicBezTo>
                <a:cubicBezTo>
                  <a:pt x="426" y="88"/>
                  <a:pt x="424" y="89"/>
                  <a:pt x="421" y="90"/>
                </a:cubicBezTo>
                <a:cubicBezTo>
                  <a:pt x="418" y="92"/>
                  <a:pt x="416" y="92"/>
                  <a:pt x="414" y="92"/>
                </a:cubicBezTo>
                <a:cubicBezTo>
                  <a:pt x="402" y="88"/>
                  <a:pt x="395" y="86"/>
                  <a:pt x="394" y="86"/>
                </a:cubicBezTo>
                <a:cubicBezTo>
                  <a:pt x="393" y="85"/>
                  <a:pt x="391" y="86"/>
                  <a:pt x="389" y="86"/>
                </a:cubicBezTo>
                <a:cubicBezTo>
                  <a:pt x="387" y="87"/>
                  <a:pt x="385" y="88"/>
                  <a:pt x="384" y="88"/>
                </a:cubicBezTo>
                <a:cubicBezTo>
                  <a:pt x="380" y="86"/>
                  <a:pt x="378" y="86"/>
                  <a:pt x="377" y="85"/>
                </a:cubicBezTo>
                <a:cubicBezTo>
                  <a:pt x="376" y="85"/>
                  <a:pt x="374" y="86"/>
                  <a:pt x="373" y="88"/>
                </a:cubicBezTo>
                <a:cubicBezTo>
                  <a:pt x="371" y="89"/>
                  <a:pt x="371" y="91"/>
                  <a:pt x="370" y="91"/>
                </a:cubicBezTo>
                <a:cubicBezTo>
                  <a:pt x="368" y="90"/>
                  <a:pt x="365" y="89"/>
                  <a:pt x="360" y="89"/>
                </a:cubicBezTo>
                <a:cubicBezTo>
                  <a:pt x="356" y="88"/>
                  <a:pt x="352" y="87"/>
                  <a:pt x="350" y="86"/>
                </a:cubicBezTo>
                <a:cubicBezTo>
                  <a:pt x="348" y="85"/>
                  <a:pt x="346" y="83"/>
                  <a:pt x="343" y="79"/>
                </a:cubicBezTo>
                <a:cubicBezTo>
                  <a:pt x="341" y="75"/>
                  <a:pt x="338" y="73"/>
                  <a:pt x="335" y="73"/>
                </a:cubicBezTo>
                <a:cubicBezTo>
                  <a:pt x="334" y="73"/>
                  <a:pt x="331" y="73"/>
                  <a:pt x="328" y="75"/>
                </a:cubicBezTo>
                <a:cubicBezTo>
                  <a:pt x="324" y="76"/>
                  <a:pt x="322" y="77"/>
                  <a:pt x="322" y="78"/>
                </a:cubicBezTo>
                <a:cubicBezTo>
                  <a:pt x="321" y="87"/>
                  <a:pt x="319" y="92"/>
                  <a:pt x="316" y="93"/>
                </a:cubicBezTo>
                <a:cubicBezTo>
                  <a:pt x="315" y="94"/>
                  <a:pt x="312" y="94"/>
                  <a:pt x="309" y="94"/>
                </a:cubicBezTo>
                <a:cubicBezTo>
                  <a:pt x="306" y="93"/>
                  <a:pt x="303" y="94"/>
                  <a:pt x="302" y="94"/>
                </a:cubicBezTo>
                <a:cubicBezTo>
                  <a:pt x="301" y="95"/>
                  <a:pt x="300" y="96"/>
                  <a:pt x="297" y="99"/>
                </a:cubicBezTo>
                <a:cubicBezTo>
                  <a:pt x="298" y="99"/>
                  <a:pt x="298" y="99"/>
                  <a:pt x="299" y="99"/>
                </a:cubicBezTo>
                <a:cubicBezTo>
                  <a:pt x="297" y="101"/>
                  <a:pt x="295" y="104"/>
                  <a:pt x="290" y="107"/>
                </a:cubicBezTo>
                <a:cubicBezTo>
                  <a:pt x="288" y="109"/>
                  <a:pt x="286" y="112"/>
                  <a:pt x="286" y="115"/>
                </a:cubicBezTo>
                <a:cubicBezTo>
                  <a:pt x="285" y="117"/>
                  <a:pt x="286" y="119"/>
                  <a:pt x="287" y="120"/>
                </a:cubicBezTo>
                <a:cubicBezTo>
                  <a:pt x="279" y="122"/>
                  <a:pt x="274" y="128"/>
                  <a:pt x="271" y="137"/>
                </a:cubicBezTo>
                <a:cubicBezTo>
                  <a:pt x="265" y="138"/>
                  <a:pt x="261" y="138"/>
                  <a:pt x="259" y="137"/>
                </a:cubicBezTo>
                <a:cubicBezTo>
                  <a:pt x="258" y="137"/>
                  <a:pt x="257" y="137"/>
                  <a:pt x="256" y="136"/>
                </a:cubicBezTo>
                <a:cubicBezTo>
                  <a:pt x="255" y="135"/>
                  <a:pt x="254" y="134"/>
                  <a:pt x="253" y="134"/>
                </a:cubicBezTo>
                <a:cubicBezTo>
                  <a:pt x="252" y="134"/>
                  <a:pt x="249" y="135"/>
                  <a:pt x="245" y="137"/>
                </a:cubicBezTo>
                <a:cubicBezTo>
                  <a:pt x="241" y="140"/>
                  <a:pt x="237" y="142"/>
                  <a:pt x="234" y="143"/>
                </a:cubicBezTo>
                <a:cubicBezTo>
                  <a:pt x="226" y="144"/>
                  <a:pt x="221" y="150"/>
                  <a:pt x="219" y="158"/>
                </a:cubicBezTo>
                <a:cubicBezTo>
                  <a:pt x="218" y="162"/>
                  <a:pt x="217" y="166"/>
                  <a:pt x="217" y="170"/>
                </a:cubicBezTo>
                <a:cubicBezTo>
                  <a:pt x="217" y="171"/>
                  <a:pt x="215" y="173"/>
                  <a:pt x="213" y="173"/>
                </a:cubicBezTo>
                <a:cubicBezTo>
                  <a:pt x="210" y="174"/>
                  <a:pt x="208" y="174"/>
                  <a:pt x="207" y="175"/>
                </a:cubicBezTo>
                <a:cubicBezTo>
                  <a:pt x="206" y="176"/>
                  <a:pt x="204" y="178"/>
                  <a:pt x="201" y="182"/>
                </a:cubicBezTo>
                <a:cubicBezTo>
                  <a:pt x="198" y="187"/>
                  <a:pt x="196" y="190"/>
                  <a:pt x="195" y="192"/>
                </a:cubicBezTo>
                <a:cubicBezTo>
                  <a:pt x="195" y="194"/>
                  <a:pt x="196" y="197"/>
                  <a:pt x="197" y="200"/>
                </a:cubicBezTo>
                <a:cubicBezTo>
                  <a:pt x="198" y="203"/>
                  <a:pt x="198" y="205"/>
                  <a:pt x="198" y="208"/>
                </a:cubicBezTo>
                <a:cubicBezTo>
                  <a:pt x="198" y="208"/>
                  <a:pt x="195" y="212"/>
                  <a:pt x="189" y="219"/>
                </a:cubicBezTo>
                <a:cubicBezTo>
                  <a:pt x="183" y="228"/>
                  <a:pt x="179" y="236"/>
                  <a:pt x="178" y="242"/>
                </a:cubicBezTo>
                <a:cubicBezTo>
                  <a:pt x="177" y="248"/>
                  <a:pt x="174" y="254"/>
                  <a:pt x="167" y="260"/>
                </a:cubicBezTo>
                <a:cubicBezTo>
                  <a:pt x="162" y="266"/>
                  <a:pt x="158" y="271"/>
                  <a:pt x="158" y="276"/>
                </a:cubicBezTo>
                <a:cubicBezTo>
                  <a:pt x="158" y="278"/>
                  <a:pt x="159" y="280"/>
                  <a:pt x="160" y="282"/>
                </a:cubicBezTo>
                <a:cubicBezTo>
                  <a:pt x="163" y="283"/>
                  <a:pt x="163" y="285"/>
                  <a:pt x="163" y="286"/>
                </a:cubicBezTo>
                <a:cubicBezTo>
                  <a:pt x="163" y="287"/>
                  <a:pt x="162" y="290"/>
                  <a:pt x="160" y="294"/>
                </a:cubicBezTo>
                <a:cubicBezTo>
                  <a:pt x="157" y="298"/>
                  <a:pt x="156" y="302"/>
                  <a:pt x="155" y="305"/>
                </a:cubicBezTo>
                <a:cubicBezTo>
                  <a:pt x="154" y="306"/>
                  <a:pt x="152" y="308"/>
                  <a:pt x="147" y="313"/>
                </a:cubicBezTo>
                <a:cubicBezTo>
                  <a:pt x="143" y="316"/>
                  <a:pt x="141" y="320"/>
                  <a:pt x="141" y="324"/>
                </a:cubicBezTo>
                <a:cubicBezTo>
                  <a:pt x="140" y="325"/>
                  <a:pt x="142" y="327"/>
                  <a:pt x="144" y="329"/>
                </a:cubicBezTo>
                <a:cubicBezTo>
                  <a:pt x="146" y="332"/>
                  <a:pt x="147" y="334"/>
                  <a:pt x="147" y="334"/>
                </a:cubicBezTo>
                <a:cubicBezTo>
                  <a:pt x="147" y="336"/>
                  <a:pt x="143" y="341"/>
                  <a:pt x="135" y="349"/>
                </a:cubicBezTo>
                <a:cubicBezTo>
                  <a:pt x="132" y="351"/>
                  <a:pt x="129" y="352"/>
                  <a:pt x="126" y="352"/>
                </a:cubicBezTo>
                <a:cubicBezTo>
                  <a:pt x="122" y="353"/>
                  <a:pt x="119" y="353"/>
                  <a:pt x="117" y="354"/>
                </a:cubicBezTo>
                <a:cubicBezTo>
                  <a:pt x="117" y="355"/>
                  <a:pt x="118" y="357"/>
                  <a:pt x="119" y="359"/>
                </a:cubicBezTo>
                <a:cubicBezTo>
                  <a:pt x="121" y="361"/>
                  <a:pt x="121" y="363"/>
                  <a:pt x="121" y="365"/>
                </a:cubicBezTo>
                <a:cubicBezTo>
                  <a:pt x="121" y="366"/>
                  <a:pt x="120" y="368"/>
                  <a:pt x="118" y="370"/>
                </a:cubicBezTo>
                <a:cubicBezTo>
                  <a:pt x="116" y="372"/>
                  <a:pt x="115" y="374"/>
                  <a:pt x="115" y="375"/>
                </a:cubicBezTo>
                <a:cubicBezTo>
                  <a:pt x="115" y="377"/>
                  <a:pt x="116" y="379"/>
                  <a:pt x="119" y="382"/>
                </a:cubicBezTo>
                <a:lnTo>
                  <a:pt x="118" y="390"/>
                </a:lnTo>
                <a:cubicBezTo>
                  <a:pt x="113" y="391"/>
                  <a:pt x="109" y="397"/>
                  <a:pt x="104" y="408"/>
                </a:cubicBezTo>
                <a:cubicBezTo>
                  <a:pt x="100" y="419"/>
                  <a:pt x="96" y="425"/>
                  <a:pt x="92" y="424"/>
                </a:cubicBezTo>
                <a:cubicBezTo>
                  <a:pt x="89" y="424"/>
                  <a:pt x="86" y="423"/>
                  <a:pt x="84" y="422"/>
                </a:cubicBezTo>
                <a:cubicBezTo>
                  <a:pt x="81" y="421"/>
                  <a:pt x="78" y="420"/>
                  <a:pt x="73" y="419"/>
                </a:cubicBezTo>
                <a:cubicBezTo>
                  <a:pt x="68" y="419"/>
                  <a:pt x="64" y="420"/>
                  <a:pt x="61" y="422"/>
                </a:cubicBezTo>
                <a:cubicBezTo>
                  <a:pt x="59" y="424"/>
                  <a:pt x="57" y="427"/>
                  <a:pt x="56" y="432"/>
                </a:cubicBezTo>
                <a:cubicBezTo>
                  <a:pt x="54" y="436"/>
                  <a:pt x="53" y="440"/>
                  <a:pt x="51" y="441"/>
                </a:cubicBezTo>
                <a:cubicBezTo>
                  <a:pt x="49" y="444"/>
                  <a:pt x="46" y="445"/>
                  <a:pt x="41" y="445"/>
                </a:cubicBezTo>
                <a:cubicBezTo>
                  <a:pt x="39" y="444"/>
                  <a:pt x="37" y="443"/>
                  <a:pt x="33" y="441"/>
                </a:cubicBezTo>
                <a:cubicBezTo>
                  <a:pt x="30" y="438"/>
                  <a:pt x="27" y="436"/>
                  <a:pt x="26" y="436"/>
                </a:cubicBezTo>
                <a:cubicBezTo>
                  <a:pt x="20" y="441"/>
                  <a:pt x="11" y="445"/>
                  <a:pt x="0" y="447"/>
                </a:cubicBezTo>
                <a:cubicBezTo>
                  <a:pt x="0" y="448"/>
                  <a:pt x="0" y="448"/>
                  <a:pt x="0" y="449"/>
                </a:cubicBezTo>
                <a:cubicBezTo>
                  <a:pt x="2" y="452"/>
                  <a:pt x="5" y="457"/>
                  <a:pt x="10" y="465"/>
                </a:cubicBezTo>
                <a:cubicBezTo>
                  <a:pt x="14" y="473"/>
                  <a:pt x="19" y="479"/>
                  <a:pt x="25" y="482"/>
                </a:cubicBezTo>
                <a:cubicBezTo>
                  <a:pt x="35" y="487"/>
                  <a:pt x="46" y="496"/>
                  <a:pt x="57" y="511"/>
                </a:cubicBezTo>
                <a:cubicBezTo>
                  <a:pt x="60" y="511"/>
                  <a:pt x="62" y="510"/>
                  <a:pt x="65" y="508"/>
                </a:cubicBezTo>
                <a:cubicBezTo>
                  <a:pt x="68" y="511"/>
                  <a:pt x="69" y="514"/>
                  <a:pt x="68" y="519"/>
                </a:cubicBezTo>
                <a:cubicBezTo>
                  <a:pt x="67" y="522"/>
                  <a:pt x="66" y="527"/>
                  <a:pt x="64" y="534"/>
                </a:cubicBezTo>
                <a:cubicBezTo>
                  <a:pt x="63" y="538"/>
                  <a:pt x="65" y="543"/>
                  <a:pt x="67" y="546"/>
                </a:cubicBezTo>
                <a:cubicBezTo>
                  <a:pt x="70" y="549"/>
                  <a:pt x="71" y="552"/>
                  <a:pt x="71" y="554"/>
                </a:cubicBezTo>
                <a:cubicBezTo>
                  <a:pt x="70" y="556"/>
                  <a:pt x="70" y="557"/>
                  <a:pt x="69" y="558"/>
                </a:cubicBezTo>
                <a:cubicBezTo>
                  <a:pt x="68" y="558"/>
                  <a:pt x="68" y="559"/>
                  <a:pt x="67" y="560"/>
                </a:cubicBezTo>
                <a:lnTo>
                  <a:pt x="66" y="563"/>
                </a:lnTo>
                <a:cubicBezTo>
                  <a:pt x="73" y="562"/>
                  <a:pt x="78" y="564"/>
                  <a:pt x="82" y="569"/>
                </a:cubicBezTo>
                <a:cubicBezTo>
                  <a:pt x="84" y="571"/>
                  <a:pt x="87" y="575"/>
                  <a:pt x="90" y="580"/>
                </a:cubicBezTo>
                <a:cubicBezTo>
                  <a:pt x="96" y="587"/>
                  <a:pt x="100" y="591"/>
                  <a:pt x="103" y="591"/>
                </a:cubicBezTo>
                <a:cubicBezTo>
                  <a:pt x="104" y="591"/>
                  <a:pt x="105" y="591"/>
                  <a:pt x="108" y="590"/>
                </a:cubicBezTo>
                <a:cubicBezTo>
                  <a:pt x="111" y="590"/>
                  <a:pt x="114" y="590"/>
                  <a:pt x="117" y="590"/>
                </a:cubicBezTo>
                <a:cubicBezTo>
                  <a:pt x="118" y="590"/>
                  <a:pt x="119" y="591"/>
                  <a:pt x="120" y="592"/>
                </a:cubicBezTo>
                <a:cubicBezTo>
                  <a:pt x="122" y="595"/>
                  <a:pt x="123" y="597"/>
                  <a:pt x="123" y="597"/>
                </a:cubicBezTo>
                <a:cubicBezTo>
                  <a:pt x="127" y="601"/>
                  <a:pt x="133" y="604"/>
                  <a:pt x="142" y="605"/>
                </a:cubicBezTo>
                <a:cubicBezTo>
                  <a:pt x="149" y="605"/>
                  <a:pt x="154" y="608"/>
                  <a:pt x="157" y="611"/>
                </a:cubicBezTo>
                <a:cubicBezTo>
                  <a:pt x="159" y="613"/>
                  <a:pt x="161" y="617"/>
                  <a:pt x="162" y="622"/>
                </a:cubicBezTo>
                <a:cubicBezTo>
                  <a:pt x="157" y="623"/>
                  <a:pt x="154" y="625"/>
                  <a:pt x="154" y="631"/>
                </a:cubicBezTo>
                <a:cubicBezTo>
                  <a:pt x="154" y="637"/>
                  <a:pt x="152" y="641"/>
                  <a:pt x="148" y="643"/>
                </a:cubicBezTo>
                <a:cubicBezTo>
                  <a:pt x="149" y="646"/>
                  <a:pt x="155" y="649"/>
                  <a:pt x="164" y="651"/>
                </a:cubicBezTo>
                <a:cubicBezTo>
                  <a:pt x="168" y="652"/>
                  <a:pt x="170" y="653"/>
                  <a:pt x="171" y="655"/>
                </a:cubicBezTo>
                <a:cubicBezTo>
                  <a:pt x="172" y="656"/>
                  <a:pt x="172" y="659"/>
                  <a:pt x="170" y="662"/>
                </a:cubicBezTo>
                <a:cubicBezTo>
                  <a:pt x="163" y="662"/>
                  <a:pt x="158" y="663"/>
                  <a:pt x="155" y="663"/>
                </a:cubicBezTo>
                <a:cubicBezTo>
                  <a:pt x="150" y="663"/>
                  <a:pt x="147" y="666"/>
                  <a:pt x="147" y="671"/>
                </a:cubicBezTo>
                <a:cubicBezTo>
                  <a:pt x="147" y="672"/>
                  <a:pt x="147" y="673"/>
                  <a:pt x="147" y="674"/>
                </a:cubicBezTo>
                <a:lnTo>
                  <a:pt x="147" y="674"/>
                </a:lnTo>
                <a:cubicBezTo>
                  <a:pt x="147" y="675"/>
                  <a:pt x="147" y="676"/>
                  <a:pt x="148" y="677"/>
                </a:cubicBezTo>
                <a:cubicBezTo>
                  <a:pt x="150" y="676"/>
                  <a:pt x="155" y="677"/>
                  <a:pt x="163" y="678"/>
                </a:cubicBezTo>
                <a:cubicBezTo>
                  <a:pt x="172" y="680"/>
                  <a:pt x="177" y="681"/>
                  <a:pt x="178" y="683"/>
                </a:cubicBezTo>
                <a:cubicBezTo>
                  <a:pt x="184" y="692"/>
                  <a:pt x="187" y="697"/>
                  <a:pt x="188" y="697"/>
                </a:cubicBezTo>
                <a:cubicBezTo>
                  <a:pt x="189" y="697"/>
                  <a:pt x="192" y="698"/>
                  <a:pt x="198" y="698"/>
                </a:cubicBezTo>
                <a:cubicBezTo>
                  <a:pt x="217" y="700"/>
                  <a:pt x="230" y="705"/>
                  <a:pt x="237" y="713"/>
                </a:cubicBezTo>
                <a:cubicBezTo>
                  <a:pt x="238" y="715"/>
                  <a:pt x="240" y="717"/>
                  <a:pt x="242" y="721"/>
                </a:cubicBezTo>
                <a:cubicBezTo>
                  <a:pt x="244" y="723"/>
                  <a:pt x="248" y="725"/>
                  <a:pt x="252" y="725"/>
                </a:cubicBezTo>
                <a:cubicBezTo>
                  <a:pt x="256" y="726"/>
                  <a:pt x="259" y="723"/>
                  <a:pt x="260" y="718"/>
                </a:cubicBezTo>
                <a:cubicBezTo>
                  <a:pt x="262" y="710"/>
                  <a:pt x="264" y="705"/>
                  <a:pt x="266" y="701"/>
                </a:cubicBezTo>
                <a:cubicBezTo>
                  <a:pt x="268" y="699"/>
                  <a:pt x="271" y="696"/>
                  <a:pt x="275" y="694"/>
                </a:cubicBezTo>
                <a:cubicBezTo>
                  <a:pt x="280" y="691"/>
                  <a:pt x="284" y="688"/>
                  <a:pt x="286" y="686"/>
                </a:cubicBezTo>
                <a:cubicBezTo>
                  <a:pt x="290" y="692"/>
                  <a:pt x="298" y="696"/>
                  <a:pt x="309" y="698"/>
                </a:cubicBezTo>
                <a:cubicBezTo>
                  <a:pt x="320" y="700"/>
                  <a:pt x="327" y="703"/>
                  <a:pt x="330" y="708"/>
                </a:cubicBezTo>
                <a:cubicBezTo>
                  <a:pt x="325" y="712"/>
                  <a:pt x="316" y="713"/>
                  <a:pt x="303" y="712"/>
                </a:cubicBezTo>
                <a:cubicBezTo>
                  <a:pt x="302" y="714"/>
                  <a:pt x="303" y="717"/>
                  <a:pt x="303" y="722"/>
                </a:cubicBezTo>
                <a:cubicBezTo>
                  <a:pt x="299" y="723"/>
                  <a:pt x="296" y="723"/>
                  <a:pt x="295" y="724"/>
                </a:cubicBezTo>
                <a:cubicBezTo>
                  <a:pt x="295" y="724"/>
                  <a:pt x="295" y="726"/>
                  <a:pt x="294" y="729"/>
                </a:cubicBezTo>
                <a:cubicBezTo>
                  <a:pt x="294" y="735"/>
                  <a:pt x="298" y="742"/>
                  <a:pt x="307" y="751"/>
                </a:cubicBezTo>
                <a:cubicBezTo>
                  <a:pt x="310" y="754"/>
                  <a:pt x="313" y="756"/>
                  <a:pt x="315" y="758"/>
                </a:cubicBezTo>
                <a:cubicBezTo>
                  <a:pt x="315" y="759"/>
                  <a:pt x="315" y="759"/>
                  <a:pt x="315" y="759"/>
                </a:cubicBezTo>
                <a:lnTo>
                  <a:pt x="325" y="760"/>
                </a:lnTo>
                <a:cubicBezTo>
                  <a:pt x="327" y="762"/>
                  <a:pt x="328" y="764"/>
                  <a:pt x="329" y="766"/>
                </a:cubicBezTo>
                <a:cubicBezTo>
                  <a:pt x="330" y="769"/>
                  <a:pt x="331" y="771"/>
                  <a:pt x="332" y="772"/>
                </a:cubicBezTo>
                <a:cubicBezTo>
                  <a:pt x="333" y="774"/>
                  <a:pt x="337" y="777"/>
                  <a:pt x="343" y="781"/>
                </a:cubicBezTo>
                <a:cubicBezTo>
                  <a:pt x="347" y="783"/>
                  <a:pt x="352" y="785"/>
                  <a:pt x="360" y="786"/>
                </a:cubicBezTo>
                <a:cubicBezTo>
                  <a:pt x="366" y="789"/>
                  <a:pt x="369" y="792"/>
                  <a:pt x="369" y="797"/>
                </a:cubicBezTo>
                <a:cubicBezTo>
                  <a:pt x="368" y="798"/>
                  <a:pt x="368" y="800"/>
                  <a:pt x="366" y="801"/>
                </a:cubicBezTo>
                <a:cubicBezTo>
                  <a:pt x="365" y="802"/>
                  <a:pt x="363" y="803"/>
                  <a:pt x="360" y="805"/>
                </a:cubicBezTo>
                <a:cubicBezTo>
                  <a:pt x="354" y="809"/>
                  <a:pt x="350" y="816"/>
                  <a:pt x="349" y="826"/>
                </a:cubicBezTo>
                <a:cubicBezTo>
                  <a:pt x="349" y="829"/>
                  <a:pt x="350" y="832"/>
                  <a:pt x="352" y="834"/>
                </a:cubicBezTo>
                <a:cubicBezTo>
                  <a:pt x="353" y="835"/>
                  <a:pt x="354" y="836"/>
                  <a:pt x="356" y="835"/>
                </a:cubicBezTo>
                <a:cubicBezTo>
                  <a:pt x="357" y="836"/>
                  <a:pt x="358" y="836"/>
                  <a:pt x="360" y="836"/>
                </a:cubicBezTo>
                <a:cubicBezTo>
                  <a:pt x="371" y="838"/>
                  <a:pt x="377" y="839"/>
                  <a:pt x="378" y="839"/>
                </a:cubicBezTo>
                <a:cubicBezTo>
                  <a:pt x="381" y="840"/>
                  <a:pt x="386" y="838"/>
                  <a:pt x="395" y="834"/>
                </a:cubicBezTo>
                <a:cubicBezTo>
                  <a:pt x="404" y="829"/>
                  <a:pt x="412" y="828"/>
                  <a:pt x="421" y="829"/>
                </a:cubicBezTo>
                <a:cubicBezTo>
                  <a:pt x="421" y="829"/>
                  <a:pt x="424" y="829"/>
                  <a:pt x="429" y="828"/>
                </a:cubicBezTo>
                <a:cubicBezTo>
                  <a:pt x="432" y="829"/>
                  <a:pt x="435" y="830"/>
                  <a:pt x="438" y="832"/>
                </a:cubicBezTo>
                <a:cubicBezTo>
                  <a:pt x="442" y="834"/>
                  <a:pt x="445" y="836"/>
                  <a:pt x="447" y="836"/>
                </a:cubicBezTo>
                <a:cubicBezTo>
                  <a:pt x="450" y="836"/>
                  <a:pt x="452" y="836"/>
                  <a:pt x="455" y="834"/>
                </a:cubicBezTo>
                <a:cubicBezTo>
                  <a:pt x="458" y="833"/>
                  <a:pt x="460" y="832"/>
                  <a:pt x="463" y="833"/>
                </a:cubicBezTo>
                <a:cubicBezTo>
                  <a:pt x="463" y="833"/>
                  <a:pt x="470" y="834"/>
                  <a:pt x="485" y="838"/>
                </a:cubicBezTo>
                <a:cubicBezTo>
                  <a:pt x="489" y="839"/>
                  <a:pt x="495" y="840"/>
                  <a:pt x="502" y="843"/>
                </a:cubicBezTo>
                <a:cubicBezTo>
                  <a:pt x="509" y="846"/>
                  <a:pt x="514" y="848"/>
                  <a:pt x="517" y="848"/>
                </a:cubicBezTo>
                <a:cubicBezTo>
                  <a:pt x="519" y="849"/>
                  <a:pt x="524" y="848"/>
                  <a:pt x="531" y="846"/>
                </a:cubicBezTo>
                <a:cubicBezTo>
                  <a:pt x="538" y="844"/>
                  <a:pt x="542" y="843"/>
                  <a:pt x="544" y="842"/>
                </a:cubicBezTo>
                <a:cubicBezTo>
                  <a:pt x="548" y="839"/>
                  <a:pt x="552" y="837"/>
                  <a:pt x="555" y="835"/>
                </a:cubicBezTo>
                <a:cubicBezTo>
                  <a:pt x="561" y="831"/>
                  <a:pt x="566" y="830"/>
                  <a:pt x="570" y="830"/>
                </a:cubicBezTo>
                <a:cubicBezTo>
                  <a:pt x="575" y="831"/>
                  <a:pt x="582" y="833"/>
                  <a:pt x="592" y="837"/>
                </a:cubicBezTo>
                <a:cubicBezTo>
                  <a:pt x="595" y="838"/>
                  <a:pt x="601" y="836"/>
                  <a:pt x="609" y="834"/>
                </a:cubicBezTo>
                <a:cubicBezTo>
                  <a:pt x="620" y="831"/>
                  <a:pt x="626" y="830"/>
                  <a:pt x="627" y="830"/>
                </a:cubicBezTo>
                <a:cubicBezTo>
                  <a:pt x="637" y="834"/>
                  <a:pt x="642" y="836"/>
                  <a:pt x="644" y="836"/>
                </a:cubicBezTo>
                <a:cubicBezTo>
                  <a:pt x="646" y="836"/>
                  <a:pt x="652" y="835"/>
                  <a:pt x="660" y="834"/>
                </a:cubicBezTo>
                <a:cubicBezTo>
                  <a:pt x="662" y="834"/>
                  <a:pt x="669" y="837"/>
                  <a:pt x="682" y="842"/>
                </a:cubicBezTo>
                <a:cubicBezTo>
                  <a:pt x="683" y="842"/>
                  <a:pt x="685" y="842"/>
                  <a:pt x="688" y="841"/>
                </a:cubicBezTo>
                <a:cubicBezTo>
                  <a:pt x="691" y="839"/>
                  <a:pt x="693" y="839"/>
                  <a:pt x="695" y="838"/>
                </a:cubicBezTo>
                <a:cubicBezTo>
                  <a:pt x="697" y="838"/>
                  <a:pt x="699" y="838"/>
                  <a:pt x="702" y="838"/>
                </a:cubicBezTo>
                <a:cubicBezTo>
                  <a:pt x="705" y="838"/>
                  <a:pt x="707" y="837"/>
                  <a:pt x="708" y="835"/>
                </a:cubicBezTo>
                <a:lnTo>
                  <a:pt x="718" y="826"/>
                </a:lnTo>
                <a:cubicBezTo>
                  <a:pt x="719" y="825"/>
                  <a:pt x="721" y="825"/>
                  <a:pt x="724" y="824"/>
                </a:cubicBezTo>
                <a:cubicBezTo>
                  <a:pt x="727" y="824"/>
                  <a:pt x="729" y="823"/>
                  <a:pt x="730" y="821"/>
                </a:cubicBezTo>
                <a:cubicBezTo>
                  <a:pt x="732" y="822"/>
                  <a:pt x="735" y="818"/>
                  <a:pt x="740" y="811"/>
                </a:cubicBezTo>
                <a:lnTo>
                  <a:pt x="748" y="800"/>
                </a:lnTo>
                <a:cubicBezTo>
                  <a:pt x="754" y="791"/>
                  <a:pt x="758" y="785"/>
                  <a:pt x="761" y="781"/>
                </a:cubicBezTo>
                <a:cubicBezTo>
                  <a:pt x="761" y="780"/>
                  <a:pt x="762" y="779"/>
                  <a:pt x="762" y="778"/>
                </a:cubicBezTo>
                <a:cubicBezTo>
                  <a:pt x="778" y="761"/>
                  <a:pt x="802" y="749"/>
                  <a:pt x="833" y="743"/>
                </a:cubicBezTo>
                <a:cubicBezTo>
                  <a:pt x="838" y="742"/>
                  <a:pt x="845" y="739"/>
                  <a:pt x="853" y="734"/>
                </a:cubicBezTo>
                <a:cubicBezTo>
                  <a:pt x="861" y="729"/>
                  <a:pt x="868" y="726"/>
                  <a:pt x="873" y="726"/>
                </a:cubicBezTo>
                <a:cubicBezTo>
                  <a:pt x="873" y="726"/>
                  <a:pt x="881" y="726"/>
                  <a:pt x="897" y="726"/>
                </a:cubicBezTo>
                <a:cubicBezTo>
                  <a:pt x="903" y="726"/>
                  <a:pt x="908" y="725"/>
                  <a:pt x="912" y="723"/>
                </a:cubicBezTo>
                <a:cubicBezTo>
                  <a:pt x="915" y="725"/>
                  <a:pt x="919" y="727"/>
                  <a:pt x="923" y="731"/>
                </a:cubicBezTo>
                <a:cubicBezTo>
                  <a:pt x="927" y="734"/>
                  <a:pt x="932" y="736"/>
                  <a:pt x="938" y="737"/>
                </a:cubicBezTo>
                <a:cubicBezTo>
                  <a:pt x="940" y="737"/>
                  <a:pt x="945" y="737"/>
                  <a:pt x="951" y="735"/>
                </a:cubicBezTo>
                <a:cubicBezTo>
                  <a:pt x="957" y="733"/>
                  <a:pt x="962" y="733"/>
                  <a:pt x="965" y="733"/>
                </a:cubicBezTo>
                <a:cubicBezTo>
                  <a:pt x="966" y="733"/>
                  <a:pt x="969" y="735"/>
                  <a:pt x="972" y="739"/>
                </a:cubicBezTo>
                <a:cubicBezTo>
                  <a:pt x="974" y="742"/>
                  <a:pt x="976" y="744"/>
                  <a:pt x="978" y="744"/>
                </a:cubicBezTo>
                <a:cubicBezTo>
                  <a:pt x="980" y="744"/>
                  <a:pt x="986" y="741"/>
                  <a:pt x="995" y="735"/>
                </a:cubicBezTo>
                <a:lnTo>
                  <a:pt x="1000" y="736"/>
                </a:lnTo>
                <a:cubicBezTo>
                  <a:pt x="1006" y="750"/>
                  <a:pt x="1014" y="758"/>
                  <a:pt x="1023" y="759"/>
                </a:cubicBezTo>
                <a:cubicBezTo>
                  <a:pt x="1039" y="763"/>
                  <a:pt x="1051" y="765"/>
                  <a:pt x="1058" y="766"/>
                </a:cubicBezTo>
                <a:cubicBezTo>
                  <a:pt x="1064" y="766"/>
                  <a:pt x="1074" y="765"/>
                  <a:pt x="1086" y="763"/>
                </a:cubicBezTo>
                <a:cubicBezTo>
                  <a:pt x="1086" y="762"/>
                  <a:pt x="1086" y="760"/>
                  <a:pt x="1086" y="759"/>
                </a:cubicBezTo>
                <a:cubicBezTo>
                  <a:pt x="1086" y="758"/>
                  <a:pt x="1086" y="757"/>
                  <a:pt x="1086" y="756"/>
                </a:cubicBezTo>
                <a:cubicBezTo>
                  <a:pt x="1088" y="747"/>
                  <a:pt x="1089" y="740"/>
                  <a:pt x="1090" y="735"/>
                </a:cubicBezTo>
                <a:cubicBezTo>
                  <a:pt x="1093" y="725"/>
                  <a:pt x="1094" y="718"/>
                  <a:pt x="1095" y="715"/>
                </a:cubicBezTo>
                <a:cubicBezTo>
                  <a:pt x="1095" y="714"/>
                  <a:pt x="1093" y="707"/>
                  <a:pt x="1088" y="694"/>
                </a:cubicBezTo>
                <a:cubicBezTo>
                  <a:pt x="1084" y="681"/>
                  <a:pt x="1082" y="672"/>
                  <a:pt x="1083" y="668"/>
                </a:cubicBezTo>
                <a:cubicBezTo>
                  <a:pt x="1084" y="657"/>
                  <a:pt x="1089" y="645"/>
                  <a:pt x="1098" y="634"/>
                </a:cubicBezTo>
                <a:lnTo>
                  <a:pt x="1098" y="634"/>
                </a:lnTo>
                <a:cubicBezTo>
                  <a:pt x="1098" y="633"/>
                  <a:pt x="1098" y="632"/>
                  <a:pt x="1098" y="631"/>
                </a:cubicBezTo>
                <a:cubicBezTo>
                  <a:pt x="1098" y="628"/>
                  <a:pt x="1099" y="625"/>
                  <a:pt x="1102" y="621"/>
                </a:cubicBezTo>
                <a:cubicBezTo>
                  <a:pt x="1104" y="617"/>
                  <a:pt x="1106" y="614"/>
                  <a:pt x="1106" y="612"/>
                </a:cubicBezTo>
                <a:cubicBezTo>
                  <a:pt x="1106" y="610"/>
                  <a:pt x="1106" y="610"/>
                  <a:pt x="1106" y="609"/>
                </a:cubicBezTo>
                <a:cubicBezTo>
                  <a:pt x="1102" y="611"/>
                  <a:pt x="1099" y="614"/>
                  <a:pt x="1096" y="618"/>
                </a:cubicBezTo>
                <a:cubicBezTo>
                  <a:pt x="1093" y="622"/>
                  <a:pt x="1091" y="625"/>
                  <a:pt x="1089" y="626"/>
                </a:cubicBezTo>
                <a:cubicBezTo>
                  <a:pt x="1087" y="621"/>
                  <a:pt x="1086" y="619"/>
                  <a:pt x="1087" y="617"/>
                </a:cubicBezTo>
                <a:cubicBezTo>
                  <a:pt x="1087" y="615"/>
                  <a:pt x="1089" y="612"/>
                  <a:pt x="1094" y="607"/>
                </a:cubicBezTo>
                <a:cubicBezTo>
                  <a:pt x="1099" y="602"/>
                  <a:pt x="1102" y="598"/>
                  <a:pt x="1104" y="596"/>
                </a:cubicBezTo>
                <a:lnTo>
                  <a:pt x="1105" y="591"/>
                </a:lnTo>
                <a:cubicBezTo>
                  <a:pt x="1104" y="591"/>
                  <a:pt x="1102" y="594"/>
                  <a:pt x="1098" y="597"/>
                </a:cubicBezTo>
                <a:cubicBezTo>
                  <a:pt x="1096" y="599"/>
                  <a:pt x="1093" y="601"/>
                  <a:pt x="1091" y="602"/>
                </a:cubicBezTo>
                <a:cubicBezTo>
                  <a:pt x="1090" y="600"/>
                  <a:pt x="1090" y="598"/>
                  <a:pt x="1090" y="593"/>
                </a:cubicBezTo>
                <a:cubicBezTo>
                  <a:pt x="1091" y="590"/>
                  <a:pt x="1093" y="587"/>
                  <a:pt x="1097" y="584"/>
                </a:cubicBezTo>
                <a:cubicBezTo>
                  <a:pt x="1101" y="581"/>
                  <a:pt x="1104" y="580"/>
                  <a:pt x="1108" y="579"/>
                </a:cubicBezTo>
                <a:lnTo>
                  <a:pt x="1108" y="575"/>
                </a:lnTo>
                <a:cubicBezTo>
                  <a:pt x="1106" y="569"/>
                  <a:pt x="1105" y="565"/>
                  <a:pt x="1104" y="563"/>
                </a:cubicBezTo>
                <a:cubicBezTo>
                  <a:pt x="1101" y="560"/>
                  <a:pt x="1099" y="558"/>
                  <a:pt x="1098" y="557"/>
                </a:cubicBezTo>
                <a:cubicBezTo>
                  <a:pt x="1096" y="554"/>
                  <a:pt x="1095" y="552"/>
                  <a:pt x="1095" y="550"/>
                </a:cubicBezTo>
                <a:cubicBezTo>
                  <a:pt x="1096" y="545"/>
                  <a:pt x="1097" y="542"/>
                  <a:pt x="1100" y="539"/>
                </a:cubicBezTo>
                <a:cubicBezTo>
                  <a:pt x="1102" y="535"/>
                  <a:pt x="1106" y="534"/>
                  <a:pt x="1111" y="534"/>
                </a:cubicBezTo>
                <a:cubicBezTo>
                  <a:pt x="1117" y="535"/>
                  <a:pt x="1119" y="536"/>
                  <a:pt x="1119" y="539"/>
                </a:cubicBezTo>
                <a:cubicBezTo>
                  <a:pt x="1119" y="540"/>
                  <a:pt x="1118" y="541"/>
                  <a:pt x="1116" y="544"/>
                </a:cubicBezTo>
                <a:cubicBezTo>
                  <a:pt x="1114" y="547"/>
                  <a:pt x="1113" y="549"/>
                  <a:pt x="1113" y="550"/>
                </a:cubicBezTo>
                <a:cubicBezTo>
                  <a:pt x="1112" y="551"/>
                  <a:pt x="1113" y="553"/>
                  <a:pt x="1114" y="557"/>
                </a:cubicBezTo>
                <a:cubicBezTo>
                  <a:pt x="1116" y="561"/>
                  <a:pt x="1117" y="563"/>
                  <a:pt x="1117" y="563"/>
                </a:cubicBezTo>
                <a:cubicBezTo>
                  <a:pt x="1119" y="563"/>
                  <a:pt x="1121" y="563"/>
                  <a:pt x="1123" y="562"/>
                </a:cubicBezTo>
                <a:cubicBezTo>
                  <a:pt x="1128" y="563"/>
                  <a:pt x="1130" y="564"/>
                  <a:pt x="1130" y="567"/>
                </a:cubicBezTo>
                <a:cubicBezTo>
                  <a:pt x="1130" y="567"/>
                  <a:pt x="1126" y="570"/>
                  <a:pt x="1119" y="574"/>
                </a:cubicBezTo>
                <a:cubicBezTo>
                  <a:pt x="1114" y="577"/>
                  <a:pt x="1111" y="579"/>
                  <a:pt x="1110" y="581"/>
                </a:cubicBezTo>
                <a:cubicBezTo>
                  <a:pt x="1108" y="582"/>
                  <a:pt x="1108" y="583"/>
                  <a:pt x="1108" y="584"/>
                </a:cubicBezTo>
                <a:cubicBezTo>
                  <a:pt x="1108" y="584"/>
                  <a:pt x="1109" y="587"/>
                  <a:pt x="1112" y="593"/>
                </a:cubicBezTo>
                <a:cubicBezTo>
                  <a:pt x="1114" y="584"/>
                  <a:pt x="1118" y="578"/>
                  <a:pt x="1125" y="574"/>
                </a:cubicBezTo>
                <a:cubicBezTo>
                  <a:pt x="1125" y="574"/>
                  <a:pt x="1132" y="571"/>
                  <a:pt x="1146" y="565"/>
                </a:cubicBezTo>
                <a:cubicBezTo>
                  <a:pt x="1152" y="563"/>
                  <a:pt x="1160" y="560"/>
                  <a:pt x="1170" y="558"/>
                </a:cubicBezTo>
                <a:cubicBezTo>
                  <a:pt x="1173" y="556"/>
                  <a:pt x="1177" y="554"/>
                  <a:pt x="1180" y="552"/>
                </a:cubicBezTo>
                <a:cubicBezTo>
                  <a:pt x="1184" y="548"/>
                  <a:pt x="1186" y="545"/>
                  <a:pt x="1187" y="542"/>
                </a:cubicBezTo>
                <a:cubicBezTo>
                  <a:pt x="1186" y="529"/>
                  <a:pt x="1186" y="518"/>
                  <a:pt x="1187" y="509"/>
                </a:cubicBezTo>
                <a:lnTo>
                  <a:pt x="1187" y="50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" name="Freeform 220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" name="Freeform 221"/>
          <p:cNvSpPr/>
          <p:nvPr/>
        </p:nvSpPr>
        <p:spPr bwMode="auto">
          <a:xfrm>
            <a:off x="5555263" y="4919280"/>
            <a:ext cx="669050" cy="939814"/>
          </a:xfrm>
          <a:custGeom>
            <a:avLst/>
            <a:gdLst>
              <a:gd name="T0" fmla="*/ 86 w 640"/>
              <a:gd name="T1" fmla="*/ 452 h 899"/>
              <a:gd name="T2" fmla="*/ 80 w 640"/>
              <a:gd name="T3" fmla="*/ 458 h 899"/>
              <a:gd name="T4" fmla="*/ 43 w 640"/>
              <a:gd name="T5" fmla="*/ 520 h 899"/>
              <a:gd name="T6" fmla="*/ 74 w 640"/>
              <a:gd name="T7" fmla="*/ 543 h 899"/>
              <a:gd name="T8" fmla="*/ 65 w 640"/>
              <a:gd name="T9" fmla="*/ 575 h 899"/>
              <a:gd name="T10" fmla="*/ 92 w 640"/>
              <a:gd name="T11" fmla="*/ 593 h 899"/>
              <a:gd name="T12" fmla="*/ 110 w 640"/>
              <a:gd name="T13" fmla="*/ 594 h 899"/>
              <a:gd name="T14" fmla="*/ 123 w 640"/>
              <a:gd name="T15" fmla="*/ 593 h 899"/>
              <a:gd name="T16" fmla="*/ 104 w 640"/>
              <a:gd name="T17" fmla="*/ 600 h 899"/>
              <a:gd name="T18" fmla="*/ 95 w 640"/>
              <a:gd name="T19" fmla="*/ 655 h 899"/>
              <a:gd name="T20" fmla="*/ 78 w 640"/>
              <a:gd name="T21" fmla="*/ 698 h 899"/>
              <a:gd name="T22" fmla="*/ 64 w 640"/>
              <a:gd name="T23" fmla="*/ 739 h 899"/>
              <a:gd name="T24" fmla="*/ 32 w 640"/>
              <a:gd name="T25" fmla="*/ 803 h 899"/>
              <a:gd name="T26" fmla="*/ 7 w 640"/>
              <a:gd name="T27" fmla="*/ 848 h 899"/>
              <a:gd name="T28" fmla="*/ 74 w 640"/>
              <a:gd name="T29" fmla="*/ 852 h 899"/>
              <a:gd name="T30" fmla="*/ 135 w 640"/>
              <a:gd name="T31" fmla="*/ 886 h 899"/>
              <a:gd name="T32" fmla="*/ 180 w 640"/>
              <a:gd name="T33" fmla="*/ 897 h 899"/>
              <a:gd name="T34" fmla="*/ 226 w 640"/>
              <a:gd name="T35" fmla="*/ 876 h 899"/>
              <a:gd name="T36" fmla="*/ 228 w 640"/>
              <a:gd name="T37" fmla="*/ 820 h 899"/>
              <a:gd name="T38" fmla="*/ 281 w 640"/>
              <a:gd name="T39" fmla="*/ 776 h 899"/>
              <a:gd name="T40" fmla="*/ 315 w 640"/>
              <a:gd name="T41" fmla="*/ 756 h 899"/>
              <a:gd name="T42" fmla="*/ 349 w 640"/>
              <a:gd name="T43" fmla="*/ 733 h 899"/>
              <a:gd name="T44" fmla="*/ 313 w 640"/>
              <a:gd name="T45" fmla="*/ 672 h 899"/>
              <a:gd name="T46" fmla="*/ 345 w 640"/>
              <a:gd name="T47" fmla="*/ 628 h 899"/>
              <a:gd name="T48" fmla="*/ 367 w 640"/>
              <a:gd name="T49" fmla="*/ 520 h 899"/>
              <a:gd name="T50" fmla="*/ 355 w 640"/>
              <a:gd name="T51" fmla="*/ 459 h 899"/>
              <a:gd name="T52" fmla="*/ 454 w 640"/>
              <a:gd name="T53" fmla="*/ 444 h 899"/>
              <a:gd name="T54" fmla="*/ 459 w 640"/>
              <a:gd name="T55" fmla="*/ 389 h 899"/>
              <a:gd name="T56" fmla="*/ 493 w 640"/>
              <a:gd name="T57" fmla="*/ 365 h 899"/>
              <a:gd name="T58" fmla="*/ 518 w 640"/>
              <a:gd name="T59" fmla="*/ 269 h 899"/>
              <a:gd name="T60" fmla="*/ 534 w 640"/>
              <a:gd name="T61" fmla="*/ 253 h 899"/>
              <a:gd name="T62" fmla="*/ 597 w 640"/>
              <a:gd name="T63" fmla="*/ 219 h 899"/>
              <a:gd name="T64" fmla="*/ 629 w 640"/>
              <a:gd name="T65" fmla="*/ 171 h 899"/>
              <a:gd name="T66" fmla="*/ 616 w 640"/>
              <a:gd name="T67" fmla="*/ 123 h 899"/>
              <a:gd name="T68" fmla="*/ 536 w 640"/>
              <a:gd name="T69" fmla="*/ 87 h 899"/>
              <a:gd name="T70" fmla="*/ 490 w 640"/>
              <a:gd name="T71" fmla="*/ 87 h 899"/>
              <a:gd name="T72" fmla="*/ 433 w 640"/>
              <a:gd name="T73" fmla="*/ 63 h 899"/>
              <a:gd name="T74" fmla="*/ 417 w 640"/>
              <a:gd name="T75" fmla="*/ 34 h 899"/>
              <a:gd name="T76" fmla="*/ 410 w 640"/>
              <a:gd name="T77" fmla="*/ 3 h 899"/>
              <a:gd name="T78" fmla="*/ 378 w 640"/>
              <a:gd name="T79" fmla="*/ 0 h 899"/>
              <a:gd name="T80" fmla="*/ 315 w 640"/>
              <a:gd name="T81" fmla="*/ 25 h 899"/>
              <a:gd name="T82" fmla="*/ 298 w 640"/>
              <a:gd name="T83" fmla="*/ 123 h 899"/>
              <a:gd name="T84" fmla="*/ 280 w 640"/>
              <a:gd name="T85" fmla="*/ 204 h 899"/>
              <a:gd name="T86" fmla="*/ 270 w 640"/>
              <a:gd name="T87" fmla="*/ 222 h 899"/>
              <a:gd name="T88" fmla="*/ 238 w 640"/>
              <a:gd name="T89" fmla="*/ 263 h 899"/>
              <a:gd name="T90" fmla="*/ 204 w 640"/>
              <a:gd name="T91" fmla="*/ 329 h 899"/>
              <a:gd name="T92" fmla="*/ 145 w 640"/>
              <a:gd name="T93" fmla="*/ 398 h 899"/>
              <a:gd name="T94" fmla="*/ 122 w 640"/>
              <a:gd name="T95" fmla="*/ 421 h 899"/>
              <a:gd name="T96" fmla="*/ 96 w 640"/>
              <a:gd name="T97" fmla="*/ 436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0" h="899">
                <a:moveTo>
                  <a:pt x="93" y="442"/>
                </a:moveTo>
                <a:lnTo>
                  <a:pt x="93" y="442"/>
                </a:lnTo>
                <a:cubicBezTo>
                  <a:pt x="91" y="445"/>
                  <a:pt x="89" y="448"/>
                  <a:pt x="87" y="452"/>
                </a:cubicBezTo>
                <a:cubicBezTo>
                  <a:pt x="86" y="452"/>
                  <a:pt x="86" y="452"/>
                  <a:pt x="86" y="452"/>
                </a:cubicBezTo>
                <a:cubicBezTo>
                  <a:pt x="86" y="452"/>
                  <a:pt x="86" y="453"/>
                  <a:pt x="86" y="453"/>
                </a:cubicBezTo>
                <a:cubicBezTo>
                  <a:pt x="86" y="453"/>
                  <a:pt x="86" y="453"/>
                  <a:pt x="86" y="453"/>
                </a:cubicBezTo>
                <a:cubicBezTo>
                  <a:pt x="85" y="455"/>
                  <a:pt x="83" y="456"/>
                  <a:pt x="80" y="458"/>
                </a:cubicBezTo>
                <a:lnTo>
                  <a:pt x="80" y="458"/>
                </a:lnTo>
                <a:cubicBezTo>
                  <a:pt x="76" y="461"/>
                  <a:pt x="73" y="463"/>
                  <a:pt x="72" y="466"/>
                </a:cubicBezTo>
                <a:cubicBezTo>
                  <a:pt x="70" y="470"/>
                  <a:pt x="68" y="477"/>
                  <a:pt x="66" y="486"/>
                </a:cubicBezTo>
                <a:cubicBezTo>
                  <a:pt x="62" y="494"/>
                  <a:pt x="57" y="500"/>
                  <a:pt x="51" y="504"/>
                </a:cubicBezTo>
                <a:cubicBezTo>
                  <a:pt x="47" y="506"/>
                  <a:pt x="44" y="512"/>
                  <a:pt x="43" y="520"/>
                </a:cubicBezTo>
                <a:cubicBezTo>
                  <a:pt x="43" y="528"/>
                  <a:pt x="45" y="533"/>
                  <a:pt x="51" y="534"/>
                </a:cubicBezTo>
                <a:cubicBezTo>
                  <a:pt x="56" y="535"/>
                  <a:pt x="59" y="536"/>
                  <a:pt x="61" y="537"/>
                </a:cubicBezTo>
                <a:cubicBezTo>
                  <a:pt x="66" y="538"/>
                  <a:pt x="70" y="540"/>
                  <a:pt x="73" y="542"/>
                </a:cubicBezTo>
                <a:cubicBezTo>
                  <a:pt x="73" y="543"/>
                  <a:pt x="73" y="543"/>
                  <a:pt x="74" y="543"/>
                </a:cubicBezTo>
                <a:cubicBezTo>
                  <a:pt x="74" y="543"/>
                  <a:pt x="73" y="543"/>
                  <a:pt x="71" y="544"/>
                </a:cubicBezTo>
                <a:cubicBezTo>
                  <a:pt x="70" y="544"/>
                  <a:pt x="69" y="545"/>
                  <a:pt x="69" y="546"/>
                </a:cubicBezTo>
                <a:cubicBezTo>
                  <a:pt x="69" y="547"/>
                  <a:pt x="69" y="552"/>
                  <a:pt x="70" y="561"/>
                </a:cubicBezTo>
                <a:cubicBezTo>
                  <a:pt x="69" y="568"/>
                  <a:pt x="67" y="572"/>
                  <a:pt x="65" y="575"/>
                </a:cubicBezTo>
                <a:cubicBezTo>
                  <a:pt x="63" y="579"/>
                  <a:pt x="62" y="582"/>
                  <a:pt x="62" y="586"/>
                </a:cubicBezTo>
                <a:cubicBezTo>
                  <a:pt x="61" y="588"/>
                  <a:pt x="64" y="590"/>
                  <a:pt x="68" y="592"/>
                </a:cubicBezTo>
                <a:cubicBezTo>
                  <a:pt x="72" y="593"/>
                  <a:pt x="75" y="594"/>
                  <a:pt x="77" y="594"/>
                </a:cubicBezTo>
                <a:cubicBezTo>
                  <a:pt x="81" y="595"/>
                  <a:pt x="86" y="594"/>
                  <a:pt x="92" y="593"/>
                </a:cubicBezTo>
                <a:cubicBezTo>
                  <a:pt x="98" y="591"/>
                  <a:pt x="102" y="590"/>
                  <a:pt x="104" y="590"/>
                </a:cubicBezTo>
                <a:cubicBezTo>
                  <a:pt x="104" y="590"/>
                  <a:pt x="104" y="590"/>
                  <a:pt x="104" y="590"/>
                </a:cubicBezTo>
                <a:cubicBezTo>
                  <a:pt x="106" y="590"/>
                  <a:pt x="108" y="591"/>
                  <a:pt x="110" y="593"/>
                </a:cubicBezTo>
                <a:cubicBezTo>
                  <a:pt x="110" y="593"/>
                  <a:pt x="110" y="594"/>
                  <a:pt x="110" y="594"/>
                </a:cubicBezTo>
                <a:cubicBezTo>
                  <a:pt x="111" y="594"/>
                  <a:pt x="111" y="594"/>
                  <a:pt x="111" y="595"/>
                </a:cubicBezTo>
                <a:cubicBezTo>
                  <a:pt x="114" y="598"/>
                  <a:pt x="116" y="599"/>
                  <a:pt x="117" y="600"/>
                </a:cubicBezTo>
                <a:cubicBezTo>
                  <a:pt x="118" y="600"/>
                  <a:pt x="120" y="599"/>
                  <a:pt x="120" y="597"/>
                </a:cubicBezTo>
                <a:cubicBezTo>
                  <a:pt x="122" y="594"/>
                  <a:pt x="122" y="593"/>
                  <a:pt x="123" y="593"/>
                </a:cubicBezTo>
                <a:cubicBezTo>
                  <a:pt x="123" y="593"/>
                  <a:pt x="123" y="596"/>
                  <a:pt x="124" y="602"/>
                </a:cubicBezTo>
                <a:cubicBezTo>
                  <a:pt x="124" y="607"/>
                  <a:pt x="125" y="610"/>
                  <a:pt x="127" y="612"/>
                </a:cubicBezTo>
                <a:cubicBezTo>
                  <a:pt x="121" y="612"/>
                  <a:pt x="117" y="611"/>
                  <a:pt x="112" y="608"/>
                </a:cubicBezTo>
                <a:cubicBezTo>
                  <a:pt x="109" y="606"/>
                  <a:pt x="106" y="603"/>
                  <a:pt x="104" y="600"/>
                </a:cubicBezTo>
                <a:cubicBezTo>
                  <a:pt x="103" y="602"/>
                  <a:pt x="103" y="605"/>
                  <a:pt x="105" y="607"/>
                </a:cubicBezTo>
                <a:cubicBezTo>
                  <a:pt x="107" y="610"/>
                  <a:pt x="108" y="612"/>
                  <a:pt x="108" y="613"/>
                </a:cubicBezTo>
                <a:cubicBezTo>
                  <a:pt x="108" y="615"/>
                  <a:pt x="106" y="621"/>
                  <a:pt x="103" y="633"/>
                </a:cubicBezTo>
                <a:cubicBezTo>
                  <a:pt x="99" y="644"/>
                  <a:pt x="97" y="652"/>
                  <a:pt x="95" y="655"/>
                </a:cubicBezTo>
                <a:cubicBezTo>
                  <a:pt x="95" y="658"/>
                  <a:pt x="91" y="662"/>
                  <a:pt x="84" y="669"/>
                </a:cubicBezTo>
                <a:cubicBezTo>
                  <a:pt x="78" y="674"/>
                  <a:pt x="74" y="680"/>
                  <a:pt x="74" y="685"/>
                </a:cubicBezTo>
                <a:cubicBezTo>
                  <a:pt x="74" y="686"/>
                  <a:pt x="74" y="688"/>
                  <a:pt x="76" y="691"/>
                </a:cubicBezTo>
                <a:cubicBezTo>
                  <a:pt x="77" y="695"/>
                  <a:pt x="78" y="697"/>
                  <a:pt x="78" y="698"/>
                </a:cubicBezTo>
                <a:cubicBezTo>
                  <a:pt x="77" y="701"/>
                  <a:pt x="74" y="709"/>
                  <a:pt x="67" y="722"/>
                </a:cubicBezTo>
                <a:cubicBezTo>
                  <a:pt x="67" y="723"/>
                  <a:pt x="68" y="724"/>
                  <a:pt x="69" y="725"/>
                </a:cubicBezTo>
                <a:cubicBezTo>
                  <a:pt x="70" y="726"/>
                  <a:pt x="71" y="728"/>
                  <a:pt x="71" y="729"/>
                </a:cubicBezTo>
                <a:cubicBezTo>
                  <a:pt x="71" y="729"/>
                  <a:pt x="69" y="732"/>
                  <a:pt x="64" y="739"/>
                </a:cubicBezTo>
                <a:cubicBezTo>
                  <a:pt x="60" y="746"/>
                  <a:pt x="57" y="752"/>
                  <a:pt x="54" y="757"/>
                </a:cubicBezTo>
                <a:cubicBezTo>
                  <a:pt x="54" y="759"/>
                  <a:pt x="52" y="765"/>
                  <a:pt x="49" y="773"/>
                </a:cubicBezTo>
                <a:cubicBezTo>
                  <a:pt x="46" y="781"/>
                  <a:pt x="44" y="786"/>
                  <a:pt x="41" y="789"/>
                </a:cubicBezTo>
                <a:cubicBezTo>
                  <a:pt x="40" y="790"/>
                  <a:pt x="37" y="795"/>
                  <a:pt x="32" y="803"/>
                </a:cubicBezTo>
                <a:cubicBezTo>
                  <a:pt x="28" y="808"/>
                  <a:pt x="25" y="812"/>
                  <a:pt x="20" y="813"/>
                </a:cubicBezTo>
                <a:cubicBezTo>
                  <a:pt x="16" y="815"/>
                  <a:pt x="12" y="819"/>
                  <a:pt x="7" y="825"/>
                </a:cubicBezTo>
                <a:cubicBezTo>
                  <a:pt x="3" y="831"/>
                  <a:pt x="0" y="837"/>
                  <a:pt x="0" y="842"/>
                </a:cubicBezTo>
                <a:cubicBezTo>
                  <a:pt x="0" y="845"/>
                  <a:pt x="2" y="847"/>
                  <a:pt x="7" y="848"/>
                </a:cubicBezTo>
                <a:cubicBezTo>
                  <a:pt x="11" y="848"/>
                  <a:pt x="20" y="847"/>
                  <a:pt x="35" y="844"/>
                </a:cubicBezTo>
                <a:cubicBezTo>
                  <a:pt x="49" y="842"/>
                  <a:pt x="60" y="841"/>
                  <a:pt x="65" y="841"/>
                </a:cubicBezTo>
                <a:cubicBezTo>
                  <a:pt x="68" y="842"/>
                  <a:pt x="70" y="843"/>
                  <a:pt x="69" y="845"/>
                </a:cubicBezTo>
                <a:cubicBezTo>
                  <a:pt x="69" y="848"/>
                  <a:pt x="71" y="851"/>
                  <a:pt x="74" y="852"/>
                </a:cubicBezTo>
                <a:cubicBezTo>
                  <a:pt x="81" y="854"/>
                  <a:pt x="86" y="855"/>
                  <a:pt x="89" y="856"/>
                </a:cubicBezTo>
                <a:cubicBezTo>
                  <a:pt x="91" y="857"/>
                  <a:pt x="94" y="859"/>
                  <a:pt x="99" y="863"/>
                </a:cubicBezTo>
                <a:cubicBezTo>
                  <a:pt x="103" y="866"/>
                  <a:pt x="108" y="868"/>
                  <a:pt x="113" y="869"/>
                </a:cubicBezTo>
                <a:cubicBezTo>
                  <a:pt x="118" y="871"/>
                  <a:pt x="126" y="877"/>
                  <a:pt x="135" y="886"/>
                </a:cubicBezTo>
                <a:cubicBezTo>
                  <a:pt x="143" y="893"/>
                  <a:pt x="151" y="898"/>
                  <a:pt x="160" y="899"/>
                </a:cubicBezTo>
                <a:cubicBezTo>
                  <a:pt x="163" y="899"/>
                  <a:pt x="166" y="899"/>
                  <a:pt x="169" y="898"/>
                </a:cubicBezTo>
                <a:cubicBezTo>
                  <a:pt x="170" y="898"/>
                  <a:pt x="173" y="897"/>
                  <a:pt x="177" y="898"/>
                </a:cubicBezTo>
                <a:cubicBezTo>
                  <a:pt x="178" y="898"/>
                  <a:pt x="179" y="897"/>
                  <a:pt x="180" y="897"/>
                </a:cubicBezTo>
                <a:cubicBezTo>
                  <a:pt x="193" y="896"/>
                  <a:pt x="201" y="894"/>
                  <a:pt x="206" y="894"/>
                </a:cubicBezTo>
                <a:cubicBezTo>
                  <a:pt x="214" y="892"/>
                  <a:pt x="220" y="889"/>
                  <a:pt x="223" y="885"/>
                </a:cubicBezTo>
                <a:lnTo>
                  <a:pt x="223" y="880"/>
                </a:lnTo>
                <a:cubicBezTo>
                  <a:pt x="225" y="879"/>
                  <a:pt x="226" y="877"/>
                  <a:pt x="226" y="876"/>
                </a:cubicBezTo>
                <a:lnTo>
                  <a:pt x="226" y="876"/>
                </a:lnTo>
                <a:cubicBezTo>
                  <a:pt x="230" y="853"/>
                  <a:pt x="232" y="839"/>
                  <a:pt x="233" y="834"/>
                </a:cubicBezTo>
                <a:cubicBezTo>
                  <a:pt x="233" y="830"/>
                  <a:pt x="232" y="828"/>
                  <a:pt x="230" y="826"/>
                </a:cubicBezTo>
                <a:cubicBezTo>
                  <a:pt x="229" y="824"/>
                  <a:pt x="228" y="822"/>
                  <a:pt x="228" y="820"/>
                </a:cubicBezTo>
                <a:cubicBezTo>
                  <a:pt x="228" y="816"/>
                  <a:pt x="231" y="812"/>
                  <a:pt x="236" y="809"/>
                </a:cubicBezTo>
                <a:cubicBezTo>
                  <a:pt x="242" y="804"/>
                  <a:pt x="245" y="802"/>
                  <a:pt x="246" y="801"/>
                </a:cubicBezTo>
                <a:cubicBezTo>
                  <a:pt x="253" y="791"/>
                  <a:pt x="261" y="785"/>
                  <a:pt x="270" y="783"/>
                </a:cubicBezTo>
                <a:cubicBezTo>
                  <a:pt x="274" y="783"/>
                  <a:pt x="278" y="780"/>
                  <a:pt x="281" y="776"/>
                </a:cubicBezTo>
                <a:cubicBezTo>
                  <a:pt x="284" y="770"/>
                  <a:pt x="287" y="766"/>
                  <a:pt x="288" y="764"/>
                </a:cubicBezTo>
                <a:cubicBezTo>
                  <a:pt x="290" y="761"/>
                  <a:pt x="295" y="760"/>
                  <a:pt x="301" y="761"/>
                </a:cubicBezTo>
                <a:cubicBezTo>
                  <a:pt x="304" y="762"/>
                  <a:pt x="306" y="761"/>
                  <a:pt x="308" y="759"/>
                </a:cubicBezTo>
                <a:cubicBezTo>
                  <a:pt x="310" y="757"/>
                  <a:pt x="312" y="756"/>
                  <a:pt x="315" y="756"/>
                </a:cubicBezTo>
                <a:cubicBezTo>
                  <a:pt x="317" y="758"/>
                  <a:pt x="320" y="760"/>
                  <a:pt x="323" y="760"/>
                </a:cubicBezTo>
                <a:cubicBezTo>
                  <a:pt x="324" y="760"/>
                  <a:pt x="328" y="756"/>
                  <a:pt x="337" y="750"/>
                </a:cubicBezTo>
                <a:cubicBezTo>
                  <a:pt x="347" y="743"/>
                  <a:pt x="351" y="738"/>
                  <a:pt x="351" y="737"/>
                </a:cubicBezTo>
                <a:lnTo>
                  <a:pt x="349" y="733"/>
                </a:lnTo>
                <a:cubicBezTo>
                  <a:pt x="346" y="734"/>
                  <a:pt x="343" y="734"/>
                  <a:pt x="338" y="733"/>
                </a:cubicBezTo>
                <a:cubicBezTo>
                  <a:pt x="331" y="732"/>
                  <a:pt x="328" y="732"/>
                  <a:pt x="327" y="732"/>
                </a:cubicBezTo>
                <a:cubicBezTo>
                  <a:pt x="327" y="733"/>
                  <a:pt x="324" y="724"/>
                  <a:pt x="320" y="706"/>
                </a:cubicBezTo>
                <a:cubicBezTo>
                  <a:pt x="316" y="687"/>
                  <a:pt x="313" y="676"/>
                  <a:pt x="313" y="672"/>
                </a:cubicBezTo>
                <a:cubicBezTo>
                  <a:pt x="312" y="667"/>
                  <a:pt x="314" y="664"/>
                  <a:pt x="319" y="661"/>
                </a:cubicBezTo>
                <a:cubicBezTo>
                  <a:pt x="324" y="657"/>
                  <a:pt x="327" y="655"/>
                  <a:pt x="328" y="652"/>
                </a:cubicBezTo>
                <a:cubicBezTo>
                  <a:pt x="331" y="645"/>
                  <a:pt x="333" y="640"/>
                  <a:pt x="334" y="638"/>
                </a:cubicBezTo>
                <a:cubicBezTo>
                  <a:pt x="336" y="633"/>
                  <a:pt x="340" y="630"/>
                  <a:pt x="345" y="628"/>
                </a:cubicBezTo>
                <a:cubicBezTo>
                  <a:pt x="352" y="625"/>
                  <a:pt x="360" y="619"/>
                  <a:pt x="369" y="610"/>
                </a:cubicBezTo>
                <a:cubicBezTo>
                  <a:pt x="377" y="602"/>
                  <a:pt x="384" y="598"/>
                  <a:pt x="392" y="597"/>
                </a:cubicBezTo>
                <a:lnTo>
                  <a:pt x="394" y="577"/>
                </a:lnTo>
                <a:cubicBezTo>
                  <a:pt x="379" y="572"/>
                  <a:pt x="370" y="553"/>
                  <a:pt x="367" y="520"/>
                </a:cubicBezTo>
                <a:cubicBezTo>
                  <a:pt x="367" y="519"/>
                  <a:pt x="368" y="516"/>
                  <a:pt x="369" y="514"/>
                </a:cubicBezTo>
                <a:cubicBezTo>
                  <a:pt x="371" y="511"/>
                  <a:pt x="372" y="508"/>
                  <a:pt x="372" y="507"/>
                </a:cubicBezTo>
                <a:cubicBezTo>
                  <a:pt x="372" y="506"/>
                  <a:pt x="369" y="499"/>
                  <a:pt x="364" y="485"/>
                </a:cubicBezTo>
                <a:cubicBezTo>
                  <a:pt x="359" y="470"/>
                  <a:pt x="355" y="461"/>
                  <a:pt x="355" y="459"/>
                </a:cubicBezTo>
                <a:cubicBezTo>
                  <a:pt x="380" y="466"/>
                  <a:pt x="395" y="472"/>
                  <a:pt x="402" y="477"/>
                </a:cubicBezTo>
                <a:lnTo>
                  <a:pt x="429" y="480"/>
                </a:lnTo>
                <a:cubicBezTo>
                  <a:pt x="426" y="474"/>
                  <a:pt x="431" y="466"/>
                  <a:pt x="442" y="456"/>
                </a:cubicBezTo>
                <a:cubicBezTo>
                  <a:pt x="448" y="450"/>
                  <a:pt x="453" y="445"/>
                  <a:pt x="454" y="444"/>
                </a:cubicBezTo>
                <a:cubicBezTo>
                  <a:pt x="459" y="439"/>
                  <a:pt x="461" y="434"/>
                  <a:pt x="461" y="430"/>
                </a:cubicBezTo>
                <a:cubicBezTo>
                  <a:pt x="462" y="425"/>
                  <a:pt x="460" y="420"/>
                  <a:pt x="456" y="415"/>
                </a:cubicBezTo>
                <a:cubicBezTo>
                  <a:pt x="453" y="411"/>
                  <a:pt x="451" y="406"/>
                  <a:pt x="452" y="401"/>
                </a:cubicBezTo>
                <a:cubicBezTo>
                  <a:pt x="452" y="396"/>
                  <a:pt x="455" y="392"/>
                  <a:pt x="459" y="389"/>
                </a:cubicBezTo>
                <a:cubicBezTo>
                  <a:pt x="462" y="388"/>
                  <a:pt x="467" y="386"/>
                  <a:pt x="473" y="385"/>
                </a:cubicBezTo>
                <a:cubicBezTo>
                  <a:pt x="480" y="383"/>
                  <a:pt x="485" y="382"/>
                  <a:pt x="487" y="380"/>
                </a:cubicBezTo>
                <a:cubicBezTo>
                  <a:pt x="492" y="378"/>
                  <a:pt x="494" y="375"/>
                  <a:pt x="495" y="370"/>
                </a:cubicBezTo>
                <a:cubicBezTo>
                  <a:pt x="495" y="369"/>
                  <a:pt x="494" y="368"/>
                  <a:pt x="493" y="365"/>
                </a:cubicBezTo>
                <a:cubicBezTo>
                  <a:pt x="491" y="363"/>
                  <a:pt x="490" y="360"/>
                  <a:pt x="491" y="357"/>
                </a:cubicBezTo>
                <a:cubicBezTo>
                  <a:pt x="491" y="350"/>
                  <a:pt x="496" y="338"/>
                  <a:pt x="505" y="319"/>
                </a:cubicBezTo>
                <a:cubicBezTo>
                  <a:pt x="514" y="301"/>
                  <a:pt x="519" y="289"/>
                  <a:pt x="520" y="284"/>
                </a:cubicBezTo>
                <a:cubicBezTo>
                  <a:pt x="520" y="280"/>
                  <a:pt x="520" y="274"/>
                  <a:pt x="518" y="269"/>
                </a:cubicBezTo>
                <a:cubicBezTo>
                  <a:pt x="515" y="262"/>
                  <a:pt x="514" y="257"/>
                  <a:pt x="514" y="255"/>
                </a:cubicBezTo>
                <a:cubicBezTo>
                  <a:pt x="515" y="255"/>
                  <a:pt x="515" y="255"/>
                  <a:pt x="516" y="254"/>
                </a:cubicBezTo>
                <a:lnTo>
                  <a:pt x="516" y="253"/>
                </a:lnTo>
                <a:cubicBezTo>
                  <a:pt x="521" y="258"/>
                  <a:pt x="527" y="258"/>
                  <a:pt x="534" y="253"/>
                </a:cubicBezTo>
                <a:cubicBezTo>
                  <a:pt x="542" y="246"/>
                  <a:pt x="546" y="242"/>
                  <a:pt x="548" y="241"/>
                </a:cubicBezTo>
                <a:cubicBezTo>
                  <a:pt x="552" y="237"/>
                  <a:pt x="558" y="234"/>
                  <a:pt x="564" y="233"/>
                </a:cubicBezTo>
                <a:cubicBezTo>
                  <a:pt x="572" y="231"/>
                  <a:pt x="578" y="230"/>
                  <a:pt x="582" y="230"/>
                </a:cubicBezTo>
                <a:cubicBezTo>
                  <a:pt x="585" y="229"/>
                  <a:pt x="591" y="225"/>
                  <a:pt x="597" y="219"/>
                </a:cubicBezTo>
                <a:cubicBezTo>
                  <a:pt x="602" y="215"/>
                  <a:pt x="607" y="214"/>
                  <a:pt x="614" y="216"/>
                </a:cubicBezTo>
                <a:cubicBezTo>
                  <a:pt x="617" y="214"/>
                  <a:pt x="622" y="209"/>
                  <a:pt x="627" y="202"/>
                </a:cubicBezTo>
                <a:cubicBezTo>
                  <a:pt x="632" y="196"/>
                  <a:pt x="636" y="193"/>
                  <a:pt x="640" y="192"/>
                </a:cubicBezTo>
                <a:cubicBezTo>
                  <a:pt x="638" y="183"/>
                  <a:pt x="635" y="176"/>
                  <a:pt x="629" y="171"/>
                </a:cubicBezTo>
                <a:cubicBezTo>
                  <a:pt x="624" y="166"/>
                  <a:pt x="615" y="163"/>
                  <a:pt x="603" y="161"/>
                </a:cubicBezTo>
                <a:lnTo>
                  <a:pt x="605" y="143"/>
                </a:lnTo>
                <a:cubicBezTo>
                  <a:pt x="611" y="138"/>
                  <a:pt x="614" y="135"/>
                  <a:pt x="615" y="133"/>
                </a:cubicBezTo>
                <a:cubicBezTo>
                  <a:pt x="615" y="131"/>
                  <a:pt x="616" y="128"/>
                  <a:pt x="616" y="123"/>
                </a:cubicBezTo>
                <a:cubicBezTo>
                  <a:pt x="617" y="117"/>
                  <a:pt x="617" y="112"/>
                  <a:pt x="616" y="110"/>
                </a:cubicBezTo>
                <a:cubicBezTo>
                  <a:pt x="612" y="110"/>
                  <a:pt x="600" y="105"/>
                  <a:pt x="579" y="96"/>
                </a:cubicBezTo>
                <a:cubicBezTo>
                  <a:pt x="559" y="87"/>
                  <a:pt x="547" y="83"/>
                  <a:pt x="545" y="83"/>
                </a:cubicBezTo>
                <a:cubicBezTo>
                  <a:pt x="541" y="82"/>
                  <a:pt x="538" y="84"/>
                  <a:pt x="536" y="87"/>
                </a:cubicBezTo>
                <a:cubicBezTo>
                  <a:pt x="532" y="92"/>
                  <a:pt x="529" y="95"/>
                  <a:pt x="529" y="95"/>
                </a:cubicBezTo>
                <a:cubicBezTo>
                  <a:pt x="522" y="95"/>
                  <a:pt x="516" y="95"/>
                  <a:pt x="511" y="95"/>
                </a:cubicBezTo>
                <a:cubicBezTo>
                  <a:pt x="506" y="96"/>
                  <a:pt x="503" y="96"/>
                  <a:pt x="502" y="96"/>
                </a:cubicBezTo>
                <a:cubicBezTo>
                  <a:pt x="501" y="96"/>
                  <a:pt x="497" y="93"/>
                  <a:pt x="490" y="87"/>
                </a:cubicBezTo>
                <a:cubicBezTo>
                  <a:pt x="482" y="81"/>
                  <a:pt x="478" y="77"/>
                  <a:pt x="477" y="74"/>
                </a:cubicBezTo>
                <a:cubicBezTo>
                  <a:pt x="475" y="71"/>
                  <a:pt x="469" y="68"/>
                  <a:pt x="461" y="65"/>
                </a:cubicBezTo>
                <a:cubicBezTo>
                  <a:pt x="450" y="62"/>
                  <a:pt x="443" y="59"/>
                  <a:pt x="440" y="57"/>
                </a:cubicBezTo>
                <a:cubicBezTo>
                  <a:pt x="440" y="61"/>
                  <a:pt x="437" y="63"/>
                  <a:pt x="433" y="63"/>
                </a:cubicBezTo>
                <a:cubicBezTo>
                  <a:pt x="425" y="64"/>
                  <a:pt x="422" y="65"/>
                  <a:pt x="422" y="65"/>
                </a:cubicBezTo>
                <a:lnTo>
                  <a:pt x="407" y="63"/>
                </a:lnTo>
                <a:cubicBezTo>
                  <a:pt x="405" y="58"/>
                  <a:pt x="405" y="53"/>
                  <a:pt x="405" y="49"/>
                </a:cubicBezTo>
                <a:cubicBezTo>
                  <a:pt x="406" y="44"/>
                  <a:pt x="409" y="39"/>
                  <a:pt x="417" y="34"/>
                </a:cubicBezTo>
                <a:cubicBezTo>
                  <a:pt x="425" y="29"/>
                  <a:pt x="429" y="24"/>
                  <a:pt x="430" y="20"/>
                </a:cubicBezTo>
                <a:cubicBezTo>
                  <a:pt x="424" y="18"/>
                  <a:pt x="420" y="17"/>
                  <a:pt x="418" y="15"/>
                </a:cubicBezTo>
                <a:cubicBezTo>
                  <a:pt x="418" y="11"/>
                  <a:pt x="419" y="7"/>
                  <a:pt x="420" y="5"/>
                </a:cubicBezTo>
                <a:lnTo>
                  <a:pt x="410" y="3"/>
                </a:lnTo>
                <a:cubicBezTo>
                  <a:pt x="409" y="4"/>
                  <a:pt x="407" y="5"/>
                  <a:pt x="403" y="7"/>
                </a:cubicBezTo>
                <a:cubicBezTo>
                  <a:pt x="399" y="9"/>
                  <a:pt x="397" y="9"/>
                  <a:pt x="395" y="9"/>
                </a:cubicBezTo>
                <a:cubicBezTo>
                  <a:pt x="394" y="9"/>
                  <a:pt x="391" y="8"/>
                  <a:pt x="386" y="5"/>
                </a:cubicBezTo>
                <a:cubicBezTo>
                  <a:pt x="381" y="2"/>
                  <a:pt x="379" y="0"/>
                  <a:pt x="378" y="0"/>
                </a:cubicBezTo>
                <a:cubicBezTo>
                  <a:pt x="376" y="0"/>
                  <a:pt x="369" y="2"/>
                  <a:pt x="355" y="6"/>
                </a:cubicBezTo>
                <a:cubicBezTo>
                  <a:pt x="340" y="10"/>
                  <a:pt x="329" y="14"/>
                  <a:pt x="322" y="18"/>
                </a:cubicBezTo>
                <a:lnTo>
                  <a:pt x="321" y="19"/>
                </a:lnTo>
                <a:cubicBezTo>
                  <a:pt x="320" y="20"/>
                  <a:pt x="318" y="22"/>
                  <a:pt x="315" y="25"/>
                </a:cubicBezTo>
                <a:cubicBezTo>
                  <a:pt x="311" y="29"/>
                  <a:pt x="309" y="31"/>
                  <a:pt x="309" y="33"/>
                </a:cubicBezTo>
                <a:cubicBezTo>
                  <a:pt x="308" y="43"/>
                  <a:pt x="310" y="50"/>
                  <a:pt x="314" y="52"/>
                </a:cubicBezTo>
                <a:cubicBezTo>
                  <a:pt x="313" y="55"/>
                  <a:pt x="310" y="65"/>
                  <a:pt x="306" y="82"/>
                </a:cubicBezTo>
                <a:cubicBezTo>
                  <a:pt x="301" y="101"/>
                  <a:pt x="299" y="115"/>
                  <a:pt x="298" y="123"/>
                </a:cubicBezTo>
                <a:cubicBezTo>
                  <a:pt x="298" y="126"/>
                  <a:pt x="298" y="130"/>
                  <a:pt x="300" y="135"/>
                </a:cubicBezTo>
                <a:cubicBezTo>
                  <a:pt x="302" y="140"/>
                  <a:pt x="303" y="144"/>
                  <a:pt x="303" y="145"/>
                </a:cubicBezTo>
                <a:cubicBezTo>
                  <a:pt x="302" y="149"/>
                  <a:pt x="298" y="159"/>
                  <a:pt x="291" y="176"/>
                </a:cubicBezTo>
                <a:cubicBezTo>
                  <a:pt x="284" y="193"/>
                  <a:pt x="280" y="202"/>
                  <a:pt x="280" y="204"/>
                </a:cubicBezTo>
                <a:cubicBezTo>
                  <a:pt x="279" y="206"/>
                  <a:pt x="279" y="208"/>
                  <a:pt x="279" y="208"/>
                </a:cubicBezTo>
                <a:cubicBezTo>
                  <a:pt x="280" y="208"/>
                  <a:pt x="280" y="208"/>
                  <a:pt x="280" y="208"/>
                </a:cubicBezTo>
                <a:cubicBezTo>
                  <a:pt x="280" y="209"/>
                  <a:pt x="278" y="211"/>
                  <a:pt x="275" y="215"/>
                </a:cubicBezTo>
                <a:cubicBezTo>
                  <a:pt x="271" y="219"/>
                  <a:pt x="270" y="221"/>
                  <a:pt x="270" y="222"/>
                </a:cubicBezTo>
                <a:cubicBezTo>
                  <a:pt x="269" y="224"/>
                  <a:pt x="270" y="225"/>
                  <a:pt x="271" y="227"/>
                </a:cubicBezTo>
                <a:cubicBezTo>
                  <a:pt x="271" y="228"/>
                  <a:pt x="268" y="229"/>
                  <a:pt x="263" y="232"/>
                </a:cubicBezTo>
                <a:cubicBezTo>
                  <a:pt x="258" y="235"/>
                  <a:pt x="254" y="238"/>
                  <a:pt x="252" y="241"/>
                </a:cubicBezTo>
                <a:cubicBezTo>
                  <a:pt x="250" y="245"/>
                  <a:pt x="245" y="252"/>
                  <a:pt x="238" y="263"/>
                </a:cubicBezTo>
                <a:cubicBezTo>
                  <a:pt x="219" y="288"/>
                  <a:pt x="208" y="302"/>
                  <a:pt x="206" y="304"/>
                </a:cubicBezTo>
                <a:cubicBezTo>
                  <a:pt x="207" y="305"/>
                  <a:pt x="208" y="307"/>
                  <a:pt x="211" y="309"/>
                </a:cubicBezTo>
                <a:cubicBezTo>
                  <a:pt x="213" y="311"/>
                  <a:pt x="213" y="313"/>
                  <a:pt x="213" y="313"/>
                </a:cubicBezTo>
                <a:cubicBezTo>
                  <a:pt x="213" y="318"/>
                  <a:pt x="210" y="324"/>
                  <a:pt x="204" y="329"/>
                </a:cubicBezTo>
                <a:cubicBezTo>
                  <a:pt x="201" y="332"/>
                  <a:pt x="196" y="337"/>
                  <a:pt x="191" y="342"/>
                </a:cubicBezTo>
                <a:cubicBezTo>
                  <a:pt x="189" y="344"/>
                  <a:pt x="185" y="348"/>
                  <a:pt x="178" y="355"/>
                </a:cubicBezTo>
                <a:cubicBezTo>
                  <a:pt x="172" y="360"/>
                  <a:pt x="169" y="365"/>
                  <a:pt x="167" y="369"/>
                </a:cubicBezTo>
                <a:cubicBezTo>
                  <a:pt x="164" y="374"/>
                  <a:pt x="157" y="384"/>
                  <a:pt x="145" y="398"/>
                </a:cubicBezTo>
                <a:cubicBezTo>
                  <a:pt x="141" y="404"/>
                  <a:pt x="135" y="409"/>
                  <a:pt x="128" y="412"/>
                </a:cubicBezTo>
                <a:cubicBezTo>
                  <a:pt x="122" y="415"/>
                  <a:pt x="119" y="417"/>
                  <a:pt x="119" y="417"/>
                </a:cubicBezTo>
                <a:cubicBezTo>
                  <a:pt x="119" y="418"/>
                  <a:pt x="119" y="419"/>
                  <a:pt x="119" y="419"/>
                </a:cubicBezTo>
                <a:cubicBezTo>
                  <a:pt x="120" y="420"/>
                  <a:pt x="120" y="420"/>
                  <a:pt x="122" y="421"/>
                </a:cubicBezTo>
                <a:cubicBezTo>
                  <a:pt x="121" y="422"/>
                  <a:pt x="119" y="423"/>
                  <a:pt x="117" y="423"/>
                </a:cubicBezTo>
                <a:cubicBezTo>
                  <a:pt x="115" y="423"/>
                  <a:pt x="113" y="422"/>
                  <a:pt x="108" y="420"/>
                </a:cubicBezTo>
                <a:cubicBezTo>
                  <a:pt x="102" y="420"/>
                  <a:pt x="99" y="421"/>
                  <a:pt x="97" y="426"/>
                </a:cubicBezTo>
                <a:cubicBezTo>
                  <a:pt x="96" y="428"/>
                  <a:pt x="96" y="431"/>
                  <a:pt x="96" y="436"/>
                </a:cubicBezTo>
                <a:cubicBezTo>
                  <a:pt x="96" y="436"/>
                  <a:pt x="95" y="439"/>
                  <a:pt x="93" y="442"/>
                </a:cubicBezTo>
                <a:lnTo>
                  <a:pt x="93" y="44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" name="Freeform 222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" name="Freeform 223"/>
          <p:cNvSpPr/>
          <p:nvPr/>
        </p:nvSpPr>
        <p:spPr bwMode="auto">
          <a:xfrm>
            <a:off x="9125858" y="3156692"/>
            <a:ext cx="1161667" cy="1058601"/>
          </a:xfrm>
          <a:custGeom>
            <a:avLst/>
            <a:gdLst>
              <a:gd name="T0" fmla="*/ 1090 w 1112"/>
              <a:gd name="T1" fmla="*/ 679 h 1012"/>
              <a:gd name="T2" fmla="*/ 1044 w 1112"/>
              <a:gd name="T3" fmla="*/ 594 h 1012"/>
              <a:gd name="T4" fmla="*/ 1039 w 1112"/>
              <a:gd name="T5" fmla="*/ 564 h 1012"/>
              <a:gd name="T6" fmla="*/ 1033 w 1112"/>
              <a:gd name="T7" fmla="*/ 499 h 1012"/>
              <a:gd name="T8" fmla="*/ 1014 w 1112"/>
              <a:gd name="T9" fmla="*/ 449 h 1012"/>
              <a:gd name="T10" fmla="*/ 1025 w 1112"/>
              <a:gd name="T11" fmla="*/ 369 h 1012"/>
              <a:gd name="T12" fmla="*/ 1045 w 1112"/>
              <a:gd name="T13" fmla="*/ 287 h 1012"/>
              <a:gd name="T14" fmla="*/ 1007 w 1112"/>
              <a:gd name="T15" fmla="*/ 194 h 1012"/>
              <a:gd name="T16" fmla="*/ 996 w 1112"/>
              <a:gd name="T17" fmla="*/ 144 h 1012"/>
              <a:gd name="T18" fmla="*/ 968 w 1112"/>
              <a:gd name="T19" fmla="*/ 81 h 1012"/>
              <a:gd name="T20" fmla="*/ 902 w 1112"/>
              <a:gd name="T21" fmla="*/ 62 h 1012"/>
              <a:gd name="T22" fmla="*/ 697 w 1112"/>
              <a:gd name="T23" fmla="*/ 75 h 1012"/>
              <a:gd name="T24" fmla="*/ 597 w 1112"/>
              <a:gd name="T25" fmla="*/ 68 h 1012"/>
              <a:gd name="T26" fmla="*/ 585 w 1112"/>
              <a:gd name="T27" fmla="*/ 62 h 1012"/>
              <a:gd name="T28" fmla="*/ 472 w 1112"/>
              <a:gd name="T29" fmla="*/ 63 h 1012"/>
              <a:gd name="T30" fmla="*/ 464 w 1112"/>
              <a:gd name="T31" fmla="*/ 16 h 1012"/>
              <a:gd name="T32" fmla="*/ 487 w 1112"/>
              <a:gd name="T33" fmla="*/ 25 h 1012"/>
              <a:gd name="T34" fmla="*/ 439 w 1112"/>
              <a:gd name="T35" fmla="*/ 4 h 1012"/>
              <a:gd name="T36" fmla="*/ 311 w 1112"/>
              <a:gd name="T37" fmla="*/ 35 h 1012"/>
              <a:gd name="T38" fmla="*/ 232 w 1112"/>
              <a:gd name="T39" fmla="*/ 89 h 1012"/>
              <a:gd name="T40" fmla="*/ 216 w 1112"/>
              <a:gd name="T41" fmla="*/ 102 h 1012"/>
              <a:gd name="T42" fmla="*/ 15 w 1112"/>
              <a:gd name="T43" fmla="*/ 169 h 1012"/>
              <a:gd name="T44" fmla="*/ 52 w 1112"/>
              <a:gd name="T45" fmla="*/ 177 h 1012"/>
              <a:gd name="T46" fmla="*/ 53 w 1112"/>
              <a:gd name="T47" fmla="*/ 203 h 1012"/>
              <a:gd name="T48" fmla="*/ 23 w 1112"/>
              <a:gd name="T49" fmla="*/ 191 h 1012"/>
              <a:gd name="T50" fmla="*/ 28 w 1112"/>
              <a:gd name="T51" fmla="*/ 252 h 1012"/>
              <a:gd name="T52" fmla="*/ 28 w 1112"/>
              <a:gd name="T53" fmla="*/ 293 h 1012"/>
              <a:gd name="T54" fmla="*/ 25 w 1112"/>
              <a:gd name="T55" fmla="*/ 370 h 1012"/>
              <a:gd name="T56" fmla="*/ 46 w 1112"/>
              <a:gd name="T57" fmla="*/ 448 h 1012"/>
              <a:gd name="T58" fmla="*/ 60 w 1112"/>
              <a:gd name="T59" fmla="*/ 490 h 1012"/>
              <a:gd name="T60" fmla="*/ 47 w 1112"/>
              <a:gd name="T61" fmla="*/ 539 h 1012"/>
              <a:gd name="T62" fmla="*/ 66 w 1112"/>
              <a:gd name="T63" fmla="*/ 591 h 1012"/>
              <a:gd name="T64" fmla="*/ 64 w 1112"/>
              <a:gd name="T65" fmla="*/ 701 h 1012"/>
              <a:gd name="T66" fmla="*/ 88 w 1112"/>
              <a:gd name="T67" fmla="*/ 679 h 1012"/>
              <a:gd name="T68" fmla="*/ 125 w 1112"/>
              <a:gd name="T69" fmla="*/ 718 h 1012"/>
              <a:gd name="T70" fmla="*/ 190 w 1112"/>
              <a:gd name="T71" fmla="*/ 738 h 1012"/>
              <a:gd name="T72" fmla="*/ 220 w 1112"/>
              <a:gd name="T73" fmla="*/ 747 h 1012"/>
              <a:gd name="T74" fmla="*/ 233 w 1112"/>
              <a:gd name="T75" fmla="*/ 795 h 1012"/>
              <a:gd name="T76" fmla="*/ 307 w 1112"/>
              <a:gd name="T77" fmla="*/ 815 h 1012"/>
              <a:gd name="T78" fmla="*/ 354 w 1112"/>
              <a:gd name="T79" fmla="*/ 815 h 1012"/>
              <a:gd name="T80" fmla="*/ 388 w 1112"/>
              <a:gd name="T81" fmla="*/ 839 h 1012"/>
              <a:gd name="T82" fmla="*/ 428 w 1112"/>
              <a:gd name="T83" fmla="*/ 862 h 1012"/>
              <a:gd name="T84" fmla="*/ 460 w 1112"/>
              <a:gd name="T85" fmla="*/ 874 h 1012"/>
              <a:gd name="T86" fmla="*/ 515 w 1112"/>
              <a:gd name="T87" fmla="*/ 923 h 1012"/>
              <a:gd name="T88" fmla="*/ 537 w 1112"/>
              <a:gd name="T89" fmla="*/ 962 h 1012"/>
              <a:gd name="T90" fmla="*/ 570 w 1112"/>
              <a:gd name="T91" fmla="*/ 942 h 1012"/>
              <a:gd name="T92" fmla="*/ 607 w 1112"/>
              <a:gd name="T93" fmla="*/ 952 h 1012"/>
              <a:gd name="T94" fmla="*/ 631 w 1112"/>
              <a:gd name="T95" fmla="*/ 991 h 1012"/>
              <a:gd name="T96" fmla="*/ 664 w 1112"/>
              <a:gd name="T97" fmla="*/ 1000 h 1012"/>
              <a:gd name="T98" fmla="*/ 692 w 1112"/>
              <a:gd name="T99" fmla="*/ 964 h 1012"/>
              <a:gd name="T100" fmla="*/ 729 w 1112"/>
              <a:gd name="T101" fmla="*/ 961 h 1012"/>
              <a:gd name="T102" fmla="*/ 778 w 1112"/>
              <a:gd name="T103" fmla="*/ 958 h 1012"/>
              <a:gd name="T104" fmla="*/ 824 w 1112"/>
              <a:gd name="T105" fmla="*/ 953 h 1012"/>
              <a:gd name="T106" fmla="*/ 861 w 1112"/>
              <a:gd name="T107" fmla="*/ 955 h 1012"/>
              <a:gd name="T108" fmla="*/ 929 w 1112"/>
              <a:gd name="T109" fmla="*/ 995 h 1012"/>
              <a:gd name="T110" fmla="*/ 973 w 1112"/>
              <a:gd name="T111" fmla="*/ 1008 h 1012"/>
              <a:gd name="T112" fmla="*/ 993 w 1112"/>
              <a:gd name="T113" fmla="*/ 999 h 1012"/>
              <a:gd name="T114" fmla="*/ 963 w 1112"/>
              <a:gd name="T115" fmla="*/ 914 h 1012"/>
              <a:gd name="T116" fmla="*/ 1014 w 1112"/>
              <a:gd name="T117" fmla="*/ 831 h 1012"/>
              <a:gd name="T118" fmla="*/ 1085 w 1112"/>
              <a:gd name="T119" fmla="*/ 752 h 1012"/>
              <a:gd name="T120" fmla="*/ 1111 w 1112"/>
              <a:gd name="T121" fmla="*/ 726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12" h="1012">
                <a:moveTo>
                  <a:pt x="1111" y="726"/>
                </a:moveTo>
                <a:lnTo>
                  <a:pt x="1111" y="726"/>
                </a:lnTo>
                <a:cubicBezTo>
                  <a:pt x="1112" y="715"/>
                  <a:pt x="1109" y="706"/>
                  <a:pt x="1101" y="697"/>
                </a:cubicBezTo>
                <a:cubicBezTo>
                  <a:pt x="1097" y="694"/>
                  <a:pt x="1094" y="691"/>
                  <a:pt x="1092" y="689"/>
                </a:cubicBezTo>
                <a:cubicBezTo>
                  <a:pt x="1090" y="686"/>
                  <a:pt x="1088" y="684"/>
                  <a:pt x="1089" y="682"/>
                </a:cubicBezTo>
                <a:cubicBezTo>
                  <a:pt x="1089" y="681"/>
                  <a:pt x="1089" y="680"/>
                  <a:pt x="1090" y="679"/>
                </a:cubicBezTo>
                <a:cubicBezTo>
                  <a:pt x="1091" y="679"/>
                  <a:pt x="1092" y="677"/>
                  <a:pt x="1092" y="676"/>
                </a:cubicBezTo>
                <a:cubicBezTo>
                  <a:pt x="1097" y="678"/>
                  <a:pt x="1102" y="676"/>
                  <a:pt x="1108" y="672"/>
                </a:cubicBezTo>
                <a:cubicBezTo>
                  <a:pt x="1097" y="664"/>
                  <a:pt x="1090" y="658"/>
                  <a:pt x="1085" y="652"/>
                </a:cubicBezTo>
                <a:cubicBezTo>
                  <a:pt x="1076" y="643"/>
                  <a:pt x="1072" y="633"/>
                  <a:pt x="1073" y="623"/>
                </a:cubicBezTo>
                <a:cubicBezTo>
                  <a:pt x="1068" y="619"/>
                  <a:pt x="1063" y="615"/>
                  <a:pt x="1058" y="611"/>
                </a:cubicBezTo>
                <a:cubicBezTo>
                  <a:pt x="1049" y="603"/>
                  <a:pt x="1044" y="597"/>
                  <a:pt x="1044" y="594"/>
                </a:cubicBezTo>
                <a:cubicBezTo>
                  <a:pt x="1045" y="594"/>
                  <a:pt x="1045" y="593"/>
                  <a:pt x="1046" y="592"/>
                </a:cubicBezTo>
                <a:cubicBezTo>
                  <a:pt x="1047" y="591"/>
                  <a:pt x="1048" y="590"/>
                  <a:pt x="1048" y="589"/>
                </a:cubicBezTo>
                <a:cubicBezTo>
                  <a:pt x="1049" y="582"/>
                  <a:pt x="1049" y="577"/>
                  <a:pt x="1046" y="575"/>
                </a:cubicBezTo>
                <a:cubicBezTo>
                  <a:pt x="1044" y="573"/>
                  <a:pt x="1043" y="571"/>
                  <a:pt x="1042" y="570"/>
                </a:cubicBezTo>
                <a:cubicBezTo>
                  <a:pt x="1040" y="569"/>
                  <a:pt x="1039" y="567"/>
                  <a:pt x="1039" y="565"/>
                </a:cubicBezTo>
                <a:cubicBezTo>
                  <a:pt x="1039" y="565"/>
                  <a:pt x="1039" y="564"/>
                  <a:pt x="1039" y="564"/>
                </a:cubicBezTo>
                <a:cubicBezTo>
                  <a:pt x="1038" y="560"/>
                  <a:pt x="1035" y="557"/>
                  <a:pt x="1031" y="553"/>
                </a:cubicBezTo>
                <a:cubicBezTo>
                  <a:pt x="1027" y="550"/>
                  <a:pt x="1026" y="546"/>
                  <a:pt x="1026" y="542"/>
                </a:cubicBezTo>
                <a:cubicBezTo>
                  <a:pt x="1028" y="536"/>
                  <a:pt x="1030" y="533"/>
                  <a:pt x="1030" y="530"/>
                </a:cubicBezTo>
                <a:cubicBezTo>
                  <a:pt x="1028" y="525"/>
                  <a:pt x="1027" y="522"/>
                  <a:pt x="1028" y="522"/>
                </a:cubicBezTo>
                <a:cubicBezTo>
                  <a:pt x="1028" y="515"/>
                  <a:pt x="1031" y="510"/>
                  <a:pt x="1036" y="507"/>
                </a:cubicBezTo>
                <a:lnTo>
                  <a:pt x="1033" y="499"/>
                </a:lnTo>
                <a:lnTo>
                  <a:pt x="1033" y="496"/>
                </a:lnTo>
                <a:cubicBezTo>
                  <a:pt x="1033" y="492"/>
                  <a:pt x="1032" y="489"/>
                  <a:pt x="1033" y="488"/>
                </a:cubicBezTo>
                <a:cubicBezTo>
                  <a:pt x="1033" y="486"/>
                  <a:pt x="1034" y="484"/>
                  <a:pt x="1036" y="482"/>
                </a:cubicBezTo>
                <a:cubicBezTo>
                  <a:pt x="1037" y="480"/>
                  <a:pt x="1039" y="478"/>
                  <a:pt x="1039" y="477"/>
                </a:cubicBezTo>
                <a:cubicBezTo>
                  <a:pt x="1039" y="474"/>
                  <a:pt x="1035" y="468"/>
                  <a:pt x="1027" y="460"/>
                </a:cubicBezTo>
                <a:cubicBezTo>
                  <a:pt x="1019" y="453"/>
                  <a:pt x="1015" y="449"/>
                  <a:pt x="1014" y="449"/>
                </a:cubicBezTo>
                <a:cubicBezTo>
                  <a:pt x="1011" y="445"/>
                  <a:pt x="1004" y="442"/>
                  <a:pt x="994" y="440"/>
                </a:cubicBezTo>
                <a:cubicBezTo>
                  <a:pt x="990" y="439"/>
                  <a:pt x="988" y="437"/>
                  <a:pt x="985" y="435"/>
                </a:cubicBezTo>
                <a:cubicBezTo>
                  <a:pt x="982" y="431"/>
                  <a:pt x="979" y="429"/>
                  <a:pt x="977" y="428"/>
                </a:cubicBezTo>
                <a:cubicBezTo>
                  <a:pt x="982" y="414"/>
                  <a:pt x="986" y="404"/>
                  <a:pt x="989" y="399"/>
                </a:cubicBezTo>
                <a:cubicBezTo>
                  <a:pt x="995" y="388"/>
                  <a:pt x="1001" y="380"/>
                  <a:pt x="1010" y="375"/>
                </a:cubicBezTo>
                <a:cubicBezTo>
                  <a:pt x="1012" y="374"/>
                  <a:pt x="1017" y="372"/>
                  <a:pt x="1025" y="369"/>
                </a:cubicBezTo>
                <a:cubicBezTo>
                  <a:pt x="1032" y="367"/>
                  <a:pt x="1036" y="365"/>
                  <a:pt x="1038" y="362"/>
                </a:cubicBezTo>
                <a:cubicBezTo>
                  <a:pt x="1040" y="359"/>
                  <a:pt x="1044" y="355"/>
                  <a:pt x="1050" y="350"/>
                </a:cubicBezTo>
                <a:cubicBezTo>
                  <a:pt x="1054" y="348"/>
                  <a:pt x="1056" y="344"/>
                  <a:pt x="1056" y="339"/>
                </a:cubicBezTo>
                <a:cubicBezTo>
                  <a:pt x="1056" y="336"/>
                  <a:pt x="1056" y="331"/>
                  <a:pt x="1054" y="323"/>
                </a:cubicBezTo>
                <a:cubicBezTo>
                  <a:pt x="1052" y="315"/>
                  <a:pt x="1051" y="308"/>
                  <a:pt x="1051" y="305"/>
                </a:cubicBezTo>
                <a:cubicBezTo>
                  <a:pt x="1051" y="300"/>
                  <a:pt x="1049" y="294"/>
                  <a:pt x="1045" y="287"/>
                </a:cubicBezTo>
                <a:cubicBezTo>
                  <a:pt x="1042" y="280"/>
                  <a:pt x="1041" y="276"/>
                  <a:pt x="1041" y="275"/>
                </a:cubicBezTo>
                <a:cubicBezTo>
                  <a:pt x="1043" y="271"/>
                  <a:pt x="1045" y="268"/>
                  <a:pt x="1045" y="267"/>
                </a:cubicBezTo>
                <a:cubicBezTo>
                  <a:pt x="1045" y="263"/>
                  <a:pt x="1042" y="258"/>
                  <a:pt x="1036" y="250"/>
                </a:cubicBezTo>
                <a:cubicBezTo>
                  <a:pt x="1030" y="242"/>
                  <a:pt x="1027" y="238"/>
                  <a:pt x="1026" y="236"/>
                </a:cubicBezTo>
                <a:cubicBezTo>
                  <a:pt x="1021" y="227"/>
                  <a:pt x="1015" y="217"/>
                  <a:pt x="1008" y="204"/>
                </a:cubicBezTo>
                <a:cubicBezTo>
                  <a:pt x="1007" y="203"/>
                  <a:pt x="1007" y="200"/>
                  <a:pt x="1007" y="194"/>
                </a:cubicBezTo>
                <a:cubicBezTo>
                  <a:pt x="1008" y="189"/>
                  <a:pt x="1007" y="185"/>
                  <a:pt x="1006" y="183"/>
                </a:cubicBezTo>
                <a:cubicBezTo>
                  <a:pt x="1005" y="181"/>
                  <a:pt x="1004" y="178"/>
                  <a:pt x="1003" y="174"/>
                </a:cubicBezTo>
                <a:cubicBezTo>
                  <a:pt x="1002" y="169"/>
                  <a:pt x="1001" y="166"/>
                  <a:pt x="1000" y="165"/>
                </a:cubicBezTo>
                <a:cubicBezTo>
                  <a:pt x="998" y="163"/>
                  <a:pt x="998" y="160"/>
                  <a:pt x="997" y="155"/>
                </a:cubicBezTo>
                <a:cubicBezTo>
                  <a:pt x="996" y="148"/>
                  <a:pt x="996" y="145"/>
                  <a:pt x="996" y="144"/>
                </a:cubicBezTo>
                <a:cubicBezTo>
                  <a:pt x="996" y="144"/>
                  <a:pt x="996" y="144"/>
                  <a:pt x="996" y="144"/>
                </a:cubicBezTo>
                <a:cubicBezTo>
                  <a:pt x="994" y="141"/>
                  <a:pt x="993" y="137"/>
                  <a:pt x="992" y="134"/>
                </a:cubicBezTo>
                <a:cubicBezTo>
                  <a:pt x="991" y="133"/>
                  <a:pt x="991" y="131"/>
                  <a:pt x="990" y="130"/>
                </a:cubicBezTo>
                <a:cubicBezTo>
                  <a:pt x="989" y="126"/>
                  <a:pt x="988" y="123"/>
                  <a:pt x="987" y="121"/>
                </a:cubicBezTo>
                <a:cubicBezTo>
                  <a:pt x="986" y="119"/>
                  <a:pt x="986" y="117"/>
                  <a:pt x="986" y="117"/>
                </a:cubicBezTo>
                <a:cubicBezTo>
                  <a:pt x="985" y="110"/>
                  <a:pt x="985" y="105"/>
                  <a:pt x="985" y="102"/>
                </a:cubicBezTo>
                <a:cubicBezTo>
                  <a:pt x="983" y="91"/>
                  <a:pt x="977" y="84"/>
                  <a:pt x="968" y="81"/>
                </a:cubicBezTo>
                <a:cubicBezTo>
                  <a:pt x="956" y="76"/>
                  <a:pt x="946" y="72"/>
                  <a:pt x="941" y="70"/>
                </a:cubicBezTo>
                <a:cubicBezTo>
                  <a:pt x="938" y="69"/>
                  <a:pt x="935" y="66"/>
                  <a:pt x="930" y="61"/>
                </a:cubicBezTo>
                <a:cubicBezTo>
                  <a:pt x="926" y="56"/>
                  <a:pt x="922" y="54"/>
                  <a:pt x="918" y="53"/>
                </a:cubicBezTo>
                <a:cubicBezTo>
                  <a:pt x="915" y="53"/>
                  <a:pt x="913" y="55"/>
                  <a:pt x="911" y="57"/>
                </a:cubicBezTo>
                <a:cubicBezTo>
                  <a:pt x="910" y="59"/>
                  <a:pt x="908" y="60"/>
                  <a:pt x="907" y="61"/>
                </a:cubicBezTo>
                <a:cubicBezTo>
                  <a:pt x="905" y="61"/>
                  <a:pt x="904" y="62"/>
                  <a:pt x="902" y="62"/>
                </a:cubicBezTo>
                <a:cubicBezTo>
                  <a:pt x="894" y="63"/>
                  <a:pt x="887" y="64"/>
                  <a:pt x="882" y="64"/>
                </a:cubicBezTo>
                <a:cubicBezTo>
                  <a:pt x="879" y="64"/>
                  <a:pt x="872" y="65"/>
                  <a:pt x="862" y="68"/>
                </a:cubicBezTo>
                <a:cubicBezTo>
                  <a:pt x="852" y="71"/>
                  <a:pt x="845" y="73"/>
                  <a:pt x="842" y="73"/>
                </a:cubicBezTo>
                <a:cubicBezTo>
                  <a:pt x="806" y="77"/>
                  <a:pt x="778" y="78"/>
                  <a:pt x="758" y="76"/>
                </a:cubicBezTo>
                <a:lnTo>
                  <a:pt x="754" y="76"/>
                </a:lnTo>
                <a:cubicBezTo>
                  <a:pt x="743" y="76"/>
                  <a:pt x="724" y="76"/>
                  <a:pt x="697" y="75"/>
                </a:cubicBezTo>
                <a:cubicBezTo>
                  <a:pt x="666" y="74"/>
                  <a:pt x="643" y="73"/>
                  <a:pt x="630" y="71"/>
                </a:cubicBezTo>
                <a:cubicBezTo>
                  <a:pt x="615" y="70"/>
                  <a:pt x="608" y="69"/>
                  <a:pt x="607" y="68"/>
                </a:cubicBezTo>
                <a:cubicBezTo>
                  <a:pt x="604" y="68"/>
                  <a:pt x="602" y="67"/>
                  <a:pt x="600" y="66"/>
                </a:cubicBezTo>
                <a:cubicBezTo>
                  <a:pt x="599" y="67"/>
                  <a:pt x="599" y="67"/>
                  <a:pt x="598" y="67"/>
                </a:cubicBezTo>
                <a:cubicBezTo>
                  <a:pt x="597" y="68"/>
                  <a:pt x="597" y="68"/>
                  <a:pt x="596" y="69"/>
                </a:cubicBezTo>
                <a:lnTo>
                  <a:pt x="597" y="68"/>
                </a:lnTo>
                <a:cubicBezTo>
                  <a:pt x="597" y="68"/>
                  <a:pt x="598" y="68"/>
                  <a:pt x="598" y="67"/>
                </a:cubicBezTo>
                <a:lnTo>
                  <a:pt x="598" y="67"/>
                </a:lnTo>
                <a:cubicBezTo>
                  <a:pt x="593" y="70"/>
                  <a:pt x="584" y="76"/>
                  <a:pt x="572" y="85"/>
                </a:cubicBezTo>
                <a:cubicBezTo>
                  <a:pt x="560" y="93"/>
                  <a:pt x="554" y="98"/>
                  <a:pt x="554" y="98"/>
                </a:cubicBezTo>
                <a:cubicBezTo>
                  <a:pt x="545" y="97"/>
                  <a:pt x="541" y="94"/>
                  <a:pt x="540" y="90"/>
                </a:cubicBezTo>
                <a:cubicBezTo>
                  <a:pt x="558" y="83"/>
                  <a:pt x="573" y="74"/>
                  <a:pt x="585" y="62"/>
                </a:cubicBezTo>
                <a:cubicBezTo>
                  <a:pt x="583" y="61"/>
                  <a:pt x="582" y="61"/>
                  <a:pt x="580" y="60"/>
                </a:cubicBezTo>
                <a:cubicBezTo>
                  <a:pt x="579" y="62"/>
                  <a:pt x="578" y="63"/>
                  <a:pt x="577" y="64"/>
                </a:cubicBezTo>
                <a:cubicBezTo>
                  <a:pt x="571" y="70"/>
                  <a:pt x="561" y="75"/>
                  <a:pt x="549" y="80"/>
                </a:cubicBezTo>
                <a:cubicBezTo>
                  <a:pt x="535" y="85"/>
                  <a:pt x="522" y="87"/>
                  <a:pt x="511" y="86"/>
                </a:cubicBezTo>
                <a:cubicBezTo>
                  <a:pt x="503" y="85"/>
                  <a:pt x="496" y="83"/>
                  <a:pt x="488" y="79"/>
                </a:cubicBezTo>
                <a:cubicBezTo>
                  <a:pt x="478" y="74"/>
                  <a:pt x="473" y="69"/>
                  <a:pt x="472" y="63"/>
                </a:cubicBezTo>
                <a:cubicBezTo>
                  <a:pt x="468" y="38"/>
                  <a:pt x="461" y="24"/>
                  <a:pt x="451" y="21"/>
                </a:cubicBezTo>
                <a:lnTo>
                  <a:pt x="452" y="12"/>
                </a:lnTo>
                <a:cubicBezTo>
                  <a:pt x="453" y="12"/>
                  <a:pt x="454" y="12"/>
                  <a:pt x="455" y="12"/>
                </a:cubicBezTo>
                <a:cubicBezTo>
                  <a:pt x="456" y="12"/>
                  <a:pt x="457" y="12"/>
                  <a:pt x="459" y="13"/>
                </a:cubicBezTo>
                <a:cubicBezTo>
                  <a:pt x="460" y="13"/>
                  <a:pt x="460" y="14"/>
                  <a:pt x="461" y="14"/>
                </a:cubicBezTo>
                <a:cubicBezTo>
                  <a:pt x="462" y="15"/>
                  <a:pt x="463" y="15"/>
                  <a:pt x="464" y="16"/>
                </a:cubicBezTo>
                <a:cubicBezTo>
                  <a:pt x="468" y="18"/>
                  <a:pt x="473" y="21"/>
                  <a:pt x="477" y="22"/>
                </a:cubicBezTo>
                <a:cubicBezTo>
                  <a:pt x="482" y="24"/>
                  <a:pt x="485" y="26"/>
                  <a:pt x="486" y="26"/>
                </a:cubicBezTo>
                <a:cubicBezTo>
                  <a:pt x="489" y="29"/>
                  <a:pt x="491" y="32"/>
                  <a:pt x="490" y="35"/>
                </a:cubicBezTo>
                <a:cubicBezTo>
                  <a:pt x="492" y="35"/>
                  <a:pt x="493" y="35"/>
                  <a:pt x="493" y="35"/>
                </a:cubicBezTo>
                <a:lnTo>
                  <a:pt x="494" y="31"/>
                </a:lnTo>
                <a:cubicBezTo>
                  <a:pt x="493" y="29"/>
                  <a:pt x="490" y="27"/>
                  <a:pt x="487" y="25"/>
                </a:cubicBezTo>
                <a:cubicBezTo>
                  <a:pt x="485" y="23"/>
                  <a:pt x="482" y="22"/>
                  <a:pt x="479" y="20"/>
                </a:cubicBezTo>
                <a:cubicBezTo>
                  <a:pt x="472" y="17"/>
                  <a:pt x="467" y="15"/>
                  <a:pt x="464" y="14"/>
                </a:cubicBezTo>
                <a:cubicBezTo>
                  <a:pt x="464" y="13"/>
                  <a:pt x="463" y="13"/>
                  <a:pt x="462" y="13"/>
                </a:cubicBezTo>
                <a:cubicBezTo>
                  <a:pt x="461" y="12"/>
                  <a:pt x="461" y="12"/>
                  <a:pt x="461" y="12"/>
                </a:cubicBezTo>
                <a:cubicBezTo>
                  <a:pt x="460" y="12"/>
                  <a:pt x="460" y="11"/>
                  <a:pt x="460" y="11"/>
                </a:cubicBezTo>
                <a:cubicBezTo>
                  <a:pt x="456" y="9"/>
                  <a:pt x="449" y="7"/>
                  <a:pt x="439" y="4"/>
                </a:cubicBezTo>
                <a:cubicBezTo>
                  <a:pt x="430" y="2"/>
                  <a:pt x="423" y="1"/>
                  <a:pt x="419" y="1"/>
                </a:cubicBezTo>
                <a:cubicBezTo>
                  <a:pt x="416" y="0"/>
                  <a:pt x="406" y="2"/>
                  <a:pt x="389" y="7"/>
                </a:cubicBezTo>
                <a:cubicBezTo>
                  <a:pt x="372" y="11"/>
                  <a:pt x="363" y="13"/>
                  <a:pt x="361" y="14"/>
                </a:cubicBezTo>
                <a:cubicBezTo>
                  <a:pt x="355" y="14"/>
                  <a:pt x="351" y="15"/>
                  <a:pt x="347" y="15"/>
                </a:cubicBezTo>
                <a:cubicBezTo>
                  <a:pt x="341" y="16"/>
                  <a:pt x="336" y="17"/>
                  <a:pt x="334" y="19"/>
                </a:cubicBezTo>
                <a:cubicBezTo>
                  <a:pt x="322" y="27"/>
                  <a:pt x="314" y="32"/>
                  <a:pt x="311" y="35"/>
                </a:cubicBezTo>
                <a:cubicBezTo>
                  <a:pt x="304" y="42"/>
                  <a:pt x="296" y="46"/>
                  <a:pt x="288" y="49"/>
                </a:cubicBezTo>
                <a:cubicBezTo>
                  <a:pt x="287" y="49"/>
                  <a:pt x="282" y="49"/>
                  <a:pt x="273" y="50"/>
                </a:cubicBezTo>
                <a:cubicBezTo>
                  <a:pt x="265" y="51"/>
                  <a:pt x="260" y="53"/>
                  <a:pt x="258" y="55"/>
                </a:cubicBezTo>
                <a:cubicBezTo>
                  <a:pt x="252" y="61"/>
                  <a:pt x="249" y="64"/>
                  <a:pt x="249" y="64"/>
                </a:cubicBezTo>
                <a:cubicBezTo>
                  <a:pt x="245" y="68"/>
                  <a:pt x="242" y="72"/>
                  <a:pt x="241" y="76"/>
                </a:cubicBezTo>
                <a:cubicBezTo>
                  <a:pt x="240" y="81"/>
                  <a:pt x="236" y="85"/>
                  <a:pt x="232" y="89"/>
                </a:cubicBezTo>
                <a:cubicBezTo>
                  <a:pt x="227" y="93"/>
                  <a:pt x="225" y="95"/>
                  <a:pt x="224" y="96"/>
                </a:cubicBezTo>
                <a:cubicBezTo>
                  <a:pt x="224" y="97"/>
                  <a:pt x="225" y="99"/>
                  <a:pt x="226" y="100"/>
                </a:cubicBezTo>
                <a:cubicBezTo>
                  <a:pt x="225" y="100"/>
                  <a:pt x="224" y="101"/>
                  <a:pt x="222" y="101"/>
                </a:cubicBezTo>
                <a:cubicBezTo>
                  <a:pt x="219" y="100"/>
                  <a:pt x="218" y="101"/>
                  <a:pt x="217" y="101"/>
                </a:cubicBezTo>
                <a:lnTo>
                  <a:pt x="217" y="101"/>
                </a:lnTo>
                <a:cubicBezTo>
                  <a:pt x="217" y="102"/>
                  <a:pt x="217" y="102"/>
                  <a:pt x="216" y="102"/>
                </a:cubicBezTo>
                <a:cubicBezTo>
                  <a:pt x="201" y="104"/>
                  <a:pt x="189" y="106"/>
                  <a:pt x="181" y="109"/>
                </a:cubicBezTo>
                <a:cubicBezTo>
                  <a:pt x="162" y="116"/>
                  <a:pt x="151" y="120"/>
                  <a:pt x="147" y="119"/>
                </a:cubicBezTo>
                <a:cubicBezTo>
                  <a:pt x="104" y="133"/>
                  <a:pt x="33" y="157"/>
                  <a:pt x="22" y="156"/>
                </a:cubicBezTo>
                <a:cubicBezTo>
                  <a:pt x="19" y="156"/>
                  <a:pt x="16" y="155"/>
                  <a:pt x="14" y="155"/>
                </a:cubicBezTo>
                <a:lnTo>
                  <a:pt x="13" y="161"/>
                </a:lnTo>
                <a:cubicBezTo>
                  <a:pt x="13" y="163"/>
                  <a:pt x="14" y="166"/>
                  <a:pt x="15" y="169"/>
                </a:cubicBezTo>
                <a:cubicBezTo>
                  <a:pt x="16" y="170"/>
                  <a:pt x="18" y="171"/>
                  <a:pt x="19" y="172"/>
                </a:cubicBezTo>
                <a:cubicBezTo>
                  <a:pt x="24" y="177"/>
                  <a:pt x="27" y="179"/>
                  <a:pt x="28" y="179"/>
                </a:cubicBezTo>
                <a:cubicBezTo>
                  <a:pt x="29" y="179"/>
                  <a:pt x="31" y="177"/>
                  <a:pt x="34" y="173"/>
                </a:cubicBezTo>
                <a:cubicBezTo>
                  <a:pt x="38" y="169"/>
                  <a:pt x="40" y="168"/>
                  <a:pt x="42" y="168"/>
                </a:cubicBezTo>
                <a:cubicBezTo>
                  <a:pt x="44" y="168"/>
                  <a:pt x="46" y="169"/>
                  <a:pt x="48" y="172"/>
                </a:cubicBezTo>
                <a:cubicBezTo>
                  <a:pt x="49" y="173"/>
                  <a:pt x="51" y="175"/>
                  <a:pt x="52" y="177"/>
                </a:cubicBezTo>
                <a:cubicBezTo>
                  <a:pt x="54" y="177"/>
                  <a:pt x="55" y="176"/>
                  <a:pt x="54" y="174"/>
                </a:cubicBezTo>
                <a:cubicBezTo>
                  <a:pt x="55" y="174"/>
                  <a:pt x="56" y="174"/>
                  <a:pt x="56" y="175"/>
                </a:cubicBezTo>
                <a:cubicBezTo>
                  <a:pt x="57" y="175"/>
                  <a:pt x="57" y="176"/>
                  <a:pt x="57" y="176"/>
                </a:cubicBezTo>
                <a:cubicBezTo>
                  <a:pt x="57" y="180"/>
                  <a:pt x="56" y="183"/>
                  <a:pt x="54" y="186"/>
                </a:cubicBezTo>
                <a:cubicBezTo>
                  <a:pt x="51" y="189"/>
                  <a:pt x="50" y="192"/>
                  <a:pt x="50" y="193"/>
                </a:cubicBezTo>
                <a:cubicBezTo>
                  <a:pt x="50" y="195"/>
                  <a:pt x="50" y="199"/>
                  <a:pt x="53" y="203"/>
                </a:cubicBezTo>
                <a:cubicBezTo>
                  <a:pt x="54" y="207"/>
                  <a:pt x="55" y="211"/>
                  <a:pt x="55" y="215"/>
                </a:cubicBezTo>
                <a:cubicBezTo>
                  <a:pt x="55" y="215"/>
                  <a:pt x="55" y="216"/>
                  <a:pt x="55" y="216"/>
                </a:cubicBezTo>
                <a:lnTo>
                  <a:pt x="55" y="216"/>
                </a:lnTo>
                <a:cubicBezTo>
                  <a:pt x="55" y="216"/>
                  <a:pt x="55" y="215"/>
                  <a:pt x="55" y="215"/>
                </a:cubicBezTo>
                <a:cubicBezTo>
                  <a:pt x="52" y="212"/>
                  <a:pt x="47" y="208"/>
                  <a:pt x="40" y="202"/>
                </a:cubicBezTo>
                <a:cubicBezTo>
                  <a:pt x="31" y="195"/>
                  <a:pt x="25" y="192"/>
                  <a:pt x="23" y="191"/>
                </a:cubicBezTo>
                <a:cubicBezTo>
                  <a:pt x="22" y="191"/>
                  <a:pt x="20" y="191"/>
                  <a:pt x="19" y="191"/>
                </a:cubicBezTo>
                <a:cubicBezTo>
                  <a:pt x="19" y="192"/>
                  <a:pt x="19" y="193"/>
                  <a:pt x="18" y="194"/>
                </a:cubicBezTo>
                <a:cubicBezTo>
                  <a:pt x="18" y="197"/>
                  <a:pt x="18" y="202"/>
                  <a:pt x="19" y="209"/>
                </a:cubicBezTo>
                <a:cubicBezTo>
                  <a:pt x="21" y="216"/>
                  <a:pt x="22" y="220"/>
                  <a:pt x="23" y="224"/>
                </a:cubicBezTo>
                <a:cubicBezTo>
                  <a:pt x="24" y="226"/>
                  <a:pt x="25" y="232"/>
                  <a:pt x="25" y="240"/>
                </a:cubicBezTo>
                <a:cubicBezTo>
                  <a:pt x="25" y="246"/>
                  <a:pt x="26" y="250"/>
                  <a:pt x="28" y="252"/>
                </a:cubicBezTo>
                <a:cubicBezTo>
                  <a:pt x="28" y="253"/>
                  <a:pt x="29" y="255"/>
                  <a:pt x="29" y="257"/>
                </a:cubicBezTo>
                <a:cubicBezTo>
                  <a:pt x="28" y="260"/>
                  <a:pt x="29" y="263"/>
                  <a:pt x="31" y="266"/>
                </a:cubicBezTo>
                <a:cubicBezTo>
                  <a:pt x="33" y="268"/>
                  <a:pt x="34" y="270"/>
                  <a:pt x="34" y="272"/>
                </a:cubicBezTo>
                <a:cubicBezTo>
                  <a:pt x="33" y="274"/>
                  <a:pt x="32" y="276"/>
                  <a:pt x="30" y="279"/>
                </a:cubicBezTo>
                <a:cubicBezTo>
                  <a:pt x="28" y="282"/>
                  <a:pt x="27" y="285"/>
                  <a:pt x="26" y="286"/>
                </a:cubicBezTo>
                <a:cubicBezTo>
                  <a:pt x="26" y="287"/>
                  <a:pt x="27" y="290"/>
                  <a:pt x="28" y="293"/>
                </a:cubicBezTo>
                <a:cubicBezTo>
                  <a:pt x="29" y="296"/>
                  <a:pt x="29" y="298"/>
                  <a:pt x="29" y="300"/>
                </a:cubicBezTo>
                <a:cubicBezTo>
                  <a:pt x="28" y="306"/>
                  <a:pt x="24" y="313"/>
                  <a:pt x="15" y="319"/>
                </a:cubicBezTo>
                <a:cubicBezTo>
                  <a:pt x="6" y="325"/>
                  <a:pt x="2" y="331"/>
                  <a:pt x="1" y="335"/>
                </a:cubicBezTo>
                <a:cubicBezTo>
                  <a:pt x="0" y="344"/>
                  <a:pt x="2" y="351"/>
                  <a:pt x="7" y="355"/>
                </a:cubicBezTo>
                <a:cubicBezTo>
                  <a:pt x="8" y="356"/>
                  <a:pt x="11" y="358"/>
                  <a:pt x="15" y="360"/>
                </a:cubicBezTo>
                <a:cubicBezTo>
                  <a:pt x="19" y="363"/>
                  <a:pt x="22" y="366"/>
                  <a:pt x="25" y="370"/>
                </a:cubicBezTo>
                <a:cubicBezTo>
                  <a:pt x="28" y="373"/>
                  <a:pt x="33" y="379"/>
                  <a:pt x="40" y="385"/>
                </a:cubicBezTo>
                <a:cubicBezTo>
                  <a:pt x="44" y="390"/>
                  <a:pt x="48" y="393"/>
                  <a:pt x="50" y="394"/>
                </a:cubicBezTo>
                <a:cubicBezTo>
                  <a:pt x="50" y="395"/>
                  <a:pt x="50" y="398"/>
                  <a:pt x="50" y="405"/>
                </a:cubicBezTo>
                <a:cubicBezTo>
                  <a:pt x="49" y="412"/>
                  <a:pt x="47" y="417"/>
                  <a:pt x="44" y="420"/>
                </a:cubicBezTo>
                <a:cubicBezTo>
                  <a:pt x="40" y="425"/>
                  <a:pt x="39" y="427"/>
                  <a:pt x="38" y="429"/>
                </a:cubicBezTo>
                <a:cubicBezTo>
                  <a:pt x="38" y="433"/>
                  <a:pt x="41" y="439"/>
                  <a:pt x="46" y="448"/>
                </a:cubicBezTo>
                <a:cubicBezTo>
                  <a:pt x="48" y="452"/>
                  <a:pt x="51" y="455"/>
                  <a:pt x="55" y="455"/>
                </a:cubicBezTo>
                <a:cubicBezTo>
                  <a:pt x="57" y="456"/>
                  <a:pt x="58" y="458"/>
                  <a:pt x="57" y="463"/>
                </a:cubicBezTo>
                <a:cubicBezTo>
                  <a:pt x="57" y="464"/>
                  <a:pt x="56" y="468"/>
                  <a:pt x="55" y="472"/>
                </a:cubicBezTo>
                <a:cubicBezTo>
                  <a:pt x="55" y="476"/>
                  <a:pt x="55" y="479"/>
                  <a:pt x="57" y="483"/>
                </a:cubicBezTo>
                <a:cubicBezTo>
                  <a:pt x="58" y="486"/>
                  <a:pt x="59" y="487"/>
                  <a:pt x="61" y="488"/>
                </a:cubicBezTo>
                <a:cubicBezTo>
                  <a:pt x="60" y="489"/>
                  <a:pt x="60" y="489"/>
                  <a:pt x="60" y="490"/>
                </a:cubicBezTo>
                <a:cubicBezTo>
                  <a:pt x="59" y="493"/>
                  <a:pt x="59" y="495"/>
                  <a:pt x="57" y="496"/>
                </a:cubicBezTo>
                <a:cubicBezTo>
                  <a:pt x="54" y="498"/>
                  <a:pt x="53" y="502"/>
                  <a:pt x="52" y="508"/>
                </a:cubicBezTo>
                <a:cubicBezTo>
                  <a:pt x="52" y="509"/>
                  <a:pt x="53" y="512"/>
                  <a:pt x="54" y="519"/>
                </a:cubicBezTo>
                <a:cubicBezTo>
                  <a:pt x="54" y="524"/>
                  <a:pt x="52" y="527"/>
                  <a:pt x="49" y="529"/>
                </a:cubicBezTo>
                <a:cubicBezTo>
                  <a:pt x="45" y="531"/>
                  <a:pt x="43" y="533"/>
                  <a:pt x="43" y="533"/>
                </a:cubicBezTo>
                <a:cubicBezTo>
                  <a:pt x="43" y="533"/>
                  <a:pt x="45" y="535"/>
                  <a:pt x="47" y="539"/>
                </a:cubicBezTo>
                <a:cubicBezTo>
                  <a:pt x="50" y="543"/>
                  <a:pt x="51" y="546"/>
                  <a:pt x="51" y="548"/>
                </a:cubicBezTo>
                <a:cubicBezTo>
                  <a:pt x="51" y="552"/>
                  <a:pt x="52" y="555"/>
                  <a:pt x="56" y="556"/>
                </a:cubicBezTo>
                <a:cubicBezTo>
                  <a:pt x="59" y="557"/>
                  <a:pt x="60" y="560"/>
                  <a:pt x="60" y="564"/>
                </a:cubicBezTo>
                <a:cubicBezTo>
                  <a:pt x="60" y="565"/>
                  <a:pt x="59" y="569"/>
                  <a:pt x="58" y="574"/>
                </a:cubicBezTo>
                <a:cubicBezTo>
                  <a:pt x="57" y="576"/>
                  <a:pt x="58" y="578"/>
                  <a:pt x="58" y="582"/>
                </a:cubicBezTo>
                <a:cubicBezTo>
                  <a:pt x="58" y="586"/>
                  <a:pt x="60" y="589"/>
                  <a:pt x="66" y="591"/>
                </a:cubicBezTo>
                <a:cubicBezTo>
                  <a:pt x="69" y="593"/>
                  <a:pt x="74" y="594"/>
                  <a:pt x="80" y="597"/>
                </a:cubicBezTo>
                <a:cubicBezTo>
                  <a:pt x="81" y="600"/>
                  <a:pt x="81" y="605"/>
                  <a:pt x="81" y="612"/>
                </a:cubicBezTo>
                <a:cubicBezTo>
                  <a:pt x="82" y="616"/>
                  <a:pt x="84" y="621"/>
                  <a:pt x="88" y="627"/>
                </a:cubicBezTo>
                <a:cubicBezTo>
                  <a:pt x="88" y="629"/>
                  <a:pt x="86" y="633"/>
                  <a:pt x="84" y="636"/>
                </a:cubicBezTo>
                <a:cubicBezTo>
                  <a:pt x="84" y="640"/>
                  <a:pt x="84" y="647"/>
                  <a:pt x="85" y="657"/>
                </a:cubicBezTo>
                <a:cubicBezTo>
                  <a:pt x="75" y="678"/>
                  <a:pt x="68" y="693"/>
                  <a:pt x="64" y="701"/>
                </a:cubicBezTo>
                <a:cubicBezTo>
                  <a:pt x="66" y="701"/>
                  <a:pt x="69" y="701"/>
                  <a:pt x="72" y="701"/>
                </a:cubicBezTo>
                <a:cubicBezTo>
                  <a:pt x="76" y="701"/>
                  <a:pt x="80" y="703"/>
                  <a:pt x="84" y="704"/>
                </a:cubicBezTo>
                <a:cubicBezTo>
                  <a:pt x="83" y="699"/>
                  <a:pt x="82" y="695"/>
                  <a:pt x="83" y="694"/>
                </a:cubicBezTo>
                <a:cubicBezTo>
                  <a:pt x="84" y="691"/>
                  <a:pt x="85" y="689"/>
                  <a:pt x="85" y="688"/>
                </a:cubicBezTo>
                <a:cubicBezTo>
                  <a:pt x="85" y="685"/>
                  <a:pt x="85" y="682"/>
                  <a:pt x="84" y="679"/>
                </a:cubicBezTo>
                <a:lnTo>
                  <a:pt x="88" y="679"/>
                </a:lnTo>
                <a:cubicBezTo>
                  <a:pt x="88" y="679"/>
                  <a:pt x="90" y="681"/>
                  <a:pt x="95" y="683"/>
                </a:cubicBezTo>
                <a:cubicBezTo>
                  <a:pt x="97" y="683"/>
                  <a:pt x="100" y="683"/>
                  <a:pt x="103" y="681"/>
                </a:cubicBezTo>
                <a:cubicBezTo>
                  <a:pt x="107" y="682"/>
                  <a:pt x="112" y="685"/>
                  <a:pt x="118" y="691"/>
                </a:cubicBezTo>
                <a:cubicBezTo>
                  <a:pt x="118" y="692"/>
                  <a:pt x="117" y="693"/>
                  <a:pt x="115" y="696"/>
                </a:cubicBezTo>
                <a:cubicBezTo>
                  <a:pt x="115" y="700"/>
                  <a:pt x="116" y="703"/>
                  <a:pt x="119" y="707"/>
                </a:cubicBezTo>
                <a:cubicBezTo>
                  <a:pt x="123" y="711"/>
                  <a:pt x="125" y="715"/>
                  <a:pt x="125" y="718"/>
                </a:cubicBezTo>
                <a:lnTo>
                  <a:pt x="130" y="719"/>
                </a:lnTo>
                <a:cubicBezTo>
                  <a:pt x="131" y="718"/>
                  <a:pt x="133" y="717"/>
                  <a:pt x="135" y="718"/>
                </a:cubicBezTo>
                <a:cubicBezTo>
                  <a:pt x="156" y="725"/>
                  <a:pt x="167" y="729"/>
                  <a:pt x="168" y="729"/>
                </a:cubicBezTo>
                <a:cubicBezTo>
                  <a:pt x="170" y="729"/>
                  <a:pt x="172" y="729"/>
                  <a:pt x="175" y="727"/>
                </a:cubicBezTo>
                <a:cubicBezTo>
                  <a:pt x="175" y="727"/>
                  <a:pt x="177" y="729"/>
                  <a:pt x="179" y="732"/>
                </a:cubicBezTo>
                <a:cubicBezTo>
                  <a:pt x="182" y="735"/>
                  <a:pt x="185" y="737"/>
                  <a:pt x="190" y="738"/>
                </a:cubicBezTo>
                <a:cubicBezTo>
                  <a:pt x="194" y="739"/>
                  <a:pt x="197" y="743"/>
                  <a:pt x="200" y="750"/>
                </a:cubicBezTo>
                <a:cubicBezTo>
                  <a:pt x="201" y="750"/>
                  <a:pt x="202" y="749"/>
                  <a:pt x="203" y="747"/>
                </a:cubicBezTo>
                <a:cubicBezTo>
                  <a:pt x="205" y="745"/>
                  <a:pt x="206" y="744"/>
                  <a:pt x="207" y="745"/>
                </a:cubicBezTo>
                <a:cubicBezTo>
                  <a:pt x="208" y="745"/>
                  <a:pt x="209" y="745"/>
                  <a:pt x="211" y="747"/>
                </a:cubicBezTo>
                <a:cubicBezTo>
                  <a:pt x="213" y="748"/>
                  <a:pt x="215" y="749"/>
                  <a:pt x="216" y="749"/>
                </a:cubicBezTo>
                <a:cubicBezTo>
                  <a:pt x="218" y="749"/>
                  <a:pt x="220" y="748"/>
                  <a:pt x="220" y="747"/>
                </a:cubicBezTo>
                <a:cubicBezTo>
                  <a:pt x="221" y="745"/>
                  <a:pt x="222" y="745"/>
                  <a:pt x="224" y="745"/>
                </a:cubicBezTo>
                <a:cubicBezTo>
                  <a:pt x="229" y="745"/>
                  <a:pt x="234" y="747"/>
                  <a:pt x="238" y="749"/>
                </a:cubicBezTo>
                <a:cubicBezTo>
                  <a:pt x="245" y="753"/>
                  <a:pt x="248" y="756"/>
                  <a:pt x="247" y="761"/>
                </a:cubicBezTo>
                <a:cubicBezTo>
                  <a:pt x="247" y="763"/>
                  <a:pt x="243" y="767"/>
                  <a:pt x="234" y="772"/>
                </a:cubicBezTo>
                <a:cubicBezTo>
                  <a:pt x="226" y="777"/>
                  <a:pt x="221" y="781"/>
                  <a:pt x="221" y="783"/>
                </a:cubicBezTo>
                <a:cubicBezTo>
                  <a:pt x="221" y="784"/>
                  <a:pt x="225" y="787"/>
                  <a:pt x="233" y="795"/>
                </a:cubicBezTo>
                <a:cubicBezTo>
                  <a:pt x="242" y="802"/>
                  <a:pt x="246" y="808"/>
                  <a:pt x="248" y="811"/>
                </a:cubicBezTo>
                <a:cubicBezTo>
                  <a:pt x="248" y="814"/>
                  <a:pt x="251" y="816"/>
                  <a:pt x="254" y="820"/>
                </a:cubicBezTo>
                <a:cubicBezTo>
                  <a:pt x="257" y="822"/>
                  <a:pt x="258" y="825"/>
                  <a:pt x="257" y="829"/>
                </a:cubicBezTo>
                <a:cubicBezTo>
                  <a:pt x="257" y="830"/>
                  <a:pt x="259" y="832"/>
                  <a:pt x="261" y="836"/>
                </a:cubicBezTo>
                <a:cubicBezTo>
                  <a:pt x="265" y="840"/>
                  <a:pt x="267" y="842"/>
                  <a:pt x="270" y="842"/>
                </a:cubicBezTo>
                <a:cubicBezTo>
                  <a:pt x="271" y="842"/>
                  <a:pt x="284" y="833"/>
                  <a:pt x="307" y="815"/>
                </a:cubicBezTo>
                <a:cubicBezTo>
                  <a:pt x="308" y="812"/>
                  <a:pt x="306" y="809"/>
                  <a:pt x="303" y="805"/>
                </a:cubicBezTo>
                <a:cubicBezTo>
                  <a:pt x="299" y="799"/>
                  <a:pt x="296" y="796"/>
                  <a:pt x="296" y="796"/>
                </a:cubicBezTo>
                <a:lnTo>
                  <a:pt x="297" y="786"/>
                </a:lnTo>
                <a:cubicBezTo>
                  <a:pt x="300" y="789"/>
                  <a:pt x="305" y="792"/>
                  <a:pt x="312" y="793"/>
                </a:cubicBezTo>
                <a:cubicBezTo>
                  <a:pt x="315" y="794"/>
                  <a:pt x="320" y="795"/>
                  <a:pt x="327" y="797"/>
                </a:cubicBezTo>
                <a:cubicBezTo>
                  <a:pt x="330" y="798"/>
                  <a:pt x="339" y="804"/>
                  <a:pt x="354" y="815"/>
                </a:cubicBezTo>
                <a:cubicBezTo>
                  <a:pt x="356" y="815"/>
                  <a:pt x="363" y="815"/>
                  <a:pt x="374" y="815"/>
                </a:cubicBezTo>
                <a:cubicBezTo>
                  <a:pt x="376" y="815"/>
                  <a:pt x="382" y="813"/>
                  <a:pt x="391" y="810"/>
                </a:cubicBezTo>
                <a:cubicBezTo>
                  <a:pt x="392" y="813"/>
                  <a:pt x="393" y="819"/>
                  <a:pt x="393" y="827"/>
                </a:cubicBezTo>
                <a:cubicBezTo>
                  <a:pt x="392" y="827"/>
                  <a:pt x="390" y="828"/>
                  <a:pt x="387" y="830"/>
                </a:cubicBezTo>
                <a:cubicBezTo>
                  <a:pt x="384" y="833"/>
                  <a:pt x="383" y="834"/>
                  <a:pt x="383" y="836"/>
                </a:cubicBezTo>
                <a:cubicBezTo>
                  <a:pt x="383" y="836"/>
                  <a:pt x="385" y="838"/>
                  <a:pt x="388" y="839"/>
                </a:cubicBezTo>
                <a:cubicBezTo>
                  <a:pt x="392" y="842"/>
                  <a:pt x="394" y="846"/>
                  <a:pt x="395" y="852"/>
                </a:cubicBezTo>
                <a:cubicBezTo>
                  <a:pt x="395" y="853"/>
                  <a:pt x="397" y="856"/>
                  <a:pt x="401" y="860"/>
                </a:cubicBezTo>
                <a:cubicBezTo>
                  <a:pt x="404" y="864"/>
                  <a:pt x="407" y="866"/>
                  <a:pt x="409" y="867"/>
                </a:cubicBezTo>
                <a:cubicBezTo>
                  <a:pt x="410" y="867"/>
                  <a:pt x="411" y="866"/>
                  <a:pt x="413" y="865"/>
                </a:cubicBezTo>
                <a:cubicBezTo>
                  <a:pt x="415" y="863"/>
                  <a:pt x="418" y="862"/>
                  <a:pt x="420" y="862"/>
                </a:cubicBezTo>
                <a:cubicBezTo>
                  <a:pt x="424" y="862"/>
                  <a:pt x="427" y="862"/>
                  <a:pt x="428" y="862"/>
                </a:cubicBezTo>
                <a:cubicBezTo>
                  <a:pt x="428" y="861"/>
                  <a:pt x="427" y="859"/>
                  <a:pt x="428" y="856"/>
                </a:cubicBezTo>
                <a:cubicBezTo>
                  <a:pt x="428" y="856"/>
                  <a:pt x="428" y="855"/>
                  <a:pt x="429" y="855"/>
                </a:cubicBezTo>
                <a:cubicBezTo>
                  <a:pt x="430" y="854"/>
                  <a:pt x="431" y="854"/>
                  <a:pt x="431" y="854"/>
                </a:cubicBezTo>
                <a:cubicBezTo>
                  <a:pt x="433" y="854"/>
                  <a:pt x="435" y="856"/>
                  <a:pt x="438" y="859"/>
                </a:cubicBezTo>
                <a:cubicBezTo>
                  <a:pt x="441" y="862"/>
                  <a:pt x="444" y="864"/>
                  <a:pt x="446" y="864"/>
                </a:cubicBezTo>
                <a:cubicBezTo>
                  <a:pt x="454" y="866"/>
                  <a:pt x="459" y="869"/>
                  <a:pt x="460" y="874"/>
                </a:cubicBezTo>
                <a:cubicBezTo>
                  <a:pt x="463" y="874"/>
                  <a:pt x="469" y="876"/>
                  <a:pt x="478" y="879"/>
                </a:cubicBezTo>
                <a:cubicBezTo>
                  <a:pt x="488" y="882"/>
                  <a:pt x="493" y="885"/>
                  <a:pt x="493" y="887"/>
                </a:cubicBezTo>
                <a:cubicBezTo>
                  <a:pt x="493" y="888"/>
                  <a:pt x="492" y="891"/>
                  <a:pt x="490" y="895"/>
                </a:cubicBezTo>
                <a:cubicBezTo>
                  <a:pt x="490" y="899"/>
                  <a:pt x="492" y="904"/>
                  <a:pt x="497" y="910"/>
                </a:cubicBezTo>
                <a:cubicBezTo>
                  <a:pt x="502" y="914"/>
                  <a:pt x="506" y="917"/>
                  <a:pt x="509" y="917"/>
                </a:cubicBezTo>
                <a:cubicBezTo>
                  <a:pt x="513" y="918"/>
                  <a:pt x="515" y="920"/>
                  <a:pt x="515" y="923"/>
                </a:cubicBezTo>
                <a:cubicBezTo>
                  <a:pt x="515" y="929"/>
                  <a:pt x="515" y="932"/>
                  <a:pt x="515" y="933"/>
                </a:cubicBezTo>
                <a:cubicBezTo>
                  <a:pt x="515" y="933"/>
                  <a:pt x="517" y="935"/>
                  <a:pt x="519" y="939"/>
                </a:cubicBezTo>
                <a:cubicBezTo>
                  <a:pt x="520" y="941"/>
                  <a:pt x="521" y="942"/>
                  <a:pt x="520" y="945"/>
                </a:cubicBezTo>
                <a:cubicBezTo>
                  <a:pt x="522" y="944"/>
                  <a:pt x="523" y="944"/>
                  <a:pt x="524" y="944"/>
                </a:cubicBezTo>
                <a:cubicBezTo>
                  <a:pt x="533" y="945"/>
                  <a:pt x="537" y="949"/>
                  <a:pt x="537" y="955"/>
                </a:cubicBezTo>
                <a:cubicBezTo>
                  <a:pt x="537" y="957"/>
                  <a:pt x="537" y="959"/>
                  <a:pt x="537" y="962"/>
                </a:cubicBezTo>
                <a:cubicBezTo>
                  <a:pt x="537" y="964"/>
                  <a:pt x="539" y="966"/>
                  <a:pt x="541" y="966"/>
                </a:cubicBezTo>
                <a:cubicBezTo>
                  <a:pt x="542" y="966"/>
                  <a:pt x="544" y="965"/>
                  <a:pt x="546" y="964"/>
                </a:cubicBezTo>
                <a:cubicBezTo>
                  <a:pt x="548" y="962"/>
                  <a:pt x="549" y="962"/>
                  <a:pt x="550" y="962"/>
                </a:cubicBezTo>
                <a:cubicBezTo>
                  <a:pt x="551" y="962"/>
                  <a:pt x="554" y="963"/>
                  <a:pt x="558" y="964"/>
                </a:cubicBezTo>
                <a:cubicBezTo>
                  <a:pt x="558" y="964"/>
                  <a:pt x="560" y="961"/>
                  <a:pt x="563" y="953"/>
                </a:cubicBezTo>
                <a:cubicBezTo>
                  <a:pt x="566" y="946"/>
                  <a:pt x="568" y="942"/>
                  <a:pt x="570" y="942"/>
                </a:cubicBezTo>
                <a:cubicBezTo>
                  <a:pt x="570" y="941"/>
                  <a:pt x="572" y="941"/>
                  <a:pt x="576" y="941"/>
                </a:cubicBezTo>
                <a:cubicBezTo>
                  <a:pt x="580" y="941"/>
                  <a:pt x="582" y="941"/>
                  <a:pt x="583" y="940"/>
                </a:cubicBezTo>
                <a:cubicBezTo>
                  <a:pt x="586" y="936"/>
                  <a:pt x="589" y="933"/>
                  <a:pt x="592" y="930"/>
                </a:cubicBezTo>
                <a:cubicBezTo>
                  <a:pt x="593" y="931"/>
                  <a:pt x="596" y="932"/>
                  <a:pt x="600" y="935"/>
                </a:cubicBezTo>
                <a:cubicBezTo>
                  <a:pt x="602" y="937"/>
                  <a:pt x="604" y="940"/>
                  <a:pt x="603" y="943"/>
                </a:cubicBezTo>
                <a:cubicBezTo>
                  <a:pt x="603" y="949"/>
                  <a:pt x="604" y="952"/>
                  <a:pt x="607" y="952"/>
                </a:cubicBezTo>
                <a:cubicBezTo>
                  <a:pt x="607" y="952"/>
                  <a:pt x="609" y="952"/>
                  <a:pt x="612" y="952"/>
                </a:cubicBezTo>
                <a:cubicBezTo>
                  <a:pt x="614" y="952"/>
                  <a:pt x="615" y="953"/>
                  <a:pt x="616" y="954"/>
                </a:cubicBezTo>
                <a:cubicBezTo>
                  <a:pt x="619" y="958"/>
                  <a:pt x="622" y="961"/>
                  <a:pt x="624" y="963"/>
                </a:cubicBezTo>
                <a:cubicBezTo>
                  <a:pt x="626" y="964"/>
                  <a:pt x="628" y="966"/>
                  <a:pt x="631" y="967"/>
                </a:cubicBezTo>
                <a:cubicBezTo>
                  <a:pt x="634" y="969"/>
                  <a:pt x="635" y="974"/>
                  <a:pt x="634" y="983"/>
                </a:cubicBezTo>
                <a:cubicBezTo>
                  <a:pt x="634" y="984"/>
                  <a:pt x="633" y="987"/>
                  <a:pt x="631" y="991"/>
                </a:cubicBezTo>
                <a:cubicBezTo>
                  <a:pt x="631" y="993"/>
                  <a:pt x="631" y="994"/>
                  <a:pt x="632" y="995"/>
                </a:cubicBezTo>
                <a:cubicBezTo>
                  <a:pt x="632" y="996"/>
                  <a:pt x="633" y="996"/>
                  <a:pt x="636" y="996"/>
                </a:cubicBezTo>
                <a:cubicBezTo>
                  <a:pt x="638" y="996"/>
                  <a:pt x="640" y="996"/>
                  <a:pt x="643" y="994"/>
                </a:cubicBezTo>
                <a:cubicBezTo>
                  <a:pt x="646" y="993"/>
                  <a:pt x="647" y="992"/>
                  <a:pt x="648" y="992"/>
                </a:cubicBezTo>
                <a:cubicBezTo>
                  <a:pt x="650" y="992"/>
                  <a:pt x="652" y="994"/>
                  <a:pt x="656" y="996"/>
                </a:cubicBezTo>
                <a:cubicBezTo>
                  <a:pt x="659" y="998"/>
                  <a:pt x="662" y="1000"/>
                  <a:pt x="664" y="1000"/>
                </a:cubicBezTo>
                <a:cubicBezTo>
                  <a:pt x="666" y="1000"/>
                  <a:pt x="670" y="994"/>
                  <a:pt x="675" y="982"/>
                </a:cubicBezTo>
                <a:cubicBezTo>
                  <a:pt x="675" y="981"/>
                  <a:pt x="675" y="981"/>
                  <a:pt x="674" y="981"/>
                </a:cubicBezTo>
                <a:cubicBezTo>
                  <a:pt x="674" y="981"/>
                  <a:pt x="673" y="980"/>
                  <a:pt x="674" y="980"/>
                </a:cubicBezTo>
                <a:cubicBezTo>
                  <a:pt x="674" y="977"/>
                  <a:pt x="675" y="975"/>
                  <a:pt x="677" y="974"/>
                </a:cubicBezTo>
                <a:cubicBezTo>
                  <a:pt x="678" y="974"/>
                  <a:pt x="680" y="973"/>
                  <a:pt x="683" y="973"/>
                </a:cubicBezTo>
                <a:cubicBezTo>
                  <a:pt x="688" y="973"/>
                  <a:pt x="692" y="970"/>
                  <a:pt x="692" y="964"/>
                </a:cubicBezTo>
                <a:cubicBezTo>
                  <a:pt x="693" y="962"/>
                  <a:pt x="694" y="961"/>
                  <a:pt x="697" y="962"/>
                </a:cubicBezTo>
                <a:cubicBezTo>
                  <a:pt x="699" y="962"/>
                  <a:pt x="701" y="962"/>
                  <a:pt x="702" y="962"/>
                </a:cubicBezTo>
                <a:cubicBezTo>
                  <a:pt x="704" y="962"/>
                  <a:pt x="705" y="962"/>
                  <a:pt x="705" y="961"/>
                </a:cubicBezTo>
                <a:cubicBezTo>
                  <a:pt x="706" y="960"/>
                  <a:pt x="707" y="959"/>
                  <a:pt x="709" y="959"/>
                </a:cubicBezTo>
                <a:cubicBezTo>
                  <a:pt x="712" y="960"/>
                  <a:pt x="716" y="961"/>
                  <a:pt x="721" y="963"/>
                </a:cubicBezTo>
                <a:cubicBezTo>
                  <a:pt x="724" y="964"/>
                  <a:pt x="726" y="963"/>
                  <a:pt x="729" y="961"/>
                </a:cubicBezTo>
                <a:cubicBezTo>
                  <a:pt x="732" y="960"/>
                  <a:pt x="734" y="959"/>
                  <a:pt x="737" y="959"/>
                </a:cubicBezTo>
                <a:cubicBezTo>
                  <a:pt x="739" y="959"/>
                  <a:pt x="741" y="961"/>
                  <a:pt x="744" y="963"/>
                </a:cubicBezTo>
                <a:cubicBezTo>
                  <a:pt x="746" y="965"/>
                  <a:pt x="748" y="967"/>
                  <a:pt x="750" y="969"/>
                </a:cubicBezTo>
                <a:cubicBezTo>
                  <a:pt x="759" y="974"/>
                  <a:pt x="763" y="977"/>
                  <a:pt x="764" y="977"/>
                </a:cubicBezTo>
                <a:cubicBezTo>
                  <a:pt x="764" y="977"/>
                  <a:pt x="769" y="972"/>
                  <a:pt x="780" y="962"/>
                </a:cubicBezTo>
                <a:cubicBezTo>
                  <a:pt x="779" y="961"/>
                  <a:pt x="778" y="959"/>
                  <a:pt x="778" y="958"/>
                </a:cubicBezTo>
                <a:cubicBezTo>
                  <a:pt x="779" y="957"/>
                  <a:pt x="779" y="955"/>
                  <a:pt x="780" y="954"/>
                </a:cubicBezTo>
                <a:cubicBezTo>
                  <a:pt x="781" y="954"/>
                  <a:pt x="784" y="954"/>
                  <a:pt x="787" y="954"/>
                </a:cubicBezTo>
                <a:cubicBezTo>
                  <a:pt x="789" y="954"/>
                  <a:pt x="791" y="954"/>
                  <a:pt x="792" y="956"/>
                </a:cubicBezTo>
                <a:cubicBezTo>
                  <a:pt x="794" y="956"/>
                  <a:pt x="796" y="955"/>
                  <a:pt x="798" y="952"/>
                </a:cubicBezTo>
                <a:cubicBezTo>
                  <a:pt x="800" y="950"/>
                  <a:pt x="804" y="949"/>
                  <a:pt x="810" y="949"/>
                </a:cubicBezTo>
                <a:cubicBezTo>
                  <a:pt x="812" y="949"/>
                  <a:pt x="816" y="951"/>
                  <a:pt x="824" y="953"/>
                </a:cubicBezTo>
                <a:cubicBezTo>
                  <a:pt x="825" y="953"/>
                  <a:pt x="827" y="952"/>
                  <a:pt x="831" y="950"/>
                </a:cubicBezTo>
                <a:cubicBezTo>
                  <a:pt x="835" y="949"/>
                  <a:pt x="837" y="948"/>
                  <a:pt x="838" y="948"/>
                </a:cubicBezTo>
                <a:cubicBezTo>
                  <a:pt x="840" y="948"/>
                  <a:pt x="843" y="950"/>
                  <a:pt x="847" y="952"/>
                </a:cubicBezTo>
                <a:cubicBezTo>
                  <a:pt x="850" y="954"/>
                  <a:pt x="853" y="955"/>
                  <a:pt x="856" y="955"/>
                </a:cubicBezTo>
                <a:cubicBezTo>
                  <a:pt x="857" y="955"/>
                  <a:pt x="857" y="955"/>
                  <a:pt x="858" y="955"/>
                </a:cubicBezTo>
                <a:lnTo>
                  <a:pt x="861" y="955"/>
                </a:lnTo>
                <a:cubicBezTo>
                  <a:pt x="864" y="956"/>
                  <a:pt x="869" y="957"/>
                  <a:pt x="876" y="958"/>
                </a:cubicBezTo>
                <a:cubicBezTo>
                  <a:pt x="882" y="960"/>
                  <a:pt x="885" y="963"/>
                  <a:pt x="885" y="967"/>
                </a:cubicBezTo>
                <a:cubicBezTo>
                  <a:pt x="885" y="971"/>
                  <a:pt x="887" y="975"/>
                  <a:pt x="890" y="978"/>
                </a:cubicBezTo>
                <a:cubicBezTo>
                  <a:pt x="894" y="982"/>
                  <a:pt x="898" y="984"/>
                  <a:pt x="903" y="985"/>
                </a:cubicBezTo>
                <a:cubicBezTo>
                  <a:pt x="911" y="986"/>
                  <a:pt x="916" y="987"/>
                  <a:pt x="917" y="989"/>
                </a:cubicBezTo>
                <a:cubicBezTo>
                  <a:pt x="920" y="994"/>
                  <a:pt x="924" y="996"/>
                  <a:pt x="929" y="995"/>
                </a:cubicBezTo>
                <a:cubicBezTo>
                  <a:pt x="931" y="995"/>
                  <a:pt x="933" y="996"/>
                  <a:pt x="936" y="998"/>
                </a:cubicBezTo>
                <a:cubicBezTo>
                  <a:pt x="939" y="1001"/>
                  <a:pt x="941" y="1002"/>
                  <a:pt x="942" y="1002"/>
                </a:cubicBezTo>
                <a:cubicBezTo>
                  <a:pt x="945" y="1002"/>
                  <a:pt x="950" y="1003"/>
                  <a:pt x="956" y="1002"/>
                </a:cubicBezTo>
                <a:cubicBezTo>
                  <a:pt x="956" y="1002"/>
                  <a:pt x="956" y="1003"/>
                  <a:pt x="957" y="1003"/>
                </a:cubicBezTo>
                <a:cubicBezTo>
                  <a:pt x="957" y="1002"/>
                  <a:pt x="957" y="1002"/>
                  <a:pt x="957" y="1002"/>
                </a:cubicBezTo>
                <a:cubicBezTo>
                  <a:pt x="962" y="1003"/>
                  <a:pt x="967" y="1005"/>
                  <a:pt x="973" y="1008"/>
                </a:cubicBezTo>
                <a:cubicBezTo>
                  <a:pt x="974" y="1008"/>
                  <a:pt x="975" y="1008"/>
                  <a:pt x="977" y="1007"/>
                </a:cubicBezTo>
                <a:cubicBezTo>
                  <a:pt x="979" y="1006"/>
                  <a:pt x="981" y="1006"/>
                  <a:pt x="982" y="1006"/>
                </a:cubicBezTo>
                <a:cubicBezTo>
                  <a:pt x="985" y="1006"/>
                  <a:pt x="988" y="1008"/>
                  <a:pt x="990" y="1012"/>
                </a:cubicBezTo>
                <a:lnTo>
                  <a:pt x="994" y="1012"/>
                </a:lnTo>
                <a:cubicBezTo>
                  <a:pt x="994" y="1012"/>
                  <a:pt x="995" y="1011"/>
                  <a:pt x="995" y="1010"/>
                </a:cubicBezTo>
                <a:cubicBezTo>
                  <a:pt x="995" y="1007"/>
                  <a:pt x="995" y="1003"/>
                  <a:pt x="993" y="999"/>
                </a:cubicBezTo>
                <a:cubicBezTo>
                  <a:pt x="992" y="994"/>
                  <a:pt x="990" y="992"/>
                  <a:pt x="988" y="991"/>
                </a:cubicBezTo>
                <a:cubicBezTo>
                  <a:pt x="977" y="986"/>
                  <a:pt x="972" y="982"/>
                  <a:pt x="972" y="980"/>
                </a:cubicBezTo>
                <a:cubicBezTo>
                  <a:pt x="974" y="977"/>
                  <a:pt x="975" y="975"/>
                  <a:pt x="975" y="973"/>
                </a:cubicBezTo>
                <a:cubicBezTo>
                  <a:pt x="976" y="964"/>
                  <a:pt x="973" y="953"/>
                  <a:pt x="967" y="940"/>
                </a:cubicBezTo>
                <a:cubicBezTo>
                  <a:pt x="961" y="928"/>
                  <a:pt x="958" y="922"/>
                  <a:pt x="958" y="922"/>
                </a:cubicBezTo>
                <a:cubicBezTo>
                  <a:pt x="958" y="919"/>
                  <a:pt x="960" y="917"/>
                  <a:pt x="963" y="914"/>
                </a:cubicBezTo>
                <a:cubicBezTo>
                  <a:pt x="967" y="910"/>
                  <a:pt x="969" y="908"/>
                  <a:pt x="970" y="906"/>
                </a:cubicBezTo>
                <a:cubicBezTo>
                  <a:pt x="970" y="906"/>
                  <a:pt x="971" y="903"/>
                  <a:pt x="972" y="896"/>
                </a:cubicBezTo>
                <a:cubicBezTo>
                  <a:pt x="973" y="892"/>
                  <a:pt x="975" y="889"/>
                  <a:pt x="977" y="887"/>
                </a:cubicBezTo>
                <a:cubicBezTo>
                  <a:pt x="981" y="885"/>
                  <a:pt x="984" y="879"/>
                  <a:pt x="987" y="871"/>
                </a:cubicBezTo>
                <a:cubicBezTo>
                  <a:pt x="989" y="869"/>
                  <a:pt x="992" y="865"/>
                  <a:pt x="997" y="861"/>
                </a:cubicBezTo>
                <a:cubicBezTo>
                  <a:pt x="998" y="854"/>
                  <a:pt x="1004" y="844"/>
                  <a:pt x="1014" y="831"/>
                </a:cubicBezTo>
                <a:cubicBezTo>
                  <a:pt x="1019" y="825"/>
                  <a:pt x="1024" y="818"/>
                  <a:pt x="1030" y="811"/>
                </a:cubicBezTo>
                <a:cubicBezTo>
                  <a:pt x="1035" y="806"/>
                  <a:pt x="1040" y="799"/>
                  <a:pt x="1046" y="789"/>
                </a:cubicBezTo>
                <a:cubicBezTo>
                  <a:pt x="1046" y="788"/>
                  <a:pt x="1050" y="786"/>
                  <a:pt x="1057" y="781"/>
                </a:cubicBezTo>
                <a:cubicBezTo>
                  <a:pt x="1064" y="777"/>
                  <a:pt x="1068" y="774"/>
                  <a:pt x="1068" y="771"/>
                </a:cubicBezTo>
                <a:cubicBezTo>
                  <a:pt x="1067" y="767"/>
                  <a:pt x="1066" y="765"/>
                  <a:pt x="1066" y="763"/>
                </a:cubicBezTo>
                <a:cubicBezTo>
                  <a:pt x="1067" y="758"/>
                  <a:pt x="1073" y="754"/>
                  <a:pt x="1085" y="752"/>
                </a:cubicBezTo>
                <a:lnTo>
                  <a:pt x="1097" y="750"/>
                </a:lnTo>
                <a:cubicBezTo>
                  <a:pt x="1101" y="749"/>
                  <a:pt x="1103" y="748"/>
                  <a:pt x="1103" y="746"/>
                </a:cubicBezTo>
                <a:cubicBezTo>
                  <a:pt x="1102" y="741"/>
                  <a:pt x="1102" y="739"/>
                  <a:pt x="1102" y="738"/>
                </a:cubicBezTo>
                <a:cubicBezTo>
                  <a:pt x="1102" y="736"/>
                  <a:pt x="1104" y="734"/>
                  <a:pt x="1106" y="732"/>
                </a:cubicBezTo>
                <a:cubicBezTo>
                  <a:pt x="1109" y="730"/>
                  <a:pt x="1111" y="728"/>
                  <a:pt x="1111" y="726"/>
                </a:cubicBezTo>
                <a:lnTo>
                  <a:pt x="1111" y="7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" name="Freeform 224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2 w 1996"/>
              <a:gd name="T1" fmla="*/ 26 h 2397"/>
              <a:gd name="T2" fmla="*/ 1490 w 1996"/>
              <a:gd name="T3" fmla="*/ 90 h 2397"/>
              <a:gd name="T4" fmla="*/ 1522 w 1996"/>
              <a:gd name="T5" fmla="*/ 52 h 2397"/>
              <a:gd name="T6" fmla="*/ 1266 w 1996"/>
              <a:gd name="T7" fmla="*/ 244 h 2397"/>
              <a:gd name="T8" fmla="*/ 1241 w 1996"/>
              <a:gd name="T9" fmla="*/ 255 h 2397"/>
              <a:gd name="T10" fmla="*/ 1177 w 1996"/>
              <a:gd name="T11" fmla="*/ 331 h 2397"/>
              <a:gd name="T12" fmla="*/ 1484 w 1996"/>
              <a:gd name="T13" fmla="*/ 190 h 2397"/>
              <a:gd name="T14" fmla="*/ 1457 w 1996"/>
              <a:gd name="T15" fmla="*/ 176 h 2397"/>
              <a:gd name="T16" fmla="*/ 1111 w 1996"/>
              <a:gd name="T17" fmla="*/ 349 h 2397"/>
              <a:gd name="T18" fmla="*/ 1022 w 1996"/>
              <a:gd name="T19" fmla="*/ 513 h 2397"/>
              <a:gd name="T20" fmla="*/ 1050 w 1996"/>
              <a:gd name="T21" fmla="*/ 468 h 2397"/>
              <a:gd name="T22" fmla="*/ 1109 w 1996"/>
              <a:gd name="T23" fmla="*/ 463 h 2397"/>
              <a:gd name="T24" fmla="*/ 947 w 1996"/>
              <a:gd name="T25" fmla="*/ 550 h 2397"/>
              <a:gd name="T26" fmla="*/ 853 w 1996"/>
              <a:gd name="T27" fmla="*/ 613 h 2397"/>
              <a:gd name="T28" fmla="*/ 807 w 1996"/>
              <a:gd name="T29" fmla="*/ 631 h 2397"/>
              <a:gd name="T30" fmla="*/ 829 w 1996"/>
              <a:gd name="T31" fmla="*/ 856 h 2397"/>
              <a:gd name="T32" fmla="*/ 752 w 1996"/>
              <a:gd name="T33" fmla="*/ 1020 h 2397"/>
              <a:gd name="T34" fmla="*/ 648 w 1996"/>
              <a:gd name="T35" fmla="*/ 1260 h 2397"/>
              <a:gd name="T36" fmla="*/ 399 w 1996"/>
              <a:gd name="T37" fmla="*/ 1456 h 2397"/>
              <a:gd name="T38" fmla="*/ 309 w 1996"/>
              <a:gd name="T39" fmla="*/ 1491 h 2397"/>
              <a:gd name="T40" fmla="*/ 191 w 1996"/>
              <a:gd name="T41" fmla="*/ 1593 h 2397"/>
              <a:gd name="T42" fmla="*/ 55 w 1996"/>
              <a:gd name="T43" fmla="*/ 1704 h 2397"/>
              <a:gd name="T44" fmla="*/ 36 w 1996"/>
              <a:gd name="T45" fmla="*/ 1842 h 2397"/>
              <a:gd name="T46" fmla="*/ 81 w 1996"/>
              <a:gd name="T47" fmla="*/ 1928 h 2397"/>
              <a:gd name="T48" fmla="*/ 21 w 1996"/>
              <a:gd name="T49" fmla="*/ 2010 h 2397"/>
              <a:gd name="T50" fmla="*/ 79 w 1996"/>
              <a:gd name="T51" fmla="*/ 2132 h 2397"/>
              <a:gd name="T52" fmla="*/ 16 w 1996"/>
              <a:gd name="T53" fmla="*/ 2049 h 2397"/>
              <a:gd name="T54" fmla="*/ 226 w 1996"/>
              <a:gd name="T55" fmla="*/ 1556 h 2397"/>
              <a:gd name="T56" fmla="*/ 800 w 1996"/>
              <a:gd name="T57" fmla="*/ 1029 h 2397"/>
              <a:gd name="T58" fmla="*/ 791 w 1996"/>
              <a:gd name="T59" fmla="*/ 933 h 2397"/>
              <a:gd name="T60" fmla="*/ 884 w 1996"/>
              <a:gd name="T61" fmla="*/ 820 h 2397"/>
              <a:gd name="T62" fmla="*/ 955 w 1996"/>
              <a:gd name="T63" fmla="*/ 723 h 2397"/>
              <a:gd name="T64" fmla="*/ 999 w 1996"/>
              <a:gd name="T65" fmla="*/ 640 h 2397"/>
              <a:gd name="T66" fmla="*/ 1049 w 1996"/>
              <a:gd name="T67" fmla="*/ 558 h 2397"/>
              <a:gd name="T68" fmla="*/ 1140 w 1996"/>
              <a:gd name="T69" fmla="*/ 472 h 2397"/>
              <a:gd name="T70" fmla="*/ 1224 w 1996"/>
              <a:gd name="T71" fmla="*/ 312 h 2397"/>
              <a:gd name="T72" fmla="*/ 1358 w 1996"/>
              <a:gd name="T73" fmla="*/ 274 h 2397"/>
              <a:gd name="T74" fmla="*/ 1462 w 1996"/>
              <a:gd name="T75" fmla="*/ 208 h 2397"/>
              <a:gd name="T76" fmla="*/ 1595 w 1996"/>
              <a:gd name="T77" fmla="*/ 61 h 2397"/>
              <a:gd name="T78" fmla="*/ 1724 w 1996"/>
              <a:gd name="T79" fmla="*/ 123 h 2397"/>
              <a:gd name="T80" fmla="*/ 1775 w 1996"/>
              <a:gd name="T81" fmla="*/ 120 h 2397"/>
              <a:gd name="T82" fmla="*/ 1836 w 1996"/>
              <a:gd name="T83" fmla="*/ 182 h 2397"/>
              <a:gd name="T84" fmla="*/ 1886 w 1996"/>
              <a:gd name="T85" fmla="*/ 261 h 2397"/>
              <a:gd name="T86" fmla="*/ 1550 w 1996"/>
              <a:gd name="T87" fmla="*/ 461 h 2397"/>
              <a:gd name="T88" fmla="*/ 1081 w 1996"/>
              <a:gd name="T89" fmla="*/ 637 h 2397"/>
              <a:gd name="T90" fmla="*/ 672 w 1996"/>
              <a:gd name="T91" fmla="*/ 1775 h 2397"/>
              <a:gd name="T92" fmla="*/ 508 w 1996"/>
              <a:gd name="T93" fmla="*/ 2157 h 2397"/>
              <a:gd name="T94" fmla="*/ 357 w 1996"/>
              <a:gd name="T95" fmla="*/ 2287 h 2397"/>
              <a:gd name="T96" fmla="*/ 44 w 1996"/>
              <a:gd name="T97" fmla="*/ 2295 h 2397"/>
              <a:gd name="T98" fmla="*/ 136 w 1996"/>
              <a:gd name="T99" fmla="*/ 2111 h 2397"/>
              <a:gd name="T100" fmla="*/ 51 w 1996"/>
              <a:gd name="T101" fmla="*/ 2081 h 2397"/>
              <a:gd name="T102" fmla="*/ 212 w 1996"/>
              <a:gd name="T103" fmla="*/ 1949 h 2397"/>
              <a:gd name="T104" fmla="*/ 63 w 1996"/>
              <a:gd name="T105" fmla="*/ 1944 h 2397"/>
              <a:gd name="T106" fmla="*/ 156 w 1996"/>
              <a:gd name="T107" fmla="*/ 1840 h 2397"/>
              <a:gd name="T108" fmla="*/ 180 w 1996"/>
              <a:gd name="T109" fmla="*/ 1811 h 2397"/>
              <a:gd name="T110" fmla="*/ 84 w 1996"/>
              <a:gd name="T111" fmla="*/ 1752 h 2397"/>
              <a:gd name="T112" fmla="*/ 85 w 1996"/>
              <a:gd name="T113" fmla="*/ 1673 h 2397"/>
              <a:gd name="T114" fmla="*/ 258 w 1996"/>
              <a:gd name="T115" fmla="*/ 1660 h 2397"/>
              <a:gd name="T116" fmla="*/ 296 w 1996"/>
              <a:gd name="T117" fmla="*/ 1564 h 2397"/>
              <a:gd name="T118" fmla="*/ 363 w 1996"/>
              <a:gd name="T119" fmla="*/ 1499 h 2397"/>
              <a:gd name="T120" fmla="*/ 550 w 1996"/>
              <a:gd name="T121" fmla="*/ 1454 h 2397"/>
              <a:gd name="T122" fmla="*/ 532 w 1996"/>
              <a:gd name="T123" fmla="*/ 1361 h 2397"/>
              <a:gd name="T124" fmla="*/ 668 w 1996"/>
              <a:gd name="T125" fmla="*/ 1250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" name="Freeform 225"/>
          <p:cNvSpPr>
            <a:spLocks noEditPoints="1"/>
          </p:cNvSpPr>
          <p:nvPr/>
        </p:nvSpPr>
        <p:spPr bwMode="auto">
          <a:xfrm>
            <a:off x="8318805" y="-6884"/>
            <a:ext cx="2085759" cy="2506754"/>
          </a:xfrm>
          <a:custGeom>
            <a:avLst/>
            <a:gdLst>
              <a:gd name="T0" fmla="*/ 1640 w 1996"/>
              <a:gd name="T1" fmla="*/ 15 h 2397"/>
              <a:gd name="T2" fmla="*/ 1479 w 1996"/>
              <a:gd name="T3" fmla="*/ 96 h 2397"/>
              <a:gd name="T4" fmla="*/ 1523 w 1996"/>
              <a:gd name="T5" fmla="*/ 59 h 2397"/>
              <a:gd name="T6" fmla="*/ 1317 w 1996"/>
              <a:gd name="T7" fmla="*/ 207 h 2397"/>
              <a:gd name="T8" fmla="*/ 1209 w 1996"/>
              <a:gd name="T9" fmla="*/ 264 h 2397"/>
              <a:gd name="T10" fmla="*/ 1205 w 1996"/>
              <a:gd name="T11" fmla="*/ 333 h 2397"/>
              <a:gd name="T12" fmla="*/ 1318 w 1996"/>
              <a:gd name="T13" fmla="*/ 289 h 2397"/>
              <a:gd name="T14" fmla="*/ 1386 w 1996"/>
              <a:gd name="T15" fmla="*/ 199 h 2397"/>
              <a:gd name="T16" fmla="*/ 1092 w 1996"/>
              <a:gd name="T17" fmla="*/ 410 h 2397"/>
              <a:gd name="T18" fmla="*/ 1029 w 1996"/>
              <a:gd name="T19" fmla="*/ 389 h 2397"/>
              <a:gd name="T20" fmla="*/ 982 w 1996"/>
              <a:gd name="T21" fmla="*/ 512 h 2397"/>
              <a:gd name="T22" fmla="*/ 973 w 1996"/>
              <a:gd name="T23" fmla="*/ 486 h 2397"/>
              <a:gd name="T24" fmla="*/ 911 w 1996"/>
              <a:gd name="T25" fmla="*/ 497 h 2397"/>
              <a:gd name="T26" fmla="*/ 888 w 1996"/>
              <a:gd name="T27" fmla="*/ 568 h 2397"/>
              <a:gd name="T28" fmla="*/ 832 w 1996"/>
              <a:gd name="T29" fmla="*/ 613 h 2397"/>
              <a:gd name="T30" fmla="*/ 1050 w 1996"/>
              <a:gd name="T31" fmla="*/ 543 h 2397"/>
              <a:gd name="T32" fmla="*/ 741 w 1996"/>
              <a:gd name="T33" fmla="*/ 1014 h 2397"/>
              <a:gd name="T34" fmla="*/ 617 w 1996"/>
              <a:gd name="T35" fmla="*/ 1190 h 2397"/>
              <a:gd name="T36" fmla="*/ 431 w 1996"/>
              <a:gd name="T37" fmla="*/ 1435 h 2397"/>
              <a:gd name="T38" fmla="*/ 354 w 1996"/>
              <a:gd name="T39" fmla="*/ 1472 h 2397"/>
              <a:gd name="T40" fmla="*/ 191 w 1996"/>
              <a:gd name="T41" fmla="*/ 1546 h 2397"/>
              <a:gd name="T42" fmla="*/ 128 w 1996"/>
              <a:gd name="T43" fmla="*/ 1610 h 2397"/>
              <a:gd name="T44" fmla="*/ 72 w 1996"/>
              <a:gd name="T45" fmla="*/ 1738 h 2397"/>
              <a:gd name="T46" fmla="*/ 13 w 1996"/>
              <a:gd name="T47" fmla="*/ 1820 h 2397"/>
              <a:gd name="T48" fmla="*/ 62 w 1996"/>
              <a:gd name="T49" fmla="*/ 1930 h 2397"/>
              <a:gd name="T50" fmla="*/ 21 w 1996"/>
              <a:gd name="T51" fmla="*/ 2010 h 2397"/>
              <a:gd name="T52" fmla="*/ 536 w 1996"/>
              <a:gd name="T53" fmla="*/ 2240 h 2397"/>
              <a:gd name="T54" fmla="*/ 38 w 1996"/>
              <a:gd name="T55" fmla="*/ 2176 h 2397"/>
              <a:gd name="T56" fmla="*/ 716 w 1996"/>
              <a:gd name="T57" fmla="*/ 1138 h 2397"/>
              <a:gd name="T58" fmla="*/ 758 w 1996"/>
              <a:gd name="T59" fmla="*/ 1036 h 2397"/>
              <a:gd name="T60" fmla="*/ 793 w 1996"/>
              <a:gd name="T61" fmla="*/ 961 h 2397"/>
              <a:gd name="T62" fmla="*/ 857 w 1996"/>
              <a:gd name="T63" fmla="*/ 818 h 2397"/>
              <a:gd name="T64" fmla="*/ 953 w 1996"/>
              <a:gd name="T65" fmla="*/ 716 h 2397"/>
              <a:gd name="T66" fmla="*/ 988 w 1996"/>
              <a:gd name="T67" fmla="*/ 648 h 2397"/>
              <a:gd name="T68" fmla="*/ 1049 w 1996"/>
              <a:gd name="T69" fmla="*/ 558 h 2397"/>
              <a:gd name="T70" fmla="*/ 1125 w 1996"/>
              <a:gd name="T71" fmla="*/ 465 h 2397"/>
              <a:gd name="T72" fmla="*/ 1261 w 1996"/>
              <a:gd name="T73" fmla="*/ 290 h 2397"/>
              <a:gd name="T74" fmla="*/ 1365 w 1996"/>
              <a:gd name="T75" fmla="*/ 249 h 2397"/>
              <a:gd name="T76" fmla="*/ 1487 w 1996"/>
              <a:gd name="T77" fmla="*/ 237 h 2397"/>
              <a:gd name="T78" fmla="*/ 1633 w 1996"/>
              <a:gd name="T79" fmla="*/ 86 h 2397"/>
              <a:gd name="T80" fmla="*/ 1738 w 1996"/>
              <a:gd name="T81" fmla="*/ 57 h 2397"/>
              <a:gd name="T82" fmla="*/ 1809 w 1996"/>
              <a:gd name="T83" fmla="*/ 88 h 2397"/>
              <a:gd name="T84" fmla="*/ 1930 w 1996"/>
              <a:gd name="T85" fmla="*/ 231 h 2397"/>
              <a:gd name="T86" fmla="*/ 1715 w 1996"/>
              <a:gd name="T87" fmla="*/ 233 h 2397"/>
              <a:gd name="T88" fmla="*/ 1359 w 1996"/>
              <a:gd name="T89" fmla="*/ 412 h 2397"/>
              <a:gd name="T90" fmla="*/ 906 w 1996"/>
              <a:gd name="T91" fmla="*/ 1038 h 2397"/>
              <a:gd name="T92" fmla="*/ 619 w 1996"/>
              <a:gd name="T93" fmla="*/ 2110 h 2397"/>
              <a:gd name="T94" fmla="*/ 488 w 1996"/>
              <a:gd name="T95" fmla="*/ 2143 h 2397"/>
              <a:gd name="T96" fmla="*/ 230 w 1996"/>
              <a:gd name="T97" fmla="*/ 2390 h 2397"/>
              <a:gd name="T98" fmla="*/ 65 w 1996"/>
              <a:gd name="T99" fmla="*/ 2187 h 2397"/>
              <a:gd name="T100" fmla="*/ 34 w 1996"/>
              <a:gd name="T101" fmla="*/ 2127 h 2397"/>
              <a:gd name="T102" fmla="*/ 116 w 1996"/>
              <a:gd name="T103" fmla="*/ 2003 h 2397"/>
              <a:gd name="T104" fmla="*/ 86 w 1996"/>
              <a:gd name="T105" fmla="*/ 1950 h 2397"/>
              <a:gd name="T106" fmla="*/ 41 w 1996"/>
              <a:gd name="T107" fmla="*/ 1862 h 2397"/>
              <a:gd name="T108" fmla="*/ 246 w 1996"/>
              <a:gd name="T109" fmla="*/ 1822 h 2397"/>
              <a:gd name="T110" fmla="*/ 66 w 1996"/>
              <a:gd name="T111" fmla="*/ 1755 h 2397"/>
              <a:gd name="T112" fmla="*/ 189 w 1996"/>
              <a:gd name="T113" fmla="*/ 1708 h 2397"/>
              <a:gd name="T114" fmla="*/ 212 w 1996"/>
              <a:gd name="T115" fmla="*/ 1605 h 2397"/>
              <a:gd name="T116" fmla="*/ 295 w 1996"/>
              <a:gd name="T117" fmla="*/ 1573 h 2397"/>
              <a:gd name="T118" fmla="*/ 397 w 1996"/>
              <a:gd name="T119" fmla="*/ 1543 h 2397"/>
              <a:gd name="T120" fmla="*/ 529 w 1996"/>
              <a:gd name="T121" fmla="*/ 1468 h 2397"/>
              <a:gd name="T122" fmla="*/ 495 w 1996"/>
              <a:gd name="T123" fmla="*/ 1385 h 2397"/>
              <a:gd name="T124" fmla="*/ 652 w 1996"/>
              <a:gd name="T125" fmla="*/ 1257 h 2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96" h="2397">
                <a:moveTo>
                  <a:pt x="699" y="1049"/>
                </a:moveTo>
                <a:lnTo>
                  <a:pt x="699" y="1049"/>
                </a:lnTo>
                <a:cubicBezTo>
                  <a:pt x="695" y="1054"/>
                  <a:pt x="694" y="1057"/>
                  <a:pt x="693" y="1057"/>
                </a:cubicBezTo>
                <a:cubicBezTo>
                  <a:pt x="693" y="1062"/>
                  <a:pt x="695" y="1064"/>
                  <a:pt x="699" y="1064"/>
                </a:cubicBezTo>
                <a:cubicBezTo>
                  <a:pt x="701" y="1064"/>
                  <a:pt x="703" y="1063"/>
                  <a:pt x="705" y="1062"/>
                </a:cubicBezTo>
                <a:cubicBezTo>
                  <a:pt x="707" y="1060"/>
                  <a:pt x="709" y="1059"/>
                  <a:pt x="709" y="1058"/>
                </a:cubicBezTo>
                <a:cubicBezTo>
                  <a:pt x="709" y="1056"/>
                  <a:pt x="707" y="1054"/>
                  <a:pt x="703" y="1051"/>
                </a:cubicBezTo>
                <a:cubicBezTo>
                  <a:pt x="702" y="1051"/>
                  <a:pt x="700" y="1050"/>
                  <a:pt x="699" y="1049"/>
                </a:cubicBezTo>
                <a:lnTo>
                  <a:pt x="699" y="1049"/>
                </a:lnTo>
                <a:close/>
                <a:moveTo>
                  <a:pt x="712" y="1151"/>
                </a:moveTo>
                <a:lnTo>
                  <a:pt x="712" y="1151"/>
                </a:lnTo>
                <a:cubicBezTo>
                  <a:pt x="712" y="1150"/>
                  <a:pt x="712" y="1148"/>
                  <a:pt x="713" y="1147"/>
                </a:cubicBezTo>
                <a:cubicBezTo>
                  <a:pt x="715" y="1148"/>
                  <a:pt x="717" y="1148"/>
                  <a:pt x="719" y="1148"/>
                </a:cubicBezTo>
                <a:cubicBezTo>
                  <a:pt x="720" y="1149"/>
                  <a:pt x="721" y="1149"/>
                  <a:pt x="722" y="1151"/>
                </a:cubicBezTo>
                <a:cubicBezTo>
                  <a:pt x="722" y="1151"/>
                  <a:pt x="723" y="1152"/>
                  <a:pt x="723" y="1153"/>
                </a:cubicBezTo>
                <a:cubicBezTo>
                  <a:pt x="723" y="1154"/>
                  <a:pt x="723" y="1155"/>
                  <a:pt x="723" y="1155"/>
                </a:cubicBezTo>
                <a:cubicBezTo>
                  <a:pt x="722" y="1157"/>
                  <a:pt x="721" y="1159"/>
                  <a:pt x="720" y="1162"/>
                </a:cubicBezTo>
                <a:cubicBezTo>
                  <a:pt x="718" y="1165"/>
                  <a:pt x="716" y="1166"/>
                  <a:pt x="714" y="1166"/>
                </a:cubicBezTo>
                <a:cubicBezTo>
                  <a:pt x="714" y="1166"/>
                  <a:pt x="713" y="1166"/>
                  <a:pt x="712" y="1165"/>
                </a:cubicBezTo>
                <a:cubicBezTo>
                  <a:pt x="711" y="1165"/>
                  <a:pt x="710" y="1164"/>
                  <a:pt x="708" y="1163"/>
                </a:cubicBezTo>
                <a:cubicBezTo>
                  <a:pt x="705" y="1162"/>
                  <a:pt x="704" y="1160"/>
                  <a:pt x="704" y="1160"/>
                </a:cubicBezTo>
                <a:cubicBezTo>
                  <a:pt x="704" y="1159"/>
                  <a:pt x="705" y="1157"/>
                  <a:pt x="708" y="1155"/>
                </a:cubicBezTo>
                <a:cubicBezTo>
                  <a:pt x="710" y="1153"/>
                  <a:pt x="712" y="1152"/>
                  <a:pt x="712" y="1151"/>
                </a:cubicBezTo>
                <a:lnTo>
                  <a:pt x="712" y="1151"/>
                </a:lnTo>
                <a:close/>
                <a:moveTo>
                  <a:pt x="677" y="1161"/>
                </a:moveTo>
                <a:lnTo>
                  <a:pt x="677" y="1161"/>
                </a:lnTo>
                <a:cubicBezTo>
                  <a:pt x="675" y="1162"/>
                  <a:pt x="674" y="1164"/>
                  <a:pt x="674" y="1167"/>
                </a:cubicBezTo>
                <a:lnTo>
                  <a:pt x="670" y="1166"/>
                </a:lnTo>
                <a:cubicBezTo>
                  <a:pt x="670" y="1165"/>
                  <a:pt x="669" y="1164"/>
                  <a:pt x="668" y="1163"/>
                </a:cubicBezTo>
                <a:cubicBezTo>
                  <a:pt x="666" y="1162"/>
                  <a:pt x="666" y="1161"/>
                  <a:pt x="666" y="1160"/>
                </a:cubicBezTo>
                <a:cubicBezTo>
                  <a:pt x="666" y="1159"/>
                  <a:pt x="668" y="1158"/>
                  <a:pt x="672" y="1156"/>
                </a:cubicBezTo>
                <a:cubicBezTo>
                  <a:pt x="673" y="1156"/>
                  <a:pt x="673" y="1155"/>
                  <a:pt x="674" y="1155"/>
                </a:cubicBezTo>
                <a:lnTo>
                  <a:pt x="682" y="1156"/>
                </a:lnTo>
                <a:lnTo>
                  <a:pt x="682" y="1157"/>
                </a:lnTo>
                <a:cubicBezTo>
                  <a:pt x="679" y="1159"/>
                  <a:pt x="678" y="1160"/>
                  <a:pt x="677" y="1161"/>
                </a:cubicBezTo>
                <a:lnTo>
                  <a:pt x="677" y="1161"/>
                </a:lnTo>
                <a:close/>
                <a:moveTo>
                  <a:pt x="688" y="1158"/>
                </a:moveTo>
                <a:lnTo>
                  <a:pt x="688" y="1158"/>
                </a:lnTo>
                <a:cubicBezTo>
                  <a:pt x="691" y="1156"/>
                  <a:pt x="693" y="1154"/>
                  <a:pt x="695" y="1153"/>
                </a:cubicBezTo>
                <a:cubicBezTo>
                  <a:pt x="697" y="1154"/>
                  <a:pt x="698" y="1156"/>
                  <a:pt x="699" y="1158"/>
                </a:cubicBezTo>
                <a:cubicBezTo>
                  <a:pt x="700" y="1158"/>
                  <a:pt x="701" y="1159"/>
                  <a:pt x="701" y="1161"/>
                </a:cubicBezTo>
                <a:cubicBezTo>
                  <a:pt x="701" y="1161"/>
                  <a:pt x="701" y="1161"/>
                  <a:pt x="701" y="1161"/>
                </a:cubicBezTo>
                <a:cubicBezTo>
                  <a:pt x="698" y="1164"/>
                  <a:pt x="695" y="1166"/>
                  <a:pt x="692" y="1167"/>
                </a:cubicBezTo>
                <a:cubicBezTo>
                  <a:pt x="688" y="1169"/>
                  <a:pt x="686" y="1169"/>
                  <a:pt x="684" y="1169"/>
                </a:cubicBezTo>
                <a:lnTo>
                  <a:pt x="681" y="1167"/>
                </a:lnTo>
                <a:cubicBezTo>
                  <a:pt x="682" y="1166"/>
                  <a:pt x="683" y="1164"/>
                  <a:pt x="686" y="1161"/>
                </a:cubicBezTo>
                <a:cubicBezTo>
                  <a:pt x="686" y="1161"/>
                  <a:pt x="687" y="1159"/>
                  <a:pt x="688" y="1158"/>
                </a:cubicBezTo>
                <a:lnTo>
                  <a:pt x="688" y="1158"/>
                </a:lnTo>
                <a:close/>
                <a:moveTo>
                  <a:pt x="695" y="1153"/>
                </a:moveTo>
                <a:lnTo>
                  <a:pt x="695" y="1153"/>
                </a:lnTo>
                <a:lnTo>
                  <a:pt x="695" y="1152"/>
                </a:lnTo>
                <a:cubicBezTo>
                  <a:pt x="695" y="1153"/>
                  <a:pt x="695" y="1153"/>
                  <a:pt x="695" y="1153"/>
                </a:cubicBezTo>
                <a:lnTo>
                  <a:pt x="695" y="1153"/>
                </a:lnTo>
                <a:close/>
                <a:moveTo>
                  <a:pt x="1617" y="6"/>
                </a:moveTo>
                <a:lnTo>
                  <a:pt x="1617" y="6"/>
                </a:lnTo>
                <a:cubicBezTo>
                  <a:pt x="1618" y="6"/>
                  <a:pt x="1619" y="5"/>
                  <a:pt x="1621" y="4"/>
                </a:cubicBezTo>
                <a:cubicBezTo>
                  <a:pt x="1623" y="3"/>
                  <a:pt x="1624" y="3"/>
                  <a:pt x="1625" y="3"/>
                </a:cubicBezTo>
                <a:cubicBezTo>
                  <a:pt x="1625" y="3"/>
                  <a:pt x="1626" y="4"/>
                  <a:pt x="1628" y="6"/>
                </a:cubicBezTo>
                <a:cubicBezTo>
                  <a:pt x="1630" y="9"/>
                  <a:pt x="1633" y="11"/>
                  <a:pt x="1634" y="12"/>
                </a:cubicBezTo>
                <a:cubicBezTo>
                  <a:pt x="1636" y="13"/>
                  <a:pt x="1638" y="14"/>
                  <a:pt x="1640" y="15"/>
                </a:cubicBezTo>
                <a:cubicBezTo>
                  <a:pt x="1643" y="16"/>
                  <a:pt x="1644" y="17"/>
                  <a:pt x="1644" y="18"/>
                </a:cubicBezTo>
                <a:lnTo>
                  <a:pt x="1637" y="24"/>
                </a:lnTo>
                <a:cubicBezTo>
                  <a:pt x="1637" y="25"/>
                  <a:pt x="1639" y="25"/>
                  <a:pt x="1642" y="26"/>
                </a:cubicBezTo>
                <a:cubicBezTo>
                  <a:pt x="1644" y="26"/>
                  <a:pt x="1646" y="27"/>
                  <a:pt x="1646" y="28"/>
                </a:cubicBezTo>
                <a:cubicBezTo>
                  <a:pt x="1644" y="30"/>
                  <a:pt x="1643" y="33"/>
                  <a:pt x="1643" y="37"/>
                </a:cubicBezTo>
                <a:cubicBezTo>
                  <a:pt x="1643" y="41"/>
                  <a:pt x="1641" y="42"/>
                  <a:pt x="1637" y="42"/>
                </a:cubicBezTo>
                <a:cubicBezTo>
                  <a:pt x="1633" y="42"/>
                  <a:pt x="1629" y="41"/>
                  <a:pt x="1627" y="42"/>
                </a:cubicBezTo>
                <a:cubicBezTo>
                  <a:pt x="1627" y="46"/>
                  <a:pt x="1625" y="49"/>
                  <a:pt x="1623" y="49"/>
                </a:cubicBezTo>
                <a:cubicBezTo>
                  <a:pt x="1622" y="50"/>
                  <a:pt x="1622" y="50"/>
                  <a:pt x="1621" y="50"/>
                </a:cubicBezTo>
                <a:cubicBezTo>
                  <a:pt x="1620" y="50"/>
                  <a:pt x="1620" y="50"/>
                  <a:pt x="1620" y="49"/>
                </a:cubicBezTo>
                <a:cubicBezTo>
                  <a:pt x="1618" y="49"/>
                  <a:pt x="1616" y="47"/>
                  <a:pt x="1614" y="45"/>
                </a:cubicBezTo>
                <a:cubicBezTo>
                  <a:pt x="1612" y="42"/>
                  <a:pt x="1611" y="40"/>
                  <a:pt x="1611" y="39"/>
                </a:cubicBezTo>
                <a:cubicBezTo>
                  <a:pt x="1612" y="39"/>
                  <a:pt x="1614" y="37"/>
                  <a:pt x="1619" y="34"/>
                </a:cubicBezTo>
                <a:cubicBezTo>
                  <a:pt x="1610" y="33"/>
                  <a:pt x="1606" y="32"/>
                  <a:pt x="1606" y="32"/>
                </a:cubicBezTo>
                <a:cubicBezTo>
                  <a:pt x="1603" y="31"/>
                  <a:pt x="1601" y="29"/>
                  <a:pt x="1602" y="25"/>
                </a:cubicBezTo>
                <a:cubicBezTo>
                  <a:pt x="1602" y="23"/>
                  <a:pt x="1604" y="21"/>
                  <a:pt x="1607" y="18"/>
                </a:cubicBezTo>
                <a:cubicBezTo>
                  <a:pt x="1610" y="16"/>
                  <a:pt x="1613" y="15"/>
                  <a:pt x="1616" y="15"/>
                </a:cubicBezTo>
                <a:cubicBezTo>
                  <a:pt x="1616" y="15"/>
                  <a:pt x="1619" y="18"/>
                  <a:pt x="1624" y="21"/>
                </a:cubicBezTo>
                <a:cubicBezTo>
                  <a:pt x="1624" y="23"/>
                  <a:pt x="1624" y="25"/>
                  <a:pt x="1623" y="27"/>
                </a:cubicBezTo>
                <a:cubicBezTo>
                  <a:pt x="1624" y="25"/>
                  <a:pt x="1624" y="23"/>
                  <a:pt x="1624" y="21"/>
                </a:cubicBezTo>
                <a:cubicBezTo>
                  <a:pt x="1625" y="22"/>
                  <a:pt x="1626" y="23"/>
                  <a:pt x="1627" y="24"/>
                </a:cubicBezTo>
                <a:cubicBezTo>
                  <a:pt x="1626" y="23"/>
                  <a:pt x="1625" y="22"/>
                  <a:pt x="1624" y="21"/>
                </a:cubicBezTo>
                <a:cubicBezTo>
                  <a:pt x="1623" y="19"/>
                  <a:pt x="1623" y="16"/>
                  <a:pt x="1621" y="14"/>
                </a:cubicBezTo>
                <a:cubicBezTo>
                  <a:pt x="1618" y="11"/>
                  <a:pt x="1617" y="8"/>
                  <a:pt x="1616" y="6"/>
                </a:cubicBezTo>
                <a:cubicBezTo>
                  <a:pt x="1616" y="6"/>
                  <a:pt x="1617" y="6"/>
                  <a:pt x="1617" y="6"/>
                </a:cubicBezTo>
                <a:lnTo>
                  <a:pt x="1617" y="6"/>
                </a:lnTo>
                <a:close/>
                <a:moveTo>
                  <a:pt x="1659" y="35"/>
                </a:moveTo>
                <a:lnTo>
                  <a:pt x="1659" y="35"/>
                </a:lnTo>
                <a:cubicBezTo>
                  <a:pt x="1655" y="37"/>
                  <a:pt x="1653" y="38"/>
                  <a:pt x="1653" y="39"/>
                </a:cubicBezTo>
                <a:lnTo>
                  <a:pt x="1648" y="39"/>
                </a:lnTo>
                <a:cubicBezTo>
                  <a:pt x="1647" y="35"/>
                  <a:pt x="1648" y="32"/>
                  <a:pt x="1650" y="31"/>
                </a:cubicBezTo>
                <a:cubicBezTo>
                  <a:pt x="1651" y="31"/>
                  <a:pt x="1652" y="30"/>
                  <a:pt x="1653" y="30"/>
                </a:cubicBezTo>
                <a:cubicBezTo>
                  <a:pt x="1655" y="31"/>
                  <a:pt x="1657" y="33"/>
                  <a:pt x="1659" y="35"/>
                </a:cubicBezTo>
                <a:lnTo>
                  <a:pt x="1659" y="35"/>
                </a:lnTo>
                <a:close/>
                <a:moveTo>
                  <a:pt x="1616" y="56"/>
                </a:moveTo>
                <a:lnTo>
                  <a:pt x="1616" y="56"/>
                </a:lnTo>
                <a:cubicBezTo>
                  <a:pt x="1616" y="58"/>
                  <a:pt x="1615" y="60"/>
                  <a:pt x="1614" y="61"/>
                </a:cubicBezTo>
                <a:cubicBezTo>
                  <a:pt x="1614" y="62"/>
                  <a:pt x="1613" y="63"/>
                  <a:pt x="1611" y="62"/>
                </a:cubicBezTo>
                <a:cubicBezTo>
                  <a:pt x="1610" y="62"/>
                  <a:pt x="1609" y="61"/>
                  <a:pt x="1608" y="60"/>
                </a:cubicBezTo>
                <a:cubicBezTo>
                  <a:pt x="1607" y="58"/>
                  <a:pt x="1606" y="55"/>
                  <a:pt x="1607" y="52"/>
                </a:cubicBezTo>
                <a:cubicBezTo>
                  <a:pt x="1607" y="50"/>
                  <a:pt x="1607" y="48"/>
                  <a:pt x="1608" y="48"/>
                </a:cubicBezTo>
                <a:cubicBezTo>
                  <a:pt x="1609" y="48"/>
                  <a:pt x="1611" y="49"/>
                  <a:pt x="1613" y="50"/>
                </a:cubicBezTo>
                <a:cubicBezTo>
                  <a:pt x="1614" y="50"/>
                  <a:pt x="1614" y="51"/>
                  <a:pt x="1615" y="51"/>
                </a:cubicBezTo>
                <a:cubicBezTo>
                  <a:pt x="1616" y="52"/>
                  <a:pt x="1616" y="54"/>
                  <a:pt x="1616" y="56"/>
                </a:cubicBezTo>
                <a:lnTo>
                  <a:pt x="1616" y="56"/>
                </a:lnTo>
                <a:close/>
                <a:moveTo>
                  <a:pt x="1933" y="208"/>
                </a:moveTo>
                <a:lnTo>
                  <a:pt x="1933" y="208"/>
                </a:lnTo>
                <a:cubicBezTo>
                  <a:pt x="1935" y="210"/>
                  <a:pt x="1936" y="212"/>
                  <a:pt x="1937" y="215"/>
                </a:cubicBezTo>
                <a:cubicBezTo>
                  <a:pt x="1938" y="218"/>
                  <a:pt x="1938" y="220"/>
                  <a:pt x="1938" y="223"/>
                </a:cubicBezTo>
                <a:cubicBezTo>
                  <a:pt x="1937" y="227"/>
                  <a:pt x="1935" y="229"/>
                  <a:pt x="1930" y="230"/>
                </a:cubicBezTo>
                <a:cubicBezTo>
                  <a:pt x="1928" y="230"/>
                  <a:pt x="1927" y="230"/>
                  <a:pt x="1924" y="230"/>
                </a:cubicBezTo>
                <a:cubicBezTo>
                  <a:pt x="1923" y="230"/>
                  <a:pt x="1922" y="229"/>
                  <a:pt x="1920" y="227"/>
                </a:cubicBezTo>
                <a:cubicBezTo>
                  <a:pt x="1919" y="225"/>
                  <a:pt x="1918" y="222"/>
                  <a:pt x="1918" y="219"/>
                </a:cubicBezTo>
                <a:cubicBezTo>
                  <a:pt x="1918" y="217"/>
                  <a:pt x="1918" y="215"/>
                  <a:pt x="1918" y="212"/>
                </a:cubicBezTo>
                <a:cubicBezTo>
                  <a:pt x="1917" y="209"/>
                  <a:pt x="1917" y="207"/>
                  <a:pt x="1917" y="205"/>
                </a:cubicBezTo>
                <a:cubicBezTo>
                  <a:pt x="1918" y="203"/>
                  <a:pt x="1920" y="201"/>
                  <a:pt x="1923" y="201"/>
                </a:cubicBezTo>
                <a:cubicBezTo>
                  <a:pt x="1929" y="204"/>
                  <a:pt x="1932" y="207"/>
                  <a:pt x="1933" y="208"/>
                </a:cubicBezTo>
                <a:lnTo>
                  <a:pt x="1933" y="208"/>
                </a:lnTo>
                <a:close/>
                <a:moveTo>
                  <a:pt x="1479" y="96"/>
                </a:moveTo>
                <a:lnTo>
                  <a:pt x="1479" y="96"/>
                </a:lnTo>
                <a:cubicBezTo>
                  <a:pt x="1479" y="95"/>
                  <a:pt x="1479" y="95"/>
                  <a:pt x="1480" y="95"/>
                </a:cubicBezTo>
                <a:cubicBezTo>
                  <a:pt x="1480" y="94"/>
                  <a:pt x="1481" y="92"/>
                  <a:pt x="1481" y="89"/>
                </a:cubicBezTo>
                <a:cubicBezTo>
                  <a:pt x="1481" y="86"/>
                  <a:pt x="1483" y="85"/>
                  <a:pt x="1485" y="86"/>
                </a:cubicBezTo>
                <a:cubicBezTo>
                  <a:pt x="1485" y="86"/>
                  <a:pt x="1487" y="87"/>
                  <a:pt x="1490" y="89"/>
                </a:cubicBezTo>
                <a:cubicBezTo>
                  <a:pt x="1490" y="89"/>
                  <a:pt x="1490" y="90"/>
                  <a:pt x="1490" y="90"/>
                </a:cubicBezTo>
                <a:cubicBezTo>
                  <a:pt x="1490" y="94"/>
                  <a:pt x="1485" y="103"/>
                  <a:pt x="1476" y="118"/>
                </a:cubicBezTo>
                <a:cubicBezTo>
                  <a:pt x="1473" y="123"/>
                  <a:pt x="1470" y="128"/>
                  <a:pt x="1468" y="131"/>
                </a:cubicBezTo>
                <a:cubicBezTo>
                  <a:pt x="1463" y="139"/>
                  <a:pt x="1459" y="143"/>
                  <a:pt x="1456" y="143"/>
                </a:cubicBezTo>
                <a:cubicBezTo>
                  <a:pt x="1452" y="141"/>
                  <a:pt x="1450" y="140"/>
                  <a:pt x="1448" y="140"/>
                </a:cubicBezTo>
                <a:cubicBezTo>
                  <a:pt x="1445" y="140"/>
                  <a:pt x="1443" y="141"/>
                  <a:pt x="1443" y="143"/>
                </a:cubicBezTo>
                <a:cubicBezTo>
                  <a:pt x="1443" y="146"/>
                  <a:pt x="1443" y="149"/>
                  <a:pt x="1442" y="150"/>
                </a:cubicBezTo>
                <a:cubicBezTo>
                  <a:pt x="1441" y="150"/>
                  <a:pt x="1440" y="150"/>
                  <a:pt x="1439" y="149"/>
                </a:cubicBezTo>
                <a:cubicBezTo>
                  <a:pt x="1437" y="148"/>
                  <a:pt x="1436" y="147"/>
                  <a:pt x="1435" y="147"/>
                </a:cubicBezTo>
                <a:cubicBezTo>
                  <a:pt x="1434" y="147"/>
                  <a:pt x="1432" y="148"/>
                  <a:pt x="1430" y="149"/>
                </a:cubicBezTo>
                <a:cubicBezTo>
                  <a:pt x="1427" y="152"/>
                  <a:pt x="1425" y="153"/>
                  <a:pt x="1423" y="154"/>
                </a:cubicBezTo>
                <a:cubicBezTo>
                  <a:pt x="1423" y="153"/>
                  <a:pt x="1423" y="153"/>
                  <a:pt x="1423" y="153"/>
                </a:cubicBezTo>
                <a:cubicBezTo>
                  <a:pt x="1422" y="152"/>
                  <a:pt x="1422" y="150"/>
                  <a:pt x="1422" y="148"/>
                </a:cubicBezTo>
                <a:cubicBezTo>
                  <a:pt x="1422" y="147"/>
                  <a:pt x="1422" y="145"/>
                  <a:pt x="1422" y="143"/>
                </a:cubicBezTo>
                <a:cubicBezTo>
                  <a:pt x="1421" y="139"/>
                  <a:pt x="1421" y="135"/>
                  <a:pt x="1420" y="132"/>
                </a:cubicBezTo>
                <a:lnTo>
                  <a:pt x="1417" y="131"/>
                </a:lnTo>
                <a:cubicBezTo>
                  <a:pt x="1412" y="135"/>
                  <a:pt x="1409" y="136"/>
                  <a:pt x="1408" y="136"/>
                </a:cubicBezTo>
                <a:cubicBezTo>
                  <a:pt x="1406" y="136"/>
                  <a:pt x="1405" y="134"/>
                  <a:pt x="1405" y="132"/>
                </a:cubicBezTo>
                <a:cubicBezTo>
                  <a:pt x="1405" y="129"/>
                  <a:pt x="1406" y="127"/>
                  <a:pt x="1408" y="126"/>
                </a:cubicBezTo>
                <a:cubicBezTo>
                  <a:pt x="1411" y="123"/>
                  <a:pt x="1414" y="121"/>
                  <a:pt x="1414" y="120"/>
                </a:cubicBezTo>
                <a:cubicBezTo>
                  <a:pt x="1415" y="121"/>
                  <a:pt x="1416" y="122"/>
                  <a:pt x="1417" y="122"/>
                </a:cubicBezTo>
                <a:cubicBezTo>
                  <a:pt x="1420" y="122"/>
                  <a:pt x="1421" y="121"/>
                  <a:pt x="1421" y="119"/>
                </a:cubicBezTo>
                <a:cubicBezTo>
                  <a:pt x="1421" y="116"/>
                  <a:pt x="1422" y="115"/>
                  <a:pt x="1425" y="115"/>
                </a:cubicBezTo>
                <a:cubicBezTo>
                  <a:pt x="1426" y="116"/>
                  <a:pt x="1428" y="116"/>
                  <a:pt x="1432" y="117"/>
                </a:cubicBezTo>
                <a:cubicBezTo>
                  <a:pt x="1432" y="115"/>
                  <a:pt x="1432" y="113"/>
                  <a:pt x="1432" y="111"/>
                </a:cubicBezTo>
                <a:cubicBezTo>
                  <a:pt x="1432" y="110"/>
                  <a:pt x="1433" y="109"/>
                  <a:pt x="1435" y="110"/>
                </a:cubicBezTo>
                <a:cubicBezTo>
                  <a:pt x="1437" y="110"/>
                  <a:pt x="1438" y="110"/>
                  <a:pt x="1438" y="111"/>
                </a:cubicBezTo>
                <a:cubicBezTo>
                  <a:pt x="1439" y="111"/>
                  <a:pt x="1439" y="113"/>
                  <a:pt x="1439" y="116"/>
                </a:cubicBezTo>
                <a:cubicBezTo>
                  <a:pt x="1438" y="119"/>
                  <a:pt x="1437" y="121"/>
                  <a:pt x="1437" y="122"/>
                </a:cubicBezTo>
                <a:cubicBezTo>
                  <a:pt x="1437" y="124"/>
                  <a:pt x="1439" y="125"/>
                  <a:pt x="1443" y="125"/>
                </a:cubicBezTo>
                <a:cubicBezTo>
                  <a:pt x="1444" y="125"/>
                  <a:pt x="1445" y="124"/>
                  <a:pt x="1447" y="123"/>
                </a:cubicBezTo>
                <a:cubicBezTo>
                  <a:pt x="1449" y="122"/>
                  <a:pt x="1450" y="121"/>
                  <a:pt x="1450" y="120"/>
                </a:cubicBezTo>
                <a:cubicBezTo>
                  <a:pt x="1451" y="119"/>
                  <a:pt x="1450" y="118"/>
                  <a:pt x="1449" y="116"/>
                </a:cubicBezTo>
                <a:cubicBezTo>
                  <a:pt x="1448" y="115"/>
                  <a:pt x="1447" y="113"/>
                  <a:pt x="1448" y="110"/>
                </a:cubicBezTo>
                <a:cubicBezTo>
                  <a:pt x="1448" y="105"/>
                  <a:pt x="1450" y="102"/>
                  <a:pt x="1452" y="102"/>
                </a:cubicBezTo>
                <a:cubicBezTo>
                  <a:pt x="1453" y="102"/>
                  <a:pt x="1455" y="105"/>
                  <a:pt x="1458" y="109"/>
                </a:cubicBezTo>
                <a:cubicBezTo>
                  <a:pt x="1461" y="114"/>
                  <a:pt x="1462" y="116"/>
                  <a:pt x="1463" y="116"/>
                </a:cubicBezTo>
                <a:cubicBezTo>
                  <a:pt x="1465" y="113"/>
                  <a:pt x="1468" y="111"/>
                  <a:pt x="1471" y="108"/>
                </a:cubicBezTo>
                <a:cubicBezTo>
                  <a:pt x="1473" y="106"/>
                  <a:pt x="1474" y="105"/>
                  <a:pt x="1474" y="103"/>
                </a:cubicBezTo>
                <a:cubicBezTo>
                  <a:pt x="1474" y="102"/>
                  <a:pt x="1473" y="100"/>
                  <a:pt x="1470" y="97"/>
                </a:cubicBezTo>
                <a:lnTo>
                  <a:pt x="1471" y="92"/>
                </a:lnTo>
                <a:cubicBezTo>
                  <a:pt x="1472" y="92"/>
                  <a:pt x="1475" y="93"/>
                  <a:pt x="1479" y="96"/>
                </a:cubicBezTo>
                <a:lnTo>
                  <a:pt x="1479" y="96"/>
                </a:lnTo>
                <a:close/>
                <a:moveTo>
                  <a:pt x="1571" y="29"/>
                </a:moveTo>
                <a:lnTo>
                  <a:pt x="1571" y="29"/>
                </a:lnTo>
                <a:cubicBezTo>
                  <a:pt x="1571" y="33"/>
                  <a:pt x="1571" y="36"/>
                  <a:pt x="1571" y="38"/>
                </a:cubicBezTo>
                <a:lnTo>
                  <a:pt x="1570" y="39"/>
                </a:lnTo>
                <a:cubicBezTo>
                  <a:pt x="1570" y="38"/>
                  <a:pt x="1568" y="37"/>
                  <a:pt x="1566" y="34"/>
                </a:cubicBezTo>
                <a:cubicBezTo>
                  <a:pt x="1564" y="32"/>
                  <a:pt x="1563" y="30"/>
                  <a:pt x="1563" y="27"/>
                </a:cubicBezTo>
                <a:cubicBezTo>
                  <a:pt x="1565" y="28"/>
                  <a:pt x="1568" y="28"/>
                  <a:pt x="1571" y="29"/>
                </a:cubicBezTo>
                <a:lnTo>
                  <a:pt x="1571" y="29"/>
                </a:lnTo>
                <a:close/>
                <a:moveTo>
                  <a:pt x="1537" y="52"/>
                </a:moveTo>
                <a:lnTo>
                  <a:pt x="1537" y="52"/>
                </a:lnTo>
                <a:cubicBezTo>
                  <a:pt x="1536" y="53"/>
                  <a:pt x="1535" y="55"/>
                  <a:pt x="1533" y="58"/>
                </a:cubicBezTo>
                <a:cubicBezTo>
                  <a:pt x="1532" y="60"/>
                  <a:pt x="1530" y="61"/>
                  <a:pt x="1527" y="61"/>
                </a:cubicBezTo>
                <a:cubicBezTo>
                  <a:pt x="1525" y="61"/>
                  <a:pt x="1524" y="60"/>
                  <a:pt x="1523" y="59"/>
                </a:cubicBezTo>
                <a:cubicBezTo>
                  <a:pt x="1523" y="58"/>
                  <a:pt x="1522" y="56"/>
                  <a:pt x="1522" y="52"/>
                </a:cubicBezTo>
                <a:cubicBezTo>
                  <a:pt x="1524" y="52"/>
                  <a:pt x="1527" y="52"/>
                  <a:pt x="1530" y="52"/>
                </a:cubicBezTo>
                <a:cubicBezTo>
                  <a:pt x="1532" y="52"/>
                  <a:pt x="1535" y="52"/>
                  <a:pt x="1537" y="51"/>
                </a:cubicBezTo>
                <a:lnTo>
                  <a:pt x="1537" y="52"/>
                </a:lnTo>
                <a:lnTo>
                  <a:pt x="1537" y="52"/>
                </a:lnTo>
                <a:close/>
                <a:moveTo>
                  <a:pt x="1522" y="52"/>
                </a:moveTo>
                <a:lnTo>
                  <a:pt x="1522" y="52"/>
                </a:lnTo>
                <a:cubicBezTo>
                  <a:pt x="1523" y="52"/>
                  <a:pt x="1526" y="52"/>
                  <a:pt x="1530" y="51"/>
                </a:cubicBezTo>
                <a:lnTo>
                  <a:pt x="1530" y="52"/>
                </a:lnTo>
                <a:cubicBezTo>
                  <a:pt x="1527" y="52"/>
                  <a:pt x="1524" y="52"/>
                  <a:pt x="1522" y="52"/>
                </a:cubicBezTo>
                <a:lnTo>
                  <a:pt x="1522" y="52"/>
                </a:lnTo>
                <a:close/>
                <a:moveTo>
                  <a:pt x="1525" y="33"/>
                </a:moveTo>
                <a:lnTo>
                  <a:pt x="1525" y="33"/>
                </a:lnTo>
                <a:lnTo>
                  <a:pt x="1525" y="33"/>
                </a:lnTo>
                <a:cubicBezTo>
                  <a:pt x="1526" y="33"/>
                  <a:pt x="1527" y="33"/>
                  <a:pt x="1527" y="33"/>
                </a:cubicBezTo>
                <a:cubicBezTo>
                  <a:pt x="1526" y="33"/>
                  <a:pt x="1526" y="33"/>
                  <a:pt x="1525" y="33"/>
                </a:cubicBezTo>
                <a:lnTo>
                  <a:pt x="1525" y="33"/>
                </a:lnTo>
                <a:close/>
                <a:moveTo>
                  <a:pt x="1528" y="34"/>
                </a:moveTo>
                <a:lnTo>
                  <a:pt x="1528" y="34"/>
                </a:lnTo>
                <a:cubicBezTo>
                  <a:pt x="1526" y="36"/>
                  <a:pt x="1525" y="37"/>
                  <a:pt x="1524" y="36"/>
                </a:cubicBezTo>
                <a:cubicBezTo>
                  <a:pt x="1522" y="36"/>
                  <a:pt x="1521" y="36"/>
                  <a:pt x="1520" y="35"/>
                </a:cubicBezTo>
                <a:cubicBezTo>
                  <a:pt x="1520" y="35"/>
                  <a:pt x="1521" y="34"/>
                  <a:pt x="1521" y="34"/>
                </a:cubicBezTo>
                <a:cubicBezTo>
                  <a:pt x="1522" y="34"/>
                  <a:pt x="1524" y="34"/>
                  <a:pt x="1525" y="33"/>
                </a:cubicBezTo>
                <a:cubicBezTo>
                  <a:pt x="1526" y="33"/>
                  <a:pt x="1526" y="33"/>
                  <a:pt x="1527" y="33"/>
                </a:cubicBezTo>
                <a:cubicBezTo>
                  <a:pt x="1527" y="33"/>
                  <a:pt x="1528" y="33"/>
                  <a:pt x="1528" y="34"/>
                </a:cubicBezTo>
                <a:lnTo>
                  <a:pt x="1528" y="34"/>
                </a:lnTo>
                <a:close/>
                <a:moveTo>
                  <a:pt x="1526" y="45"/>
                </a:moveTo>
                <a:lnTo>
                  <a:pt x="1526" y="45"/>
                </a:lnTo>
                <a:lnTo>
                  <a:pt x="1526" y="46"/>
                </a:lnTo>
                <a:cubicBezTo>
                  <a:pt x="1525" y="47"/>
                  <a:pt x="1524" y="48"/>
                  <a:pt x="1521" y="50"/>
                </a:cubicBezTo>
                <a:cubicBezTo>
                  <a:pt x="1520" y="50"/>
                  <a:pt x="1518" y="51"/>
                  <a:pt x="1516" y="52"/>
                </a:cubicBezTo>
                <a:cubicBezTo>
                  <a:pt x="1514" y="50"/>
                  <a:pt x="1514" y="49"/>
                  <a:pt x="1514" y="48"/>
                </a:cubicBezTo>
                <a:cubicBezTo>
                  <a:pt x="1516" y="46"/>
                  <a:pt x="1519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2" y="44"/>
                  <a:pt x="1522" y="44"/>
                  <a:pt x="1522" y="44"/>
                </a:cubicBezTo>
                <a:cubicBezTo>
                  <a:pt x="1524" y="44"/>
                  <a:pt x="1525" y="45"/>
                  <a:pt x="1526" y="45"/>
                </a:cubicBezTo>
                <a:lnTo>
                  <a:pt x="1526" y="45"/>
                </a:lnTo>
                <a:close/>
                <a:moveTo>
                  <a:pt x="1525" y="104"/>
                </a:moveTo>
                <a:lnTo>
                  <a:pt x="1525" y="104"/>
                </a:lnTo>
                <a:cubicBezTo>
                  <a:pt x="1535" y="110"/>
                  <a:pt x="1539" y="115"/>
                  <a:pt x="1538" y="119"/>
                </a:cubicBezTo>
                <a:cubicBezTo>
                  <a:pt x="1531" y="134"/>
                  <a:pt x="1527" y="141"/>
                  <a:pt x="1525" y="140"/>
                </a:cubicBezTo>
                <a:cubicBezTo>
                  <a:pt x="1521" y="140"/>
                  <a:pt x="1517" y="136"/>
                  <a:pt x="1512" y="129"/>
                </a:cubicBezTo>
                <a:cubicBezTo>
                  <a:pt x="1511" y="127"/>
                  <a:pt x="1510" y="126"/>
                  <a:pt x="1509" y="124"/>
                </a:cubicBezTo>
                <a:cubicBezTo>
                  <a:pt x="1506" y="119"/>
                  <a:pt x="1505" y="114"/>
                  <a:pt x="1505" y="110"/>
                </a:cubicBezTo>
                <a:cubicBezTo>
                  <a:pt x="1505" y="107"/>
                  <a:pt x="1507" y="103"/>
                  <a:pt x="1509" y="100"/>
                </a:cubicBezTo>
                <a:cubicBezTo>
                  <a:pt x="1511" y="99"/>
                  <a:pt x="1512" y="97"/>
                  <a:pt x="1513" y="97"/>
                </a:cubicBezTo>
                <a:cubicBezTo>
                  <a:pt x="1516" y="98"/>
                  <a:pt x="1520" y="101"/>
                  <a:pt x="1525" y="104"/>
                </a:cubicBezTo>
                <a:lnTo>
                  <a:pt x="1525" y="104"/>
                </a:lnTo>
                <a:close/>
                <a:moveTo>
                  <a:pt x="1322" y="208"/>
                </a:moveTo>
                <a:lnTo>
                  <a:pt x="1322" y="208"/>
                </a:lnTo>
                <a:cubicBezTo>
                  <a:pt x="1327" y="209"/>
                  <a:pt x="1330" y="212"/>
                  <a:pt x="1330" y="215"/>
                </a:cubicBezTo>
                <a:cubicBezTo>
                  <a:pt x="1330" y="222"/>
                  <a:pt x="1333" y="228"/>
                  <a:pt x="1338" y="235"/>
                </a:cubicBezTo>
                <a:cubicBezTo>
                  <a:pt x="1335" y="239"/>
                  <a:pt x="1332" y="241"/>
                  <a:pt x="1330" y="242"/>
                </a:cubicBezTo>
                <a:cubicBezTo>
                  <a:pt x="1329" y="242"/>
                  <a:pt x="1328" y="242"/>
                  <a:pt x="1327" y="242"/>
                </a:cubicBezTo>
                <a:cubicBezTo>
                  <a:pt x="1322" y="238"/>
                  <a:pt x="1318" y="235"/>
                  <a:pt x="1317" y="234"/>
                </a:cubicBezTo>
                <a:cubicBezTo>
                  <a:pt x="1316" y="236"/>
                  <a:pt x="1315" y="238"/>
                  <a:pt x="1313" y="238"/>
                </a:cubicBezTo>
                <a:cubicBezTo>
                  <a:pt x="1309" y="239"/>
                  <a:pt x="1307" y="240"/>
                  <a:pt x="1307" y="241"/>
                </a:cubicBezTo>
                <a:cubicBezTo>
                  <a:pt x="1307" y="240"/>
                  <a:pt x="1306" y="233"/>
                  <a:pt x="1306" y="220"/>
                </a:cubicBezTo>
                <a:cubicBezTo>
                  <a:pt x="1307" y="216"/>
                  <a:pt x="1308" y="212"/>
                  <a:pt x="1311" y="210"/>
                </a:cubicBezTo>
                <a:cubicBezTo>
                  <a:pt x="1312" y="209"/>
                  <a:pt x="1314" y="208"/>
                  <a:pt x="1317" y="207"/>
                </a:cubicBezTo>
                <a:cubicBezTo>
                  <a:pt x="1319" y="207"/>
                  <a:pt x="1320" y="208"/>
                  <a:pt x="1322" y="208"/>
                </a:cubicBezTo>
                <a:lnTo>
                  <a:pt x="1322" y="208"/>
                </a:lnTo>
                <a:close/>
                <a:moveTo>
                  <a:pt x="1273" y="220"/>
                </a:moveTo>
                <a:lnTo>
                  <a:pt x="1273" y="220"/>
                </a:lnTo>
                <a:cubicBezTo>
                  <a:pt x="1273" y="223"/>
                  <a:pt x="1275" y="227"/>
                  <a:pt x="1278" y="230"/>
                </a:cubicBezTo>
                <a:cubicBezTo>
                  <a:pt x="1280" y="232"/>
                  <a:pt x="1282" y="234"/>
                  <a:pt x="1285" y="237"/>
                </a:cubicBezTo>
                <a:lnTo>
                  <a:pt x="1277" y="244"/>
                </a:lnTo>
                <a:cubicBezTo>
                  <a:pt x="1277" y="243"/>
                  <a:pt x="1276" y="242"/>
                  <a:pt x="1275" y="242"/>
                </a:cubicBezTo>
                <a:cubicBezTo>
                  <a:pt x="1273" y="242"/>
                  <a:pt x="1271" y="242"/>
                  <a:pt x="1270" y="243"/>
                </a:cubicBezTo>
                <a:cubicBezTo>
                  <a:pt x="1268" y="244"/>
                  <a:pt x="1267" y="244"/>
                  <a:pt x="1266" y="244"/>
                </a:cubicBezTo>
                <a:cubicBezTo>
                  <a:pt x="1265" y="245"/>
                  <a:pt x="1265" y="245"/>
                  <a:pt x="1265" y="245"/>
                </a:cubicBezTo>
                <a:cubicBezTo>
                  <a:pt x="1265" y="244"/>
                  <a:pt x="1265" y="244"/>
                  <a:pt x="1264" y="244"/>
                </a:cubicBezTo>
                <a:cubicBezTo>
                  <a:pt x="1265" y="239"/>
                  <a:pt x="1263" y="232"/>
                  <a:pt x="1260" y="224"/>
                </a:cubicBezTo>
                <a:cubicBezTo>
                  <a:pt x="1259" y="224"/>
                  <a:pt x="1256" y="218"/>
                  <a:pt x="1250" y="208"/>
                </a:cubicBezTo>
                <a:lnTo>
                  <a:pt x="1254" y="208"/>
                </a:lnTo>
                <a:cubicBezTo>
                  <a:pt x="1260" y="210"/>
                  <a:pt x="1263" y="215"/>
                  <a:pt x="1263" y="222"/>
                </a:cubicBezTo>
                <a:cubicBezTo>
                  <a:pt x="1264" y="223"/>
                  <a:pt x="1266" y="224"/>
                  <a:pt x="1267" y="224"/>
                </a:cubicBezTo>
                <a:cubicBezTo>
                  <a:pt x="1268" y="224"/>
                  <a:pt x="1269" y="223"/>
                  <a:pt x="1270" y="222"/>
                </a:cubicBezTo>
                <a:cubicBezTo>
                  <a:pt x="1270" y="221"/>
                  <a:pt x="1272" y="220"/>
                  <a:pt x="1273" y="220"/>
                </a:cubicBezTo>
                <a:lnTo>
                  <a:pt x="1273" y="220"/>
                </a:lnTo>
                <a:close/>
                <a:moveTo>
                  <a:pt x="1251" y="236"/>
                </a:moveTo>
                <a:lnTo>
                  <a:pt x="1251" y="236"/>
                </a:lnTo>
                <a:cubicBezTo>
                  <a:pt x="1243" y="236"/>
                  <a:pt x="1239" y="235"/>
                  <a:pt x="1237" y="235"/>
                </a:cubicBezTo>
                <a:lnTo>
                  <a:pt x="1237" y="234"/>
                </a:lnTo>
                <a:cubicBezTo>
                  <a:pt x="1238" y="233"/>
                  <a:pt x="1240" y="231"/>
                  <a:pt x="1242" y="226"/>
                </a:cubicBezTo>
                <a:cubicBezTo>
                  <a:pt x="1243" y="226"/>
                  <a:pt x="1245" y="227"/>
                  <a:pt x="1245" y="228"/>
                </a:cubicBezTo>
                <a:cubicBezTo>
                  <a:pt x="1249" y="230"/>
                  <a:pt x="1250" y="233"/>
                  <a:pt x="1251" y="236"/>
                </a:cubicBezTo>
                <a:lnTo>
                  <a:pt x="1251" y="236"/>
                </a:lnTo>
                <a:close/>
                <a:moveTo>
                  <a:pt x="1229" y="227"/>
                </a:moveTo>
                <a:lnTo>
                  <a:pt x="1229" y="227"/>
                </a:lnTo>
                <a:cubicBezTo>
                  <a:pt x="1228" y="230"/>
                  <a:pt x="1227" y="231"/>
                  <a:pt x="1225" y="232"/>
                </a:cubicBezTo>
                <a:cubicBezTo>
                  <a:pt x="1224" y="233"/>
                  <a:pt x="1222" y="233"/>
                  <a:pt x="1221" y="233"/>
                </a:cubicBezTo>
                <a:cubicBezTo>
                  <a:pt x="1220" y="233"/>
                  <a:pt x="1220" y="232"/>
                  <a:pt x="1220" y="232"/>
                </a:cubicBezTo>
                <a:cubicBezTo>
                  <a:pt x="1219" y="232"/>
                  <a:pt x="1219" y="231"/>
                  <a:pt x="1218" y="230"/>
                </a:cubicBezTo>
                <a:cubicBezTo>
                  <a:pt x="1217" y="228"/>
                  <a:pt x="1217" y="227"/>
                  <a:pt x="1217" y="225"/>
                </a:cubicBezTo>
                <a:cubicBezTo>
                  <a:pt x="1221" y="220"/>
                  <a:pt x="1223" y="218"/>
                  <a:pt x="1223" y="217"/>
                </a:cubicBezTo>
                <a:cubicBezTo>
                  <a:pt x="1223" y="216"/>
                  <a:pt x="1222" y="215"/>
                  <a:pt x="1222" y="214"/>
                </a:cubicBezTo>
                <a:cubicBezTo>
                  <a:pt x="1221" y="213"/>
                  <a:pt x="1221" y="212"/>
                  <a:pt x="1221" y="211"/>
                </a:cubicBezTo>
                <a:cubicBezTo>
                  <a:pt x="1224" y="211"/>
                  <a:pt x="1227" y="211"/>
                  <a:pt x="1232" y="212"/>
                </a:cubicBezTo>
                <a:cubicBezTo>
                  <a:pt x="1232" y="215"/>
                  <a:pt x="1233" y="217"/>
                  <a:pt x="1233" y="217"/>
                </a:cubicBezTo>
                <a:cubicBezTo>
                  <a:pt x="1232" y="219"/>
                  <a:pt x="1232" y="221"/>
                  <a:pt x="1232" y="223"/>
                </a:cubicBezTo>
                <a:cubicBezTo>
                  <a:pt x="1231" y="224"/>
                  <a:pt x="1230" y="226"/>
                  <a:pt x="1229" y="227"/>
                </a:cubicBezTo>
                <a:lnTo>
                  <a:pt x="1229" y="227"/>
                </a:lnTo>
                <a:close/>
                <a:moveTo>
                  <a:pt x="1249" y="246"/>
                </a:moveTo>
                <a:lnTo>
                  <a:pt x="1249" y="246"/>
                </a:lnTo>
                <a:cubicBezTo>
                  <a:pt x="1251" y="246"/>
                  <a:pt x="1252" y="247"/>
                  <a:pt x="1252" y="250"/>
                </a:cubicBezTo>
                <a:cubicBezTo>
                  <a:pt x="1253" y="252"/>
                  <a:pt x="1253" y="254"/>
                  <a:pt x="1252" y="256"/>
                </a:cubicBezTo>
                <a:cubicBezTo>
                  <a:pt x="1253" y="257"/>
                  <a:pt x="1255" y="257"/>
                  <a:pt x="1257" y="258"/>
                </a:cubicBezTo>
                <a:cubicBezTo>
                  <a:pt x="1256" y="259"/>
                  <a:pt x="1254" y="262"/>
                  <a:pt x="1251" y="267"/>
                </a:cubicBezTo>
                <a:cubicBezTo>
                  <a:pt x="1248" y="270"/>
                  <a:pt x="1247" y="273"/>
                  <a:pt x="1246" y="277"/>
                </a:cubicBezTo>
                <a:cubicBezTo>
                  <a:pt x="1246" y="278"/>
                  <a:pt x="1247" y="279"/>
                  <a:pt x="1247" y="280"/>
                </a:cubicBezTo>
                <a:cubicBezTo>
                  <a:pt x="1247" y="283"/>
                  <a:pt x="1248" y="286"/>
                  <a:pt x="1247" y="288"/>
                </a:cubicBezTo>
                <a:cubicBezTo>
                  <a:pt x="1242" y="292"/>
                  <a:pt x="1238" y="295"/>
                  <a:pt x="1235" y="297"/>
                </a:cubicBezTo>
                <a:cubicBezTo>
                  <a:pt x="1232" y="299"/>
                  <a:pt x="1230" y="300"/>
                  <a:pt x="1229" y="300"/>
                </a:cubicBezTo>
                <a:cubicBezTo>
                  <a:pt x="1227" y="300"/>
                  <a:pt x="1224" y="298"/>
                  <a:pt x="1222" y="294"/>
                </a:cubicBezTo>
                <a:cubicBezTo>
                  <a:pt x="1220" y="292"/>
                  <a:pt x="1218" y="288"/>
                  <a:pt x="1216" y="284"/>
                </a:cubicBezTo>
                <a:cubicBezTo>
                  <a:pt x="1216" y="283"/>
                  <a:pt x="1213" y="281"/>
                  <a:pt x="1209" y="278"/>
                </a:cubicBezTo>
                <a:cubicBezTo>
                  <a:pt x="1205" y="275"/>
                  <a:pt x="1203" y="274"/>
                  <a:pt x="1202" y="272"/>
                </a:cubicBezTo>
                <a:cubicBezTo>
                  <a:pt x="1203" y="269"/>
                  <a:pt x="1206" y="268"/>
                  <a:pt x="1209" y="268"/>
                </a:cubicBezTo>
                <a:lnTo>
                  <a:pt x="1209" y="264"/>
                </a:lnTo>
                <a:cubicBezTo>
                  <a:pt x="1207" y="262"/>
                  <a:pt x="1206" y="260"/>
                  <a:pt x="1206" y="257"/>
                </a:cubicBezTo>
                <a:lnTo>
                  <a:pt x="1206" y="257"/>
                </a:lnTo>
                <a:cubicBezTo>
                  <a:pt x="1207" y="256"/>
                  <a:pt x="1208" y="254"/>
                  <a:pt x="1211" y="254"/>
                </a:cubicBezTo>
                <a:cubicBezTo>
                  <a:pt x="1212" y="253"/>
                  <a:pt x="1213" y="253"/>
                  <a:pt x="1214" y="253"/>
                </a:cubicBezTo>
                <a:cubicBezTo>
                  <a:pt x="1219" y="252"/>
                  <a:pt x="1222" y="252"/>
                  <a:pt x="1223" y="253"/>
                </a:cubicBezTo>
                <a:lnTo>
                  <a:pt x="1224" y="249"/>
                </a:lnTo>
                <a:cubicBezTo>
                  <a:pt x="1223" y="247"/>
                  <a:pt x="1222" y="245"/>
                  <a:pt x="1223" y="241"/>
                </a:cubicBezTo>
                <a:cubicBezTo>
                  <a:pt x="1224" y="240"/>
                  <a:pt x="1225" y="240"/>
                  <a:pt x="1227" y="239"/>
                </a:cubicBezTo>
                <a:cubicBezTo>
                  <a:pt x="1229" y="239"/>
                  <a:pt x="1231" y="239"/>
                  <a:pt x="1234" y="238"/>
                </a:cubicBezTo>
                <a:cubicBezTo>
                  <a:pt x="1235" y="240"/>
                  <a:pt x="1236" y="243"/>
                  <a:pt x="1237" y="249"/>
                </a:cubicBezTo>
                <a:cubicBezTo>
                  <a:pt x="1238" y="253"/>
                  <a:pt x="1239" y="255"/>
                  <a:pt x="1241" y="255"/>
                </a:cubicBezTo>
                <a:cubicBezTo>
                  <a:pt x="1243" y="256"/>
                  <a:pt x="1244" y="254"/>
                  <a:pt x="1245" y="251"/>
                </a:cubicBezTo>
                <a:cubicBezTo>
                  <a:pt x="1246" y="248"/>
                  <a:pt x="1248" y="246"/>
                  <a:pt x="1249" y="246"/>
                </a:cubicBezTo>
                <a:lnTo>
                  <a:pt x="1249" y="246"/>
                </a:lnTo>
                <a:close/>
                <a:moveTo>
                  <a:pt x="1271" y="259"/>
                </a:moveTo>
                <a:lnTo>
                  <a:pt x="1271" y="259"/>
                </a:lnTo>
                <a:cubicBezTo>
                  <a:pt x="1271" y="259"/>
                  <a:pt x="1271" y="261"/>
                  <a:pt x="1271" y="262"/>
                </a:cubicBezTo>
                <a:cubicBezTo>
                  <a:pt x="1271" y="269"/>
                  <a:pt x="1270" y="274"/>
                  <a:pt x="1270" y="278"/>
                </a:cubicBezTo>
                <a:cubicBezTo>
                  <a:pt x="1270" y="278"/>
                  <a:pt x="1267" y="280"/>
                  <a:pt x="1262" y="283"/>
                </a:cubicBezTo>
                <a:cubicBezTo>
                  <a:pt x="1261" y="284"/>
                  <a:pt x="1260" y="284"/>
                  <a:pt x="1258" y="285"/>
                </a:cubicBezTo>
                <a:cubicBezTo>
                  <a:pt x="1256" y="286"/>
                  <a:pt x="1254" y="286"/>
                  <a:pt x="1253" y="286"/>
                </a:cubicBezTo>
                <a:cubicBezTo>
                  <a:pt x="1252" y="286"/>
                  <a:pt x="1251" y="285"/>
                  <a:pt x="1250" y="282"/>
                </a:cubicBezTo>
                <a:cubicBezTo>
                  <a:pt x="1250" y="281"/>
                  <a:pt x="1250" y="280"/>
                  <a:pt x="1250" y="279"/>
                </a:cubicBezTo>
                <a:cubicBezTo>
                  <a:pt x="1249" y="278"/>
                  <a:pt x="1249" y="277"/>
                  <a:pt x="1249" y="277"/>
                </a:cubicBezTo>
                <a:cubicBezTo>
                  <a:pt x="1249" y="276"/>
                  <a:pt x="1252" y="272"/>
                  <a:pt x="1258" y="267"/>
                </a:cubicBezTo>
                <a:cubicBezTo>
                  <a:pt x="1262" y="263"/>
                  <a:pt x="1265" y="260"/>
                  <a:pt x="1267" y="258"/>
                </a:cubicBezTo>
                <a:cubicBezTo>
                  <a:pt x="1267" y="258"/>
                  <a:pt x="1268" y="258"/>
                  <a:pt x="1268" y="257"/>
                </a:cubicBezTo>
                <a:cubicBezTo>
                  <a:pt x="1269" y="258"/>
                  <a:pt x="1271" y="258"/>
                  <a:pt x="1271" y="259"/>
                </a:cubicBezTo>
                <a:lnTo>
                  <a:pt x="1271" y="259"/>
                </a:lnTo>
                <a:close/>
                <a:moveTo>
                  <a:pt x="1203" y="249"/>
                </a:moveTo>
                <a:lnTo>
                  <a:pt x="1203" y="249"/>
                </a:lnTo>
                <a:cubicBezTo>
                  <a:pt x="1203" y="252"/>
                  <a:pt x="1202" y="254"/>
                  <a:pt x="1202" y="255"/>
                </a:cubicBezTo>
                <a:cubicBezTo>
                  <a:pt x="1201" y="256"/>
                  <a:pt x="1200" y="257"/>
                  <a:pt x="1199" y="257"/>
                </a:cubicBezTo>
                <a:cubicBezTo>
                  <a:pt x="1194" y="256"/>
                  <a:pt x="1191" y="249"/>
                  <a:pt x="1192" y="236"/>
                </a:cubicBezTo>
                <a:cubicBezTo>
                  <a:pt x="1193" y="236"/>
                  <a:pt x="1194" y="236"/>
                  <a:pt x="1195" y="236"/>
                </a:cubicBezTo>
                <a:cubicBezTo>
                  <a:pt x="1196" y="236"/>
                  <a:pt x="1198" y="238"/>
                  <a:pt x="1199" y="241"/>
                </a:cubicBezTo>
                <a:cubicBezTo>
                  <a:pt x="1202" y="244"/>
                  <a:pt x="1203" y="247"/>
                  <a:pt x="1203" y="248"/>
                </a:cubicBezTo>
                <a:lnTo>
                  <a:pt x="1203" y="249"/>
                </a:lnTo>
                <a:lnTo>
                  <a:pt x="1203" y="249"/>
                </a:lnTo>
                <a:close/>
                <a:moveTo>
                  <a:pt x="1211" y="237"/>
                </a:moveTo>
                <a:lnTo>
                  <a:pt x="1211" y="237"/>
                </a:lnTo>
                <a:cubicBezTo>
                  <a:pt x="1212" y="238"/>
                  <a:pt x="1213" y="238"/>
                  <a:pt x="1214" y="239"/>
                </a:cubicBezTo>
                <a:cubicBezTo>
                  <a:pt x="1215" y="240"/>
                  <a:pt x="1215" y="240"/>
                  <a:pt x="1215" y="241"/>
                </a:cubicBezTo>
                <a:cubicBezTo>
                  <a:pt x="1215" y="242"/>
                  <a:pt x="1214" y="243"/>
                  <a:pt x="1213" y="245"/>
                </a:cubicBezTo>
                <a:cubicBezTo>
                  <a:pt x="1211" y="246"/>
                  <a:pt x="1210" y="247"/>
                  <a:pt x="1209" y="247"/>
                </a:cubicBezTo>
                <a:cubicBezTo>
                  <a:pt x="1208" y="247"/>
                  <a:pt x="1208" y="247"/>
                  <a:pt x="1207" y="247"/>
                </a:cubicBezTo>
                <a:cubicBezTo>
                  <a:pt x="1208" y="245"/>
                  <a:pt x="1208" y="242"/>
                  <a:pt x="1207" y="239"/>
                </a:cubicBezTo>
                <a:cubicBezTo>
                  <a:pt x="1207" y="238"/>
                  <a:pt x="1208" y="237"/>
                  <a:pt x="1208" y="236"/>
                </a:cubicBezTo>
                <a:cubicBezTo>
                  <a:pt x="1209" y="237"/>
                  <a:pt x="1210" y="237"/>
                  <a:pt x="1211" y="237"/>
                </a:cubicBezTo>
                <a:lnTo>
                  <a:pt x="1211" y="237"/>
                </a:lnTo>
                <a:close/>
                <a:moveTo>
                  <a:pt x="1200" y="281"/>
                </a:moveTo>
                <a:lnTo>
                  <a:pt x="1200" y="281"/>
                </a:lnTo>
                <a:cubicBezTo>
                  <a:pt x="1203" y="282"/>
                  <a:pt x="1207" y="284"/>
                  <a:pt x="1213" y="289"/>
                </a:cubicBezTo>
                <a:cubicBezTo>
                  <a:pt x="1216" y="292"/>
                  <a:pt x="1218" y="294"/>
                  <a:pt x="1220" y="296"/>
                </a:cubicBezTo>
                <a:cubicBezTo>
                  <a:pt x="1221" y="298"/>
                  <a:pt x="1222" y="299"/>
                  <a:pt x="1222" y="301"/>
                </a:cubicBezTo>
                <a:cubicBezTo>
                  <a:pt x="1222" y="302"/>
                  <a:pt x="1220" y="304"/>
                  <a:pt x="1218" y="307"/>
                </a:cubicBezTo>
                <a:cubicBezTo>
                  <a:pt x="1217" y="309"/>
                  <a:pt x="1214" y="312"/>
                  <a:pt x="1212" y="315"/>
                </a:cubicBezTo>
                <a:cubicBezTo>
                  <a:pt x="1205" y="322"/>
                  <a:pt x="1202" y="327"/>
                  <a:pt x="1201" y="329"/>
                </a:cubicBezTo>
                <a:cubicBezTo>
                  <a:pt x="1202" y="329"/>
                  <a:pt x="1203" y="330"/>
                  <a:pt x="1204" y="330"/>
                </a:cubicBezTo>
                <a:cubicBezTo>
                  <a:pt x="1205" y="331"/>
                  <a:pt x="1205" y="332"/>
                  <a:pt x="1205" y="333"/>
                </a:cubicBezTo>
                <a:cubicBezTo>
                  <a:pt x="1204" y="333"/>
                  <a:pt x="1203" y="334"/>
                  <a:pt x="1203" y="334"/>
                </a:cubicBezTo>
                <a:cubicBezTo>
                  <a:pt x="1184" y="343"/>
                  <a:pt x="1173" y="347"/>
                  <a:pt x="1169" y="346"/>
                </a:cubicBezTo>
                <a:cubicBezTo>
                  <a:pt x="1166" y="346"/>
                  <a:pt x="1164" y="345"/>
                  <a:pt x="1161" y="343"/>
                </a:cubicBezTo>
                <a:cubicBezTo>
                  <a:pt x="1158" y="341"/>
                  <a:pt x="1157" y="338"/>
                  <a:pt x="1157" y="335"/>
                </a:cubicBezTo>
                <a:cubicBezTo>
                  <a:pt x="1157" y="335"/>
                  <a:pt x="1158" y="333"/>
                  <a:pt x="1160" y="332"/>
                </a:cubicBezTo>
                <a:cubicBezTo>
                  <a:pt x="1161" y="330"/>
                  <a:pt x="1163" y="329"/>
                  <a:pt x="1164" y="329"/>
                </a:cubicBezTo>
                <a:cubicBezTo>
                  <a:pt x="1166" y="329"/>
                  <a:pt x="1169" y="332"/>
                  <a:pt x="1174" y="337"/>
                </a:cubicBezTo>
                <a:cubicBezTo>
                  <a:pt x="1174" y="336"/>
                  <a:pt x="1174" y="336"/>
                  <a:pt x="1174" y="336"/>
                </a:cubicBezTo>
                <a:cubicBezTo>
                  <a:pt x="1175" y="334"/>
                  <a:pt x="1176" y="333"/>
                  <a:pt x="1177" y="331"/>
                </a:cubicBezTo>
                <a:cubicBezTo>
                  <a:pt x="1177" y="332"/>
                  <a:pt x="1177" y="332"/>
                  <a:pt x="1177" y="333"/>
                </a:cubicBezTo>
                <a:lnTo>
                  <a:pt x="1179" y="333"/>
                </a:lnTo>
                <a:lnTo>
                  <a:pt x="1177" y="331"/>
                </a:lnTo>
                <a:lnTo>
                  <a:pt x="1177" y="331"/>
                </a:lnTo>
                <a:cubicBezTo>
                  <a:pt x="1177" y="330"/>
                  <a:pt x="1176" y="329"/>
                  <a:pt x="1174" y="327"/>
                </a:cubicBezTo>
                <a:cubicBezTo>
                  <a:pt x="1172" y="326"/>
                  <a:pt x="1170" y="325"/>
                  <a:pt x="1169" y="324"/>
                </a:cubicBezTo>
                <a:lnTo>
                  <a:pt x="1169" y="320"/>
                </a:lnTo>
                <a:cubicBezTo>
                  <a:pt x="1169" y="316"/>
                  <a:pt x="1171" y="314"/>
                  <a:pt x="1175" y="314"/>
                </a:cubicBezTo>
                <a:cubicBezTo>
                  <a:pt x="1176" y="314"/>
                  <a:pt x="1179" y="314"/>
                  <a:pt x="1186" y="314"/>
                </a:cubicBezTo>
                <a:cubicBezTo>
                  <a:pt x="1185" y="314"/>
                  <a:pt x="1182" y="312"/>
                  <a:pt x="1177" y="309"/>
                </a:cubicBezTo>
                <a:cubicBezTo>
                  <a:pt x="1174" y="308"/>
                  <a:pt x="1172" y="306"/>
                  <a:pt x="1172" y="303"/>
                </a:cubicBezTo>
                <a:cubicBezTo>
                  <a:pt x="1173" y="302"/>
                  <a:pt x="1174" y="301"/>
                  <a:pt x="1176" y="301"/>
                </a:cubicBezTo>
                <a:cubicBezTo>
                  <a:pt x="1177" y="301"/>
                  <a:pt x="1179" y="301"/>
                  <a:pt x="1181" y="302"/>
                </a:cubicBezTo>
                <a:cubicBezTo>
                  <a:pt x="1180" y="298"/>
                  <a:pt x="1183" y="296"/>
                  <a:pt x="1188" y="296"/>
                </a:cubicBezTo>
                <a:cubicBezTo>
                  <a:pt x="1190" y="297"/>
                  <a:pt x="1193" y="301"/>
                  <a:pt x="1196" y="309"/>
                </a:cubicBezTo>
                <a:cubicBezTo>
                  <a:pt x="1196" y="308"/>
                  <a:pt x="1198" y="305"/>
                  <a:pt x="1200" y="299"/>
                </a:cubicBezTo>
                <a:cubicBezTo>
                  <a:pt x="1200" y="297"/>
                  <a:pt x="1199" y="294"/>
                  <a:pt x="1197" y="290"/>
                </a:cubicBezTo>
                <a:cubicBezTo>
                  <a:pt x="1195" y="285"/>
                  <a:pt x="1194" y="282"/>
                  <a:pt x="1194" y="281"/>
                </a:cubicBezTo>
                <a:cubicBezTo>
                  <a:pt x="1194" y="281"/>
                  <a:pt x="1195" y="281"/>
                  <a:pt x="1195" y="280"/>
                </a:cubicBezTo>
                <a:lnTo>
                  <a:pt x="1200" y="281"/>
                </a:lnTo>
                <a:lnTo>
                  <a:pt x="1200" y="281"/>
                </a:lnTo>
                <a:close/>
                <a:moveTo>
                  <a:pt x="1177" y="331"/>
                </a:moveTo>
                <a:lnTo>
                  <a:pt x="1177" y="331"/>
                </a:lnTo>
                <a:lnTo>
                  <a:pt x="1179" y="333"/>
                </a:lnTo>
                <a:lnTo>
                  <a:pt x="1177" y="333"/>
                </a:lnTo>
                <a:cubicBezTo>
                  <a:pt x="1177" y="332"/>
                  <a:pt x="1177" y="332"/>
                  <a:pt x="1177" y="331"/>
                </a:cubicBezTo>
                <a:lnTo>
                  <a:pt x="1177" y="331"/>
                </a:lnTo>
                <a:lnTo>
                  <a:pt x="1177" y="331"/>
                </a:lnTo>
                <a:close/>
                <a:moveTo>
                  <a:pt x="1346" y="247"/>
                </a:moveTo>
                <a:lnTo>
                  <a:pt x="1346" y="247"/>
                </a:lnTo>
                <a:cubicBezTo>
                  <a:pt x="1345" y="249"/>
                  <a:pt x="1345" y="251"/>
                  <a:pt x="1344" y="252"/>
                </a:cubicBezTo>
                <a:cubicBezTo>
                  <a:pt x="1345" y="252"/>
                  <a:pt x="1348" y="254"/>
                  <a:pt x="1354" y="257"/>
                </a:cubicBezTo>
                <a:lnTo>
                  <a:pt x="1342" y="266"/>
                </a:lnTo>
                <a:cubicBezTo>
                  <a:pt x="1340" y="266"/>
                  <a:pt x="1339" y="265"/>
                  <a:pt x="1338" y="264"/>
                </a:cubicBezTo>
                <a:cubicBezTo>
                  <a:pt x="1331" y="260"/>
                  <a:pt x="1328" y="257"/>
                  <a:pt x="1328" y="257"/>
                </a:cubicBezTo>
                <a:cubicBezTo>
                  <a:pt x="1328" y="252"/>
                  <a:pt x="1330" y="248"/>
                  <a:pt x="1332" y="247"/>
                </a:cubicBezTo>
                <a:cubicBezTo>
                  <a:pt x="1334" y="247"/>
                  <a:pt x="1335" y="247"/>
                  <a:pt x="1336" y="247"/>
                </a:cubicBezTo>
                <a:cubicBezTo>
                  <a:pt x="1338" y="247"/>
                  <a:pt x="1341" y="247"/>
                  <a:pt x="1343" y="246"/>
                </a:cubicBezTo>
                <a:cubicBezTo>
                  <a:pt x="1344" y="246"/>
                  <a:pt x="1345" y="247"/>
                  <a:pt x="1346" y="247"/>
                </a:cubicBezTo>
                <a:lnTo>
                  <a:pt x="1346" y="247"/>
                </a:lnTo>
                <a:close/>
                <a:moveTo>
                  <a:pt x="1332" y="247"/>
                </a:moveTo>
                <a:lnTo>
                  <a:pt x="1332" y="247"/>
                </a:lnTo>
                <a:cubicBezTo>
                  <a:pt x="1333" y="247"/>
                  <a:pt x="1334" y="246"/>
                  <a:pt x="1336" y="246"/>
                </a:cubicBezTo>
                <a:lnTo>
                  <a:pt x="1336" y="247"/>
                </a:lnTo>
                <a:lnTo>
                  <a:pt x="1336" y="247"/>
                </a:lnTo>
                <a:cubicBezTo>
                  <a:pt x="1335" y="247"/>
                  <a:pt x="1334" y="247"/>
                  <a:pt x="1332" y="247"/>
                </a:cubicBezTo>
                <a:lnTo>
                  <a:pt x="1332" y="247"/>
                </a:lnTo>
                <a:close/>
                <a:moveTo>
                  <a:pt x="1329" y="285"/>
                </a:moveTo>
                <a:lnTo>
                  <a:pt x="1329" y="285"/>
                </a:lnTo>
                <a:cubicBezTo>
                  <a:pt x="1327" y="288"/>
                  <a:pt x="1324" y="290"/>
                  <a:pt x="1320" y="289"/>
                </a:cubicBezTo>
                <a:cubicBezTo>
                  <a:pt x="1319" y="289"/>
                  <a:pt x="1319" y="289"/>
                  <a:pt x="1318" y="289"/>
                </a:cubicBezTo>
                <a:lnTo>
                  <a:pt x="1319" y="282"/>
                </a:lnTo>
                <a:cubicBezTo>
                  <a:pt x="1320" y="281"/>
                  <a:pt x="1320" y="279"/>
                  <a:pt x="1321" y="275"/>
                </a:cubicBezTo>
                <a:cubicBezTo>
                  <a:pt x="1321" y="274"/>
                  <a:pt x="1322" y="273"/>
                  <a:pt x="1322" y="272"/>
                </a:cubicBezTo>
                <a:cubicBezTo>
                  <a:pt x="1325" y="272"/>
                  <a:pt x="1327" y="272"/>
                  <a:pt x="1328" y="272"/>
                </a:cubicBezTo>
                <a:lnTo>
                  <a:pt x="1332" y="272"/>
                </a:lnTo>
                <a:lnTo>
                  <a:pt x="1332" y="278"/>
                </a:lnTo>
                <a:cubicBezTo>
                  <a:pt x="1331" y="281"/>
                  <a:pt x="1330" y="283"/>
                  <a:pt x="1329" y="285"/>
                </a:cubicBezTo>
                <a:lnTo>
                  <a:pt x="1329" y="285"/>
                </a:lnTo>
                <a:close/>
                <a:moveTo>
                  <a:pt x="1510" y="150"/>
                </a:moveTo>
                <a:lnTo>
                  <a:pt x="1510" y="150"/>
                </a:lnTo>
                <a:cubicBezTo>
                  <a:pt x="1510" y="152"/>
                  <a:pt x="1507" y="156"/>
                  <a:pt x="1503" y="160"/>
                </a:cubicBezTo>
                <a:cubicBezTo>
                  <a:pt x="1498" y="164"/>
                  <a:pt x="1496" y="167"/>
                  <a:pt x="1496" y="170"/>
                </a:cubicBezTo>
                <a:cubicBezTo>
                  <a:pt x="1496" y="172"/>
                  <a:pt x="1496" y="174"/>
                  <a:pt x="1496" y="175"/>
                </a:cubicBezTo>
                <a:cubicBezTo>
                  <a:pt x="1494" y="174"/>
                  <a:pt x="1493" y="174"/>
                  <a:pt x="1491" y="174"/>
                </a:cubicBezTo>
                <a:cubicBezTo>
                  <a:pt x="1491" y="178"/>
                  <a:pt x="1490" y="182"/>
                  <a:pt x="1489" y="184"/>
                </a:cubicBezTo>
                <a:cubicBezTo>
                  <a:pt x="1488" y="188"/>
                  <a:pt x="1486" y="190"/>
                  <a:pt x="1484" y="190"/>
                </a:cubicBezTo>
                <a:cubicBezTo>
                  <a:pt x="1480" y="189"/>
                  <a:pt x="1477" y="186"/>
                  <a:pt x="1476" y="179"/>
                </a:cubicBezTo>
                <a:cubicBezTo>
                  <a:pt x="1476" y="176"/>
                  <a:pt x="1475" y="172"/>
                  <a:pt x="1475" y="168"/>
                </a:cubicBezTo>
                <a:cubicBezTo>
                  <a:pt x="1474" y="170"/>
                  <a:pt x="1474" y="172"/>
                  <a:pt x="1473" y="173"/>
                </a:cubicBezTo>
                <a:cubicBezTo>
                  <a:pt x="1472" y="176"/>
                  <a:pt x="1470" y="176"/>
                  <a:pt x="1467" y="176"/>
                </a:cubicBezTo>
                <a:cubicBezTo>
                  <a:pt x="1467" y="175"/>
                  <a:pt x="1466" y="172"/>
                  <a:pt x="1463" y="167"/>
                </a:cubicBezTo>
                <a:cubicBezTo>
                  <a:pt x="1462" y="164"/>
                  <a:pt x="1461" y="162"/>
                  <a:pt x="1462" y="159"/>
                </a:cubicBezTo>
                <a:cubicBezTo>
                  <a:pt x="1462" y="152"/>
                  <a:pt x="1467" y="148"/>
                  <a:pt x="1475" y="148"/>
                </a:cubicBezTo>
                <a:lnTo>
                  <a:pt x="1475" y="144"/>
                </a:lnTo>
                <a:lnTo>
                  <a:pt x="1481" y="145"/>
                </a:lnTo>
                <a:cubicBezTo>
                  <a:pt x="1480" y="142"/>
                  <a:pt x="1480" y="141"/>
                  <a:pt x="1479" y="140"/>
                </a:cubicBezTo>
                <a:cubicBezTo>
                  <a:pt x="1480" y="140"/>
                  <a:pt x="1480" y="139"/>
                  <a:pt x="1480" y="139"/>
                </a:cubicBezTo>
                <a:cubicBezTo>
                  <a:pt x="1481" y="139"/>
                  <a:pt x="1483" y="139"/>
                  <a:pt x="1484" y="138"/>
                </a:cubicBezTo>
                <a:cubicBezTo>
                  <a:pt x="1484" y="138"/>
                  <a:pt x="1484" y="138"/>
                  <a:pt x="1484" y="139"/>
                </a:cubicBezTo>
                <a:cubicBezTo>
                  <a:pt x="1486" y="139"/>
                  <a:pt x="1487" y="139"/>
                  <a:pt x="1488" y="140"/>
                </a:cubicBezTo>
                <a:cubicBezTo>
                  <a:pt x="1491" y="140"/>
                  <a:pt x="1494" y="139"/>
                  <a:pt x="1498" y="135"/>
                </a:cubicBezTo>
                <a:cubicBezTo>
                  <a:pt x="1498" y="136"/>
                  <a:pt x="1498" y="136"/>
                  <a:pt x="1499" y="136"/>
                </a:cubicBezTo>
                <a:cubicBezTo>
                  <a:pt x="1501" y="137"/>
                  <a:pt x="1502" y="139"/>
                  <a:pt x="1505" y="142"/>
                </a:cubicBezTo>
                <a:cubicBezTo>
                  <a:pt x="1508" y="145"/>
                  <a:pt x="1510" y="148"/>
                  <a:pt x="1510" y="150"/>
                </a:cubicBezTo>
                <a:lnTo>
                  <a:pt x="1510" y="150"/>
                </a:lnTo>
                <a:close/>
                <a:moveTo>
                  <a:pt x="1492" y="126"/>
                </a:moveTo>
                <a:lnTo>
                  <a:pt x="1492" y="126"/>
                </a:lnTo>
                <a:cubicBezTo>
                  <a:pt x="1494" y="126"/>
                  <a:pt x="1495" y="127"/>
                  <a:pt x="1497" y="127"/>
                </a:cubicBezTo>
                <a:cubicBezTo>
                  <a:pt x="1499" y="127"/>
                  <a:pt x="1500" y="127"/>
                  <a:pt x="1501" y="126"/>
                </a:cubicBezTo>
                <a:cubicBezTo>
                  <a:pt x="1501" y="126"/>
                  <a:pt x="1501" y="127"/>
                  <a:pt x="1502" y="128"/>
                </a:cubicBezTo>
                <a:cubicBezTo>
                  <a:pt x="1502" y="129"/>
                  <a:pt x="1503" y="130"/>
                  <a:pt x="1503" y="131"/>
                </a:cubicBezTo>
                <a:lnTo>
                  <a:pt x="1503" y="135"/>
                </a:lnTo>
                <a:cubicBezTo>
                  <a:pt x="1502" y="135"/>
                  <a:pt x="1501" y="135"/>
                  <a:pt x="1500" y="134"/>
                </a:cubicBezTo>
                <a:cubicBezTo>
                  <a:pt x="1497" y="133"/>
                  <a:pt x="1494" y="130"/>
                  <a:pt x="1492" y="126"/>
                </a:cubicBezTo>
                <a:lnTo>
                  <a:pt x="1492" y="126"/>
                </a:lnTo>
                <a:close/>
                <a:moveTo>
                  <a:pt x="1415" y="153"/>
                </a:moveTo>
                <a:lnTo>
                  <a:pt x="1415" y="153"/>
                </a:lnTo>
                <a:cubicBezTo>
                  <a:pt x="1413" y="156"/>
                  <a:pt x="1412" y="157"/>
                  <a:pt x="1412" y="158"/>
                </a:cubicBezTo>
                <a:lnTo>
                  <a:pt x="1408" y="157"/>
                </a:lnTo>
                <a:cubicBezTo>
                  <a:pt x="1408" y="150"/>
                  <a:pt x="1410" y="146"/>
                  <a:pt x="1414" y="144"/>
                </a:cubicBezTo>
                <a:cubicBezTo>
                  <a:pt x="1414" y="144"/>
                  <a:pt x="1414" y="144"/>
                  <a:pt x="1415" y="144"/>
                </a:cubicBezTo>
                <a:cubicBezTo>
                  <a:pt x="1416" y="145"/>
                  <a:pt x="1417" y="146"/>
                  <a:pt x="1417" y="148"/>
                </a:cubicBezTo>
                <a:cubicBezTo>
                  <a:pt x="1417" y="149"/>
                  <a:pt x="1416" y="151"/>
                  <a:pt x="1415" y="153"/>
                </a:cubicBezTo>
                <a:lnTo>
                  <a:pt x="1415" y="153"/>
                </a:lnTo>
                <a:close/>
                <a:moveTo>
                  <a:pt x="1394" y="182"/>
                </a:moveTo>
                <a:lnTo>
                  <a:pt x="1394" y="182"/>
                </a:lnTo>
                <a:cubicBezTo>
                  <a:pt x="1394" y="183"/>
                  <a:pt x="1394" y="184"/>
                  <a:pt x="1394" y="186"/>
                </a:cubicBezTo>
                <a:cubicBezTo>
                  <a:pt x="1394" y="187"/>
                  <a:pt x="1394" y="187"/>
                  <a:pt x="1393" y="189"/>
                </a:cubicBezTo>
                <a:cubicBezTo>
                  <a:pt x="1393" y="190"/>
                  <a:pt x="1391" y="192"/>
                  <a:pt x="1390" y="194"/>
                </a:cubicBezTo>
                <a:cubicBezTo>
                  <a:pt x="1388" y="197"/>
                  <a:pt x="1387" y="199"/>
                  <a:pt x="1386" y="199"/>
                </a:cubicBezTo>
                <a:cubicBezTo>
                  <a:pt x="1385" y="198"/>
                  <a:pt x="1385" y="196"/>
                  <a:pt x="1384" y="191"/>
                </a:cubicBezTo>
                <a:cubicBezTo>
                  <a:pt x="1383" y="186"/>
                  <a:pt x="1383" y="183"/>
                  <a:pt x="1383" y="182"/>
                </a:cubicBezTo>
                <a:cubicBezTo>
                  <a:pt x="1383" y="181"/>
                  <a:pt x="1383" y="181"/>
                  <a:pt x="1383" y="180"/>
                </a:cubicBezTo>
                <a:cubicBezTo>
                  <a:pt x="1385" y="180"/>
                  <a:pt x="1388" y="181"/>
                  <a:pt x="1394" y="182"/>
                </a:cubicBezTo>
                <a:lnTo>
                  <a:pt x="1394" y="182"/>
                </a:lnTo>
                <a:close/>
                <a:moveTo>
                  <a:pt x="1442" y="194"/>
                </a:moveTo>
                <a:lnTo>
                  <a:pt x="1442" y="194"/>
                </a:lnTo>
                <a:cubicBezTo>
                  <a:pt x="1441" y="194"/>
                  <a:pt x="1440" y="193"/>
                  <a:pt x="1439" y="193"/>
                </a:cubicBezTo>
                <a:cubicBezTo>
                  <a:pt x="1435" y="191"/>
                  <a:pt x="1431" y="188"/>
                  <a:pt x="1426" y="182"/>
                </a:cubicBezTo>
                <a:cubicBezTo>
                  <a:pt x="1426" y="181"/>
                  <a:pt x="1428" y="181"/>
                  <a:pt x="1431" y="182"/>
                </a:cubicBezTo>
                <a:cubicBezTo>
                  <a:pt x="1434" y="182"/>
                  <a:pt x="1435" y="181"/>
                  <a:pt x="1436" y="178"/>
                </a:cubicBezTo>
                <a:cubicBezTo>
                  <a:pt x="1436" y="177"/>
                  <a:pt x="1437" y="175"/>
                  <a:pt x="1439" y="174"/>
                </a:cubicBezTo>
                <a:cubicBezTo>
                  <a:pt x="1441" y="172"/>
                  <a:pt x="1443" y="171"/>
                  <a:pt x="1444" y="171"/>
                </a:cubicBezTo>
                <a:cubicBezTo>
                  <a:pt x="1445" y="171"/>
                  <a:pt x="1446" y="172"/>
                  <a:pt x="1447" y="173"/>
                </a:cubicBezTo>
                <a:cubicBezTo>
                  <a:pt x="1449" y="174"/>
                  <a:pt x="1450" y="176"/>
                  <a:pt x="1450" y="179"/>
                </a:cubicBezTo>
                <a:cubicBezTo>
                  <a:pt x="1451" y="179"/>
                  <a:pt x="1451" y="179"/>
                  <a:pt x="1451" y="179"/>
                </a:cubicBezTo>
                <a:cubicBezTo>
                  <a:pt x="1451" y="179"/>
                  <a:pt x="1452" y="178"/>
                  <a:pt x="1454" y="177"/>
                </a:cubicBezTo>
                <a:cubicBezTo>
                  <a:pt x="1455" y="176"/>
                  <a:pt x="1456" y="176"/>
                  <a:pt x="1457" y="176"/>
                </a:cubicBezTo>
                <a:cubicBezTo>
                  <a:pt x="1459" y="176"/>
                  <a:pt x="1461" y="178"/>
                  <a:pt x="1464" y="180"/>
                </a:cubicBezTo>
                <a:cubicBezTo>
                  <a:pt x="1467" y="182"/>
                  <a:pt x="1468" y="184"/>
                  <a:pt x="1469" y="185"/>
                </a:cubicBezTo>
                <a:cubicBezTo>
                  <a:pt x="1468" y="186"/>
                  <a:pt x="1467" y="188"/>
                  <a:pt x="1467" y="189"/>
                </a:cubicBezTo>
                <a:cubicBezTo>
                  <a:pt x="1466" y="195"/>
                  <a:pt x="1462" y="197"/>
                  <a:pt x="1455" y="197"/>
                </a:cubicBezTo>
                <a:cubicBezTo>
                  <a:pt x="1450" y="196"/>
                  <a:pt x="1445" y="195"/>
                  <a:pt x="1442" y="194"/>
                </a:cubicBezTo>
                <a:lnTo>
                  <a:pt x="1442" y="194"/>
                </a:lnTo>
                <a:close/>
                <a:moveTo>
                  <a:pt x="1132" y="339"/>
                </a:moveTo>
                <a:lnTo>
                  <a:pt x="1132" y="339"/>
                </a:lnTo>
                <a:cubicBezTo>
                  <a:pt x="1133" y="339"/>
                  <a:pt x="1136" y="341"/>
                  <a:pt x="1139" y="345"/>
                </a:cubicBezTo>
                <a:cubicBezTo>
                  <a:pt x="1140" y="341"/>
                  <a:pt x="1141" y="338"/>
                  <a:pt x="1142" y="337"/>
                </a:cubicBezTo>
                <a:cubicBezTo>
                  <a:pt x="1143" y="339"/>
                  <a:pt x="1144" y="345"/>
                  <a:pt x="1146" y="354"/>
                </a:cubicBezTo>
                <a:cubicBezTo>
                  <a:pt x="1151" y="354"/>
                  <a:pt x="1153" y="356"/>
                  <a:pt x="1153" y="359"/>
                </a:cubicBezTo>
                <a:cubicBezTo>
                  <a:pt x="1153" y="361"/>
                  <a:pt x="1152" y="364"/>
                  <a:pt x="1151" y="367"/>
                </a:cubicBezTo>
                <a:cubicBezTo>
                  <a:pt x="1152" y="366"/>
                  <a:pt x="1155" y="365"/>
                  <a:pt x="1159" y="366"/>
                </a:cubicBezTo>
                <a:cubicBezTo>
                  <a:pt x="1158" y="370"/>
                  <a:pt x="1155" y="374"/>
                  <a:pt x="1151" y="380"/>
                </a:cubicBezTo>
                <a:cubicBezTo>
                  <a:pt x="1148" y="385"/>
                  <a:pt x="1146" y="389"/>
                  <a:pt x="1146" y="393"/>
                </a:cubicBezTo>
                <a:lnTo>
                  <a:pt x="1151" y="405"/>
                </a:lnTo>
                <a:cubicBezTo>
                  <a:pt x="1151" y="408"/>
                  <a:pt x="1151" y="410"/>
                  <a:pt x="1151" y="411"/>
                </a:cubicBezTo>
                <a:cubicBezTo>
                  <a:pt x="1151" y="412"/>
                  <a:pt x="1151" y="413"/>
                  <a:pt x="1150" y="413"/>
                </a:cubicBezTo>
                <a:cubicBezTo>
                  <a:pt x="1150" y="414"/>
                  <a:pt x="1150" y="414"/>
                  <a:pt x="1150" y="414"/>
                </a:cubicBezTo>
                <a:cubicBezTo>
                  <a:pt x="1144" y="412"/>
                  <a:pt x="1137" y="413"/>
                  <a:pt x="1130" y="415"/>
                </a:cubicBezTo>
                <a:cubicBezTo>
                  <a:pt x="1124" y="418"/>
                  <a:pt x="1121" y="419"/>
                  <a:pt x="1121" y="419"/>
                </a:cubicBezTo>
                <a:cubicBezTo>
                  <a:pt x="1119" y="419"/>
                  <a:pt x="1118" y="418"/>
                  <a:pt x="1118" y="416"/>
                </a:cubicBezTo>
                <a:cubicBezTo>
                  <a:pt x="1118" y="415"/>
                  <a:pt x="1118" y="412"/>
                  <a:pt x="1119" y="409"/>
                </a:cubicBezTo>
                <a:cubicBezTo>
                  <a:pt x="1114" y="411"/>
                  <a:pt x="1110" y="416"/>
                  <a:pt x="1104" y="422"/>
                </a:cubicBezTo>
                <a:cubicBezTo>
                  <a:pt x="1104" y="423"/>
                  <a:pt x="1103" y="424"/>
                  <a:pt x="1103" y="425"/>
                </a:cubicBezTo>
                <a:cubicBezTo>
                  <a:pt x="1100" y="429"/>
                  <a:pt x="1098" y="432"/>
                  <a:pt x="1098" y="433"/>
                </a:cubicBezTo>
                <a:cubicBezTo>
                  <a:pt x="1098" y="434"/>
                  <a:pt x="1099" y="435"/>
                  <a:pt x="1099" y="435"/>
                </a:cubicBezTo>
                <a:cubicBezTo>
                  <a:pt x="1099" y="436"/>
                  <a:pt x="1098" y="437"/>
                  <a:pt x="1095" y="438"/>
                </a:cubicBezTo>
                <a:cubicBezTo>
                  <a:pt x="1096" y="439"/>
                  <a:pt x="1096" y="440"/>
                  <a:pt x="1096" y="441"/>
                </a:cubicBezTo>
                <a:cubicBezTo>
                  <a:pt x="1096" y="442"/>
                  <a:pt x="1096" y="443"/>
                  <a:pt x="1094" y="445"/>
                </a:cubicBezTo>
                <a:cubicBezTo>
                  <a:pt x="1093" y="445"/>
                  <a:pt x="1092" y="445"/>
                  <a:pt x="1090" y="443"/>
                </a:cubicBezTo>
                <a:cubicBezTo>
                  <a:pt x="1089" y="442"/>
                  <a:pt x="1088" y="441"/>
                  <a:pt x="1088" y="439"/>
                </a:cubicBezTo>
                <a:cubicBezTo>
                  <a:pt x="1088" y="439"/>
                  <a:pt x="1089" y="438"/>
                  <a:pt x="1091" y="436"/>
                </a:cubicBezTo>
                <a:cubicBezTo>
                  <a:pt x="1090" y="434"/>
                  <a:pt x="1089" y="433"/>
                  <a:pt x="1089" y="433"/>
                </a:cubicBezTo>
                <a:cubicBezTo>
                  <a:pt x="1084" y="435"/>
                  <a:pt x="1079" y="436"/>
                  <a:pt x="1075" y="435"/>
                </a:cubicBezTo>
                <a:cubicBezTo>
                  <a:pt x="1074" y="435"/>
                  <a:pt x="1073" y="434"/>
                  <a:pt x="1072" y="433"/>
                </a:cubicBezTo>
                <a:cubicBezTo>
                  <a:pt x="1071" y="432"/>
                  <a:pt x="1070" y="431"/>
                  <a:pt x="1070" y="430"/>
                </a:cubicBezTo>
                <a:cubicBezTo>
                  <a:pt x="1070" y="427"/>
                  <a:pt x="1075" y="425"/>
                  <a:pt x="1084" y="422"/>
                </a:cubicBezTo>
                <a:cubicBezTo>
                  <a:pt x="1093" y="419"/>
                  <a:pt x="1097" y="416"/>
                  <a:pt x="1098" y="413"/>
                </a:cubicBezTo>
                <a:cubicBezTo>
                  <a:pt x="1098" y="412"/>
                  <a:pt x="1098" y="411"/>
                  <a:pt x="1097" y="410"/>
                </a:cubicBezTo>
                <a:lnTo>
                  <a:pt x="1092" y="410"/>
                </a:lnTo>
                <a:cubicBezTo>
                  <a:pt x="1090" y="412"/>
                  <a:pt x="1087" y="413"/>
                  <a:pt x="1084" y="413"/>
                </a:cubicBezTo>
                <a:cubicBezTo>
                  <a:pt x="1081" y="413"/>
                  <a:pt x="1080" y="412"/>
                  <a:pt x="1080" y="410"/>
                </a:cubicBezTo>
                <a:cubicBezTo>
                  <a:pt x="1080" y="408"/>
                  <a:pt x="1083" y="406"/>
                  <a:pt x="1088" y="404"/>
                </a:cubicBezTo>
                <a:cubicBezTo>
                  <a:pt x="1092" y="402"/>
                  <a:pt x="1094" y="401"/>
                  <a:pt x="1095" y="400"/>
                </a:cubicBezTo>
                <a:cubicBezTo>
                  <a:pt x="1096" y="399"/>
                  <a:pt x="1097" y="399"/>
                  <a:pt x="1097" y="399"/>
                </a:cubicBezTo>
                <a:cubicBezTo>
                  <a:pt x="1097" y="397"/>
                  <a:pt x="1094" y="393"/>
                  <a:pt x="1088" y="386"/>
                </a:cubicBezTo>
                <a:cubicBezTo>
                  <a:pt x="1094" y="387"/>
                  <a:pt x="1097" y="385"/>
                  <a:pt x="1097" y="382"/>
                </a:cubicBezTo>
                <a:cubicBezTo>
                  <a:pt x="1091" y="380"/>
                  <a:pt x="1086" y="380"/>
                  <a:pt x="1083" y="379"/>
                </a:cubicBezTo>
                <a:cubicBezTo>
                  <a:pt x="1084" y="374"/>
                  <a:pt x="1089" y="371"/>
                  <a:pt x="1098" y="372"/>
                </a:cubicBezTo>
                <a:cubicBezTo>
                  <a:pt x="1100" y="372"/>
                  <a:pt x="1103" y="372"/>
                  <a:pt x="1106" y="372"/>
                </a:cubicBezTo>
                <a:cubicBezTo>
                  <a:pt x="1109" y="373"/>
                  <a:pt x="1110" y="372"/>
                  <a:pt x="1111" y="371"/>
                </a:cubicBezTo>
                <a:cubicBezTo>
                  <a:pt x="1111" y="370"/>
                  <a:pt x="1109" y="368"/>
                  <a:pt x="1106" y="366"/>
                </a:cubicBezTo>
                <a:cubicBezTo>
                  <a:pt x="1103" y="364"/>
                  <a:pt x="1102" y="362"/>
                  <a:pt x="1102" y="361"/>
                </a:cubicBezTo>
                <a:cubicBezTo>
                  <a:pt x="1103" y="359"/>
                  <a:pt x="1104" y="358"/>
                  <a:pt x="1107" y="357"/>
                </a:cubicBezTo>
                <a:cubicBezTo>
                  <a:pt x="1109" y="357"/>
                  <a:pt x="1111" y="356"/>
                  <a:pt x="1114" y="356"/>
                </a:cubicBezTo>
                <a:cubicBezTo>
                  <a:pt x="1112" y="354"/>
                  <a:pt x="1111" y="352"/>
                  <a:pt x="1110" y="349"/>
                </a:cubicBezTo>
                <a:cubicBezTo>
                  <a:pt x="1110" y="349"/>
                  <a:pt x="1110" y="349"/>
                  <a:pt x="1111" y="349"/>
                </a:cubicBezTo>
                <a:lnTo>
                  <a:pt x="1115" y="349"/>
                </a:lnTo>
                <a:cubicBezTo>
                  <a:pt x="1115" y="350"/>
                  <a:pt x="1117" y="351"/>
                  <a:pt x="1118" y="352"/>
                </a:cubicBezTo>
                <a:lnTo>
                  <a:pt x="1122" y="352"/>
                </a:lnTo>
                <a:cubicBezTo>
                  <a:pt x="1122" y="351"/>
                  <a:pt x="1122" y="350"/>
                  <a:pt x="1121" y="347"/>
                </a:cubicBezTo>
                <a:cubicBezTo>
                  <a:pt x="1120" y="345"/>
                  <a:pt x="1119" y="344"/>
                  <a:pt x="1120" y="342"/>
                </a:cubicBezTo>
                <a:cubicBezTo>
                  <a:pt x="1120" y="341"/>
                  <a:pt x="1120" y="340"/>
                  <a:pt x="1121" y="339"/>
                </a:cubicBezTo>
                <a:cubicBezTo>
                  <a:pt x="1123" y="340"/>
                  <a:pt x="1124" y="342"/>
                  <a:pt x="1126" y="345"/>
                </a:cubicBezTo>
                <a:cubicBezTo>
                  <a:pt x="1128" y="348"/>
                  <a:pt x="1129" y="350"/>
                  <a:pt x="1132" y="351"/>
                </a:cubicBezTo>
                <a:cubicBezTo>
                  <a:pt x="1132" y="349"/>
                  <a:pt x="1131" y="347"/>
                  <a:pt x="1131" y="344"/>
                </a:cubicBezTo>
                <a:cubicBezTo>
                  <a:pt x="1131" y="342"/>
                  <a:pt x="1131" y="341"/>
                  <a:pt x="1132" y="339"/>
                </a:cubicBezTo>
                <a:lnTo>
                  <a:pt x="1132" y="339"/>
                </a:lnTo>
                <a:close/>
                <a:moveTo>
                  <a:pt x="1087" y="399"/>
                </a:moveTo>
                <a:lnTo>
                  <a:pt x="1087" y="399"/>
                </a:lnTo>
                <a:cubicBezTo>
                  <a:pt x="1086" y="398"/>
                  <a:pt x="1084" y="398"/>
                  <a:pt x="1083" y="398"/>
                </a:cubicBezTo>
                <a:lnTo>
                  <a:pt x="1083" y="389"/>
                </a:lnTo>
                <a:cubicBezTo>
                  <a:pt x="1086" y="389"/>
                  <a:pt x="1090" y="392"/>
                  <a:pt x="1093" y="397"/>
                </a:cubicBezTo>
                <a:cubicBezTo>
                  <a:pt x="1092" y="397"/>
                  <a:pt x="1091" y="397"/>
                  <a:pt x="1090" y="398"/>
                </a:cubicBezTo>
                <a:cubicBezTo>
                  <a:pt x="1089" y="399"/>
                  <a:pt x="1088" y="399"/>
                  <a:pt x="1087" y="399"/>
                </a:cubicBezTo>
                <a:lnTo>
                  <a:pt x="1087" y="399"/>
                </a:lnTo>
                <a:close/>
                <a:moveTo>
                  <a:pt x="1029" y="389"/>
                </a:moveTo>
                <a:lnTo>
                  <a:pt x="1029" y="389"/>
                </a:lnTo>
                <a:cubicBezTo>
                  <a:pt x="1031" y="390"/>
                  <a:pt x="1033" y="392"/>
                  <a:pt x="1032" y="396"/>
                </a:cubicBezTo>
                <a:cubicBezTo>
                  <a:pt x="1032" y="398"/>
                  <a:pt x="1031" y="401"/>
                  <a:pt x="1028" y="405"/>
                </a:cubicBezTo>
                <a:cubicBezTo>
                  <a:pt x="1025" y="410"/>
                  <a:pt x="1024" y="413"/>
                  <a:pt x="1024" y="417"/>
                </a:cubicBezTo>
                <a:cubicBezTo>
                  <a:pt x="1024" y="422"/>
                  <a:pt x="1023" y="425"/>
                  <a:pt x="1019" y="427"/>
                </a:cubicBezTo>
                <a:cubicBezTo>
                  <a:pt x="1013" y="430"/>
                  <a:pt x="1010" y="433"/>
                  <a:pt x="1009" y="435"/>
                </a:cubicBezTo>
                <a:cubicBezTo>
                  <a:pt x="1008" y="439"/>
                  <a:pt x="1006" y="442"/>
                  <a:pt x="1006" y="445"/>
                </a:cubicBezTo>
                <a:cubicBezTo>
                  <a:pt x="1005" y="445"/>
                  <a:pt x="1005" y="445"/>
                  <a:pt x="1005" y="445"/>
                </a:cubicBezTo>
                <a:cubicBezTo>
                  <a:pt x="1005" y="446"/>
                  <a:pt x="1005" y="447"/>
                  <a:pt x="1005" y="447"/>
                </a:cubicBezTo>
                <a:cubicBezTo>
                  <a:pt x="1003" y="451"/>
                  <a:pt x="1000" y="454"/>
                  <a:pt x="997" y="454"/>
                </a:cubicBezTo>
                <a:cubicBezTo>
                  <a:pt x="995" y="455"/>
                  <a:pt x="993" y="455"/>
                  <a:pt x="992" y="455"/>
                </a:cubicBezTo>
                <a:cubicBezTo>
                  <a:pt x="990" y="455"/>
                  <a:pt x="988" y="456"/>
                  <a:pt x="988" y="458"/>
                </a:cubicBezTo>
                <a:cubicBezTo>
                  <a:pt x="987" y="460"/>
                  <a:pt x="987" y="461"/>
                  <a:pt x="987" y="462"/>
                </a:cubicBezTo>
                <a:cubicBezTo>
                  <a:pt x="986" y="467"/>
                  <a:pt x="984" y="469"/>
                  <a:pt x="983" y="470"/>
                </a:cubicBezTo>
                <a:cubicBezTo>
                  <a:pt x="981" y="467"/>
                  <a:pt x="980" y="463"/>
                  <a:pt x="980" y="459"/>
                </a:cubicBezTo>
                <a:cubicBezTo>
                  <a:pt x="980" y="459"/>
                  <a:pt x="980" y="459"/>
                  <a:pt x="980" y="458"/>
                </a:cubicBezTo>
                <a:cubicBezTo>
                  <a:pt x="980" y="453"/>
                  <a:pt x="982" y="447"/>
                  <a:pt x="984" y="440"/>
                </a:cubicBezTo>
                <a:cubicBezTo>
                  <a:pt x="988" y="429"/>
                  <a:pt x="994" y="423"/>
                  <a:pt x="1000" y="420"/>
                </a:cubicBezTo>
                <a:cubicBezTo>
                  <a:pt x="1003" y="420"/>
                  <a:pt x="1005" y="416"/>
                  <a:pt x="1006" y="411"/>
                </a:cubicBezTo>
                <a:cubicBezTo>
                  <a:pt x="1007" y="406"/>
                  <a:pt x="1008" y="403"/>
                  <a:pt x="1010" y="402"/>
                </a:cubicBezTo>
                <a:cubicBezTo>
                  <a:pt x="1013" y="401"/>
                  <a:pt x="1016" y="398"/>
                  <a:pt x="1020" y="394"/>
                </a:cubicBezTo>
                <a:cubicBezTo>
                  <a:pt x="1022" y="390"/>
                  <a:pt x="1025" y="388"/>
                  <a:pt x="1029" y="389"/>
                </a:cubicBezTo>
                <a:lnTo>
                  <a:pt x="1029" y="389"/>
                </a:lnTo>
                <a:close/>
                <a:moveTo>
                  <a:pt x="1016" y="468"/>
                </a:moveTo>
                <a:lnTo>
                  <a:pt x="1016" y="468"/>
                </a:lnTo>
                <a:cubicBezTo>
                  <a:pt x="1016" y="473"/>
                  <a:pt x="1014" y="478"/>
                  <a:pt x="1013" y="482"/>
                </a:cubicBezTo>
                <a:lnTo>
                  <a:pt x="1012" y="489"/>
                </a:lnTo>
                <a:lnTo>
                  <a:pt x="1013" y="489"/>
                </a:lnTo>
                <a:cubicBezTo>
                  <a:pt x="1013" y="488"/>
                  <a:pt x="1014" y="487"/>
                  <a:pt x="1015" y="487"/>
                </a:cubicBezTo>
                <a:lnTo>
                  <a:pt x="1019" y="487"/>
                </a:lnTo>
                <a:lnTo>
                  <a:pt x="1018" y="493"/>
                </a:lnTo>
                <a:cubicBezTo>
                  <a:pt x="1017" y="498"/>
                  <a:pt x="1016" y="502"/>
                  <a:pt x="1015" y="505"/>
                </a:cubicBezTo>
                <a:cubicBezTo>
                  <a:pt x="1014" y="507"/>
                  <a:pt x="1014" y="509"/>
                  <a:pt x="1014" y="510"/>
                </a:cubicBezTo>
                <a:cubicBezTo>
                  <a:pt x="1013" y="510"/>
                  <a:pt x="1011" y="512"/>
                  <a:pt x="1008" y="514"/>
                </a:cubicBezTo>
                <a:cubicBezTo>
                  <a:pt x="1005" y="517"/>
                  <a:pt x="1004" y="519"/>
                  <a:pt x="1003" y="520"/>
                </a:cubicBezTo>
                <a:cubicBezTo>
                  <a:pt x="1004" y="523"/>
                  <a:pt x="1004" y="526"/>
                  <a:pt x="1004" y="528"/>
                </a:cubicBezTo>
                <a:lnTo>
                  <a:pt x="1005" y="528"/>
                </a:lnTo>
                <a:cubicBezTo>
                  <a:pt x="1004" y="526"/>
                  <a:pt x="1005" y="523"/>
                  <a:pt x="1007" y="519"/>
                </a:cubicBezTo>
                <a:cubicBezTo>
                  <a:pt x="1009" y="516"/>
                  <a:pt x="1011" y="514"/>
                  <a:pt x="1014" y="514"/>
                </a:cubicBezTo>
                <a:cubicBezTo>
                  <a:pt x="1014" y="514"/>
                  <a:pt x="1016" y="515"/>
                  <a:pt x="1019" y="516"/>
                </a:cubicBezTo>
                <a:cubicBezTo>
                  <a:pt x="1021" y="517"/>
                  <a:pt x="1022" y="515"/>
                  <a:pt x="1022" y="513"/>
                </a:cubicBezTo>
                <a:cubicBezTo>
                  <a:pt x="1020" y="511"/>
                  <a:pt x="1019" y="510"/>
                  <a:pt x="1019" y="508"/>
                </a:cubicBezTo>
                <a:cubicBezTo>
                  <a:pt x="1019" y="507"/>
                  <a:pt x="1019" y="506"/>
                  <a:pt x="1020" y="506"/>
                </a:cubicBezTo>
                <a:cubicBezTo>
                  <a:pt x="1020" y="503"/>
                  <a:pt x="1022" y="501"/>
                  <a:pt x="1025" y="499"/>
                </a:cubicBezTo>
                <a:cubicBezTo>
                  <a:pt x="1028" y="497"/>
                  <a:pt x="1032" y="496"/>
                  <a:pt x="1035" y="497"/>
                </a:cubicBezTo>
                <a:lnTo>
                  <a:pt x="1036" y="497"/>
                </a:lnTo>
                <a:cubicBezTo>
                  <a:pt x="1035" y="496"/>
                  <a:pt x="1033" y="494"/>
                  <a:pt x="1030" y="490"/>
                </a:cubicBezTo>
                <a:cubicBezTo>
                  <a:pt x="1026" y="486"/>
                  <a:pt x="1025" y="484"/>
                  <a:pt x="1025" y="483"/>
                </a:cubicBezTo>
                <a:cubicBezTo>
                  <a:pt x="1025" y="481"/>
                  <a:pt x="1026" y="479"/>
                  <a:pt x="1028" y="477"/>
                </a:cubicBezTo>
                <a:cubicBezTo>
                  <a:pt x="1030" y="474"/>
                  <a:pt x="1032" y="473"/>
                  <a:pt x="1034" y="473"/>
                </a:cubicBezTo>
                <a:cubicBezTo>
                  <a:pt x="1035" y="474"/>
                  <a:pt x="1036" y="474"/>
                  <a:pt x="1038" y="476"/>
                </a:cubicBezTo>
                <a:cubicBezTo>
                  <a:pt x="1039" y="477"/>
                  <a:pt x="1040" y="477"/>
                  <a:pt x="1041" y="477"/>
                </a:cubicBezTo>
                <a:cubicBezTo>
                  <a:pt x="1041" y="477"/>
                  <a:pt x="1041" y="475"/>
                  <a:pt x="1043" y="471"/>
                </a:cubicBezTo>
                <a:cubicBezTo>
                  <a:pt x="1044" y="471"/>
                  <a:pt x="1046" y="472"/>
                  <a:pt x="1047" y="472"/>
                </a:cubicBezTo>
                <a:cubicBezTo>
                  <a:pt x="1050" y="474"/>
                  <a:pt x="1053" y="477"/>
                  <a:pt x="1056" y="481"/>
                </a:cubicBezTo>
                <a:cubicBezTo>
                  <a:pt x="1062" y="488"/>
                  <a:pt x="1064" y="494"/>
                  <a:pt x="1064" y="498"/>
                </a:cubicBezTo>
                <a:cubicBezTo>
                  <a:pt x="1063" y="505"/>
                  <a:pt x="1060" y="513"/>
                  <a:pt x="1056" y="519"/>
                </a:cubicBezTo>
                <a:cubicBezTo>
                  <a:pt x="1056" y="520"/>
                  <a:pt x="1056" y="520"/>
                  <a:pt x="1056" y="520"/>
                </a:cubicBezTo>
                <a:cubicBezTo>
                  <a:pt x="1054" y="526"/>
                  <a:pt x="1053" y="529"/>
                  <a:pt x="1050" y="530"/>
                </a:cubicBezTo>
                <a:cubicBezTo>
                  <a:pt x="1050" y="531"/>
                  <a:pt x="1046" y="531"/>
                  <a:pt x="1039" y="531"/>
                </a:cubicBezTo>
                <a:cubicBezTo>
                  <a:pt x="1036" y="531"/>
                  <a:pt x="1034" y="531"/>
                  <a:pt x="1032" y="533"/>
                </a:cubicBezTo>
                <a:cubicBezTo>
                  <a:pt x="1029" y="536"/>
                  <a:pt x="1026" y="540"/>
                  <a:pt x="1024" y="548"/>
                </a:cubicBezTo>
                <a:cubicBezTo>
                  <a:pt x="1023" y="553"/>
                  <a:pt x="1022" y="557"/>
                  <a:pt x="1021" y="559"/>
                </a:cubicBezTo>
                <a:cubicBezTo>
                  <a:pt x="1019" y="562"/>
                  <a:pt x="1017" y="564"/>
                  <a:pt x="1014" y="563"/>
                </a:cubicBezTo>
                <a:cubicBezTo>
                  <a:pt x="1010" y="563"/>
                  <a:pt x="1009" y="557"/>
                  <a:pt x="1011" y="546"/>
                </a:cubicBezTo>
                <a:lnTo>
                  <a:pt x="1010" y="546"/>
                </a:lnTo>
                <a:cubicBezTo>
                  <a:pt x="1005" y="553"/>
                  <a:pt x="1002" y="558"/>
                  <a:pt x="1001" y="561"/>
                </a:cubicBezTo>
                <a:cubicBezTo>
                  <a:pt x="999" y="564"/>
                  <a:pt x="997" y="570"/>
                  <a:pt x="995" y="577"/>
                </a:cubicBezTo>
                <a:cubicBezTo>
                  <a:pt x="982" y="575"/>
                  <a:pt x="976" y="572"/>
                  <a:pt x="976" y="566"/>
                </a:cubicBezTo>
                <a:cubicBezTo>
                  <a:pt x="977" y="563"/>
                  <a:pt x="978" y="559"/>
                  <a:pt x="982" y="555"/>
                </a:cubicBezTo>
                <a:cubicBezTo>
                  <a:pt x="987" y="548"/>
                  <a:pt x="990" y="544"/>
                  <a:pt x="990" y="543"/>
                </a:cubicBezTo>
                <a:cubicBezTo>
                  <a:pt x="986" y="547"/>
                  <a:pt x="980" y="554"/>
                  <a:pt x="972" y="563"/>
                </a:cubicBezTo>
                <a:cubicBezTo>
                  <a:pt x="965" y="571"/>
                  <a:pt x="959" y="576"/>
                  <a:pt x="954" y="580"/>
                </a:cubicBezTo>
                <a:cubicBezTo>
                  <a:pt x="952" y="577"/>
                  <a:pt x="950" y="575"/>
                  <a:pt x="950" y="572"/>
                </a:cubicBezTo>
                <a:cubicBezTo>
                  <a:pt x="951" y="569"/>
                  <a:pt x="952" y="565"/>
                  <a:pt x="955" y="560"/>
                </a:cubicBezTo>
                <a:cubicBezTo>
                  <a:pt x="956" y="558"/>
                  <a:pt x="957" y="557"/>
                  <a:pt x="958" y="555"/>
                </a:cubicBezTo>
                <a:cubicBezTo>
                  <a:pt x="964" y="547"/>
                  <a:pt x="970" y="543"/>
                  <a:pt x="976" y="543"/>
                </a:cubicBezTo>
                <a:cubicBezTo>
                  <a:pt x="973" y="541"/>
                  <a:pt x="969" y="536"/>
                  <a:pt x="964" y="528"/>
                </a:cubicBezTo>
                <a:cubicBezTo>
                  <a:pt x="965" y="527"/>
                  <a:pt x="967" y="526"/>
                  <a:pt x="969" y="525"/>
                </a:cubicBezTo>
                <a:cubicBezTo>
                  <a:pt x="972" y="525"/>
                  <a:pt x="973" y="524"/>
                  <a:pt x="975" y="523"/>
                </a:cubicBezTo>
                <a:cubicBezTo>
                  <a:pt x="978" y="519"/>
                  <a:pt x="981" y="518"/>
                  <a:pt x="985" y="517"/>
                </a:cubicBezTo>
                <a:lnTo>
                  <a:pt x="985" y="516"/>
                </a:lnTo>
                <a:lnTo>
                  <a:pt x="982" y="512"/>
                </a:lnTo>
                <a:lnTo>
                  <a:pt x="983" y="500"/>
                </a:lnTo>
                <a:lnTo>
                  <a:pt x="993" y="501"/>
                </a:lnTo>
                <a:cubicBezTo>
                  <a:pt x="992" y="500"/>
                  <a:pt x="990" y="498"/>
                  <a:pt x="987" y="494"/>
                </a:cubicBezTo>
                <a:cubicBezTo>
                  <a:pt x="984" y="489"/>
                  <a:pt x="983" y="485"/>
                  <a:pt x="983" y="484"/>
                </a:cubicBezTo>
                <a:cubicBezTo>
                  <a:pt x="983" y="484"/>
                  <a:pt x="984" y="481"/>
                  <a:pt x="986" y="477"/>
                </a:cubicBezTo>
                <a:cubicBezTo>
                  <a:pt x="988" y="472"/>
                  <a:pt x="990" y="468"/>
                  <a:pt x="990" y="463"/>
                </a:cubicBezTo>
                <a:cubicBezTo>
                  <a:pt x="990" y="460"/>
                  <a:pt x="993" y="458"/>
                  <a:pt x="997" y="455"/>
                </a:cubicBezTo>
                <a:cubicBezTo>
                  <a:pt x="1001" y="453"/>
                  <a:pt x="1005" y="452"/>
                  <a:pt x="1008" y="452"/>
                </a:cubicBezTo>
                <a:lnTo>
                  <a:pt x="1008" y="452"/>
                </a:lnTo>
                <a:cubicBezTo>
                  <a:pt x="1009" y="453"/>
                  <a:pt x="1010" y="455"/>
                  <a:pt x="1011" y="457"/>
                </a:cubicBezTo>
                <a:cubicBezTo>
                  <a:pt x="1015" y="463"/>
                  <a:pt x="1017" y="467"/>
                  <a:pt x="1016" y="468"/>
                </a:cubicBezTo>
                <a:lnTo>
                  <a:pt x="1016" y="468"/>
                </a:lnTo>
                <a:close/>
                <a:moveTo>
                  <a:pt x="1054" y="455"/>
                </a:moveTo>
                <a:lnTo>
                  <a:pt x="1054" y="455"/>
                </a:lnTo>
                <a:cubicBezTo>
                  <a:pt x="1055" y="456"/>
                  <a:pt x="1058" y="460"/>
                  <a:pt x="1064" y="466"/>
                </a:cubicBezTo>
                <a:cubicBezTo>
                  <a:pt x="1061" y="469"/>
                  <a:pt x="1058" y="470"/>
                  <a:pt x="1055" y="470"/>
                </a:cubicBezTo>
                <a:cubicBezTo>
                  <a:pt x="1053" y="470"/>
                  <a:pt x="1052" y="469"/>
                  <a:pt x="1050" y="468"/>
                </a:cubicBezTo>
                <a:cubicBezTo>
                  <a:pt x="1048" y="467"/>
                  <a:pt x="1047" y="466"/>
                  <a:pt x="1045" y="464"/>
                </a:cubicBezTo>
                <a:cubicBezTo>
                  <a:pt x="1041" y="460"/>
                  <a:pt x="1040" y="456"/>
                  <a:pt x="1040" y="452"/>
                </a:cubicBezTo>
                <a:cubicBezTo>
                  <a:pt x="1040" y="452"/>
                  <a:pt x="1041" y="451"/>
                  <a:pt x="1042" y="450"/>
                </a:cubicBezTo>
                <a:cubicBezTo>
                  <a:pt x="1046" y="450"/>
                  <a:pt x="1050" y="452"/>
                  <a:pt x="1054" y="455"/>
                </a:cubicBezTo>
                <a:lnTo>
                  <a:pt x="1054" y="455"/>
                </a:lnTo>
                <a:close/>
                <a:moveTo>
                  <a:pt x="973" y="486"/>
                </a:moveTo>
                <a:lnTo>
                  <a:pt x="973" y="486"/>
                </a:lnTo>
                <a:cubicBezTo>
                  <a:pt x="976" y="499"/>
                  <a:pt x="977" y="507"/>
                  <a:pt x="977" y="509"/>
                </a:cubicBezTo>
                <a:cubicBezTo>
                  <a:pt x="977" y="510"/>
                  <a:pt x="973" y="513"/>
                  <a:pt x="965" y="517"/>
                </a:cubicBezTo>
                <a:cubicBezTo>
                  <a:pt x="957" y="521"/>
                  <a:pt x="952" y="523"/>
                  <a:pt x="950" y="522"/>
                </a:cubicBezTo>
                <a:cubicBezTo>
                  <a:pt x="949" y="522"/>
                  <a:pt x="948" y="522"/>
                  <a:pt x="947" y="521"/>
                </a:cubicBezTo>
                <a:cubicBezTo>
                  <a:pt x="946" y="521"/>
                  <a:pt x="945" y="521"/>
                  <a:pt x="944" y="520"/>
                </a:cubicBezTo>
                <a:cubicBezTo>
                  <a:pt x="941" y="519"/>
                  <a:pt x="940" y="517"/>
                  <a:pt x="940" y="515"/>
                </a:cubicBezTo>
                <a:cubicBezTo>
                  <a:pt x="941" y="508"/>
                  <a:pt x="944" y="504"/>
                  <a:pt x="951" y="502"/>
                </a:cubicBezTo>
                <a:cubicBezTo>
                  <a:pt x="952" y="502"/>
                  <a:pt x="954" y="501"/>
                  <a:pt x="957" y="501"/>
                </a:cubicBezTo>
                <a:cubicBezTo>
                  <a:pt x="959" y="500"/>
                  <a:pt x="960" y="499"/>
                  <a:pt x="960" y="497"/>
                </a:cubicBezTo>
                <a:cubicBezTo>
                  <a:pt x="960" y="495"/>
                  <a:pt x="959" y="493"/>
                  <a:pt x="957" y="492"/>
                </a:cubicBezTo>
                <a:cubicBezTo>
                  <a:pt x="957" y="492"/>
                  <a:pt x="955" y="491"/>
                  <a:pt x="951" y="491"/>
                </a:cubicBezTo>
                <a:cubicBezTo>
                  <a:pt x="948" y="490"/>
                  <a:pt x="946" y="489"/>
                  <a:pt x="945" y="486"/>
                </a:cubicBezTo>
                <a:cubicBezTo>
                  <a:pt x="944" y="484"/>
                  <a:pt x="943" y="481"/>
                  <a:pt x="943" y="477"/>
                </a:cubicBezTo>
                <a:cubicBezTo>
                  <a:pt x="944" y="475"/>
                  <a:pt x="944" y="473"/>
                  <a:pt x="945" y="472"/>
                </a:cubicBez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7" y="472"/>
                  <a:pt x="947" y="472"/>
                </a:cubicBezTo>
                <a:cubicBezTo>
                  <a:pt x="948" y="473"/>
                  <a:pt x="949" y="473"/>
                  <a:pt x="949" y="473"/>
                </a:cubicBezTo>
                <a:cubicBezTo>
                  <a:pt x="950" y="476"/>
                  <a:pt x="950" y="479"/>
                  <a:pt x="949" y="480"/>
                </a:cubicBezTo>
                <a:lnTo>
                  <a:pt x="952" y="481"/>
                </a:lnTo>
                <a:cubicBezTo>
                  <a:pt x="953" y="479"/>
                  <a:pt x="954" y="478"/>
                  <a:pt x="955" y="477"/>
                </a:cubicBezTo>
                <a:cubicBezTo>
                  <a:pt x="956" y="478"/>
                  <a:pt x="957" y="479"/>
                  <a:pt x="958" y="480"/>
                </a:cubicBezTo>
                <a:cubicBezTo>
                  <a:pt x="959" y="481"/>
                  <a:pt x="960" y="482"/>
                  <a:pt x="962" y="482"/>
                </a:cubicBezTo>
                <a:cubicBezTo>
                  <a:pt x="963" y="475"/>
                  <a:pt x="961" y="469"/>
                  <a:pt x="957" y="464"/>
                </a:cubicBezTo>
                <a:cubicBezTo>
                  <a:pt x="954" y="459"/>
                  <a:pt x="952" y="454"/>
                  <a:pt x="953" y="448"/>
                </a:cubicBezTo>
                <a:cubicBezTo>
                  <a:pt x="953" y="446"/>
                  <a:pt x="954" y="443"/>
                  <a:pt x="955" y="442"/>
                </a:cubicBezTo>
                <a:cubicBezTo>
                  <a:pt x="956" y="440"/>
                  <a:pt x="958" y="439"/>
                  <a:pt x="959" y="439"/>
                </a:cubicBezTo>
                <a:cubicBezTo>
                  <a:pt x="961" y="439"/>
                  <a:pt x="963" y="441"/>
                  <a:pt x="964" y="446"/>
                </a:cubicBezTo>
                <a:cubicBezTo>
                  <a:pt x="964" y="449"/>
                  <a:pt x="965" y="451"/>
                  <a:pt x="964" y="453"/>
                </a:cubicBezTo>
                <a:cubicBezTo>
                  <a:pt x="964" y="454"/>
                  <a:pt x="964" y="454"/>
                  <a:pt x="963" y="456"/>
                </a:cubicBezTo>
                <a:cubicBezTo>
                  <a:pt x="962" y="456"/>
                  <a:pt x="961" y="457"/>
                  <a:pt x="961" y="458"/>
                </a:cubicBezTo>
                <a:cubicBezTo>
                  <a:pt x="962" y="458"/>
                  <a:pt x="965" y="459"/>
                  <a:pt x="968" y="460"/>
                </a:cubicBezTo>
                <a:cubicBezTo>
                  <a:pt x="968" y="465"/>
                  <a:pt x="968" y="469"/>
                  <a:pt x="969" y="473"/>
                </a:cubicBezTo>
                <a:cubicBezTo>
                  <a:pt x="970" y="475"/>
                  <a:pt x="971" y="477"/>
                  <a:pt x="973" y="478"/>
                </a:cubicBezTo>
                <a:cubicBezTo>
                  <a:pt x="975" y="479"/>
                  <a:pt x="977" y="480"/>
                  <a:pt x="978" y="481"/>
                </a:cubicBezTo>
                <a:cubicBezTo>
                  <a:pt x="974" y="482"/>
                  <a:pt x="973" y="484"/>
                  <a:pt x="973" y="486"/>
                </a:cubicBezTo>
                <a:lnTo>
                  <a:pt x="973" y="486"/>
                </a:lnTo>
                <a:close/>
                <a:moveTo>
                  <a:pt x="945" y="472"/>
                </a:moveTo>
                <a:lnTo>
                  <a:pt x="945" y="472"/>
                </a:lnTo>
                <a:cubicBezTo>
                  <a:pt x="945" y="472"/>
                  <a:pt x="946" y="472"/>
                  <a:pt x="946" y="472"/>
                </a:cubicBezTo>
                <a:cubicBezTo>
                  <a:pt x="946" y="472"/>
                  <a:pt x="945" y="472"/>
                  <a:pt x="945" y="472"/>
                </a:cubicBezTo>
                <a:lnTo>
                  <a:pt x="945" y="472"/>
                </a:lnTo>
                <a:lnTo>
                  <a:pt x="945" y="472"/>
                </a:lnTo>
                <a:close/>
                <a:moveTo>
                  <a:pt x="1111" y="446"/>
                </a:moveTo>
                <a:lnTo>
                  <a:pt x="1111" y="446"/>
                </a:lnTo>
                <a:cubicBezTo>
                  <a:pt x="1109" y="446"/>
                  <a:pt x="1108" y="446"/>
                  <a:pt x="1108" y="445"/>
                </a:cubicBezTo>
                <a:cubicBezTo>
                  <a:pt x="1109" y="443"/>
                  <a:pt x="1111" y="440"/>
                  <a:pt x="1112" y="436"/>
                </a:cubicBezTo>
                <a:cubicBezTo>
                  <a:pt x="1113" y="434"/>
                  <a:pt x="1114" y="433"/>
                  <a:pt x="1116" y="432"/>
                </a:cubicBezTo>
                <a:cubicBezTo>
                  <a:pt x="1119" y="433"/>
                  <a:pt x="1122" y="434"/>
                  <a:pt x="1127" y="435"/>
                </a:cubicBezTo>
                <a:cubicBezTo>
                  <a:pt x="1127" y="436"/>
                  <a:pt x="1124" y="438"/>
                  <a:pt x="1120" y="441"/>
                </a:cubicBezTo>
                <a:lnTo>
                  <a:pt x="1120" y="441"/>
                </a:lnTo>
                <a:cubicBezTo>
                  <a:pt x="1116" y="445"/>
                  <a:pt x="1113" y="447"/>
                  <a:pt x="1111" y="446"/>
                </a:cubicBezTo>
                <a:lnTo>
                  <a:pt x="1111" y="446"/>
                </a:lnTo>
                <a:close/>
                <a:moveTo>
                  <a:pt x="1105" y="470"/>
                </a:moveTo>
                <a:lnTo>
                  <a:pt x="1105" y="470"/>
                </a:lnTo>
                <a:cubicBezTo>
                  <a:pt x="1108" y="466"/>
                  <a:pt x="1109" y="464"/>
                  <a:pt x="1109" y="463"/>
                </a:cubicBezTo>
                <a:cubicBezTo>
                  <a:pt x="1110" y="464"/>
                  <a:pt x="1113" y="467"/>
                  <a:pt x="1117" y="472"/>
                </a:cubicBezTo>
                <a:cubicBezTo>
                  <a:pt x="1116" y="473"/>
                  <a:pt x="1114" y="475"/>
                  <a:pt x="1112" y="478"/>
                </a:cubicBezTo>
                <a:cubicBezTo>
                  <a:pt x="1111" y="478"/>
                  <a:pt x="1111" y="479"/>
                  <a:pt x="1111" y="479"/>
                </a:cubicBezTo>
                <a:cubicBezTo>
                  <a:pt x="1108" y="481"/>
                  <a:pt x="1106" y="482"/>
                  <a:pt x="1104" y="482"/>
                </a:cubicBezTo>
                <a:cubicBezTo>
                  <a:pt x="1102" y="481"/>
                  <a:pt x="1100" y="480"/>
                  <a:pt x="1098" y="477"/>
                </a:cubicBezTo>
                <a:cubicBezTo>
                  <a:pt x="1098" y="476"/>
                  <a:pt x="1098" y="475"/>
                  <a:pt x="1098" y="473"/>
                </a:cubicBezTo>
                <a:cubicBezTo>
                  <a:pt x="1097" y="471"/>
                  <a:pt x="1097" y="469"/>
                  <a:pt x="1097" y="466"/>
                </a:cubicBezTo>
                <a:cubicBezTo>
                  <a:pt x="1100" y="468"/>
                  <a:pt x="1103" y="469"/>
                  <a:pt x="1105" y="470"/>
                </a:cubicBezTo>
                <a:lnTo>
                  <a:pt x="1105" y="470"/>
                </a:lnTo>
                <a:close/>
                <a:moveTo>
                  <a:pt x="1097" y="495"/>
                </a:moveTo>
                <a:lnTo>
                  <a:pt x="1097" y="495"/>
                </a:lnTo>
                <a:cubicBezTo>
                  <a:pt x="1090" y="495"/>
                  <a:pt x="1084" y="496"/>
                  <a:pt x="1077" y="499"/>
                </a:cubicBezTo>
                <a:cubicBezTo>
                  <a:pt x="1078" y="497"/>
                  <a:pt x="1077" y="494"/>
                  <a:pt x="1077" y="490"/>
                </a:cubicBezTo>
                <a:cubicBezTo>
                  <a:pt x="1077" y="487"/>
                  <a:pt x="1078" y="484"/>
                  <a:pt x="1079" y="483"/>
                </a:cubicBezTo>
                <a:cubicBezTo>
                  <a:pt x="1081" y="482"/>
                  <a:pt x="1082" y="479"/>
                  <a:pt x="1084" y="473"/>
                </a:cubicBezTo>
                <a:lnTo>
                  <a:pt x="1084" y="473"/>
                </a:lnTo>
                <a:cubicBezTo>
                  <a:pt x="1085" y="474"/>
                  <a:pt x="1087" y="477"/>
                  <a:pt x="1089" y="481"/>
                </a:cubicBezTo>
                <a:cubicBezTo>
                  <a:pt x="1090" y="482"/>
                  <a:pt x="1090" y="483"/>
                  <a:pt x="1090" y="484"/>
                </a:cubicBezTo>
                <a:cubicBezTo>
                  <a:pt x="1093" y="490"/>
                  <a:pt x="1095" y="493"/>
                  <a:pt x="1097" y="495"/>
                </a:cubicBezTo>
                <a:lnTo>
                  <a:pt x="1097" y="495"/>
                </a:lnTo>
                <a:close/>
                <a:moveTo>
                  <a:pt x="920" y="483"/>
                </a:moveTo>
                <a:lnTo>
                  <a:pt x="920" y="483"/>
                </a:lnTo>
                <a:cubicBezTo>
                  <a:pt x="925" y="484"/>
                  <a:pt x="927" y="486"/>
                  <a:pt x="927" y="491"/>
                </a:cubicBezTo>
                <a:cubicBezTo>
                  <a:pt x="929" y="491"/>
                  <a:pt x="932" y="490"/>
                  <a:pt x="933" y="487"/>
                </a:cubicBezTo>
                <a:cubicBezTo>
                  <a:pt x="935" y="485"/>
                  <a:pt x="936" y="483"/>
                  <a:pt x="937" y="483"/>
                </a:cubicBezTo>
                <a:lnTo>
                  <a:pt x="938" y="485"/>
                </a:lnTo>
                <a:cubicBezTo>
                  <a:pt x="939" y="485"/>
                  <a:pt x="939" y="486"/>
                  <a:pt x="939" y="486"/>
                </a:cubicBezTo>
                <a:cubicBezTo>
                  <a:pt x="940" y="487"/>
                  <a:pt x="940" y="488"/>
                  <a:pt x="941" y="489"/>
                </a:cubicBezTo>
                <a:cubicBezTo>
                  <a:pt x="941" y="490"/>
                  <a:pt x="941" y="490"/>
                  <a:pt x="942" y="491"/>
                </a:cubicBezTo>
                <a:cubicBezTo>
                  <a:pt x="943" y="493"/>
                  <a:pt x="944" y="494"/>
                  <a:pt x="945" y="495"/>
                </a:cubicBezTo>
                <a:cubicBezTo>
                  <a:pt x="945" y="497"/>
                  <a:pt x="943" y="499"/>
                  <a:pt x="941" y="499"/>
                </a:cubicBezTo>
                <a:cubicBezTo>
                  <a:pt x="940" y="499"/>
                  <a:pt x="938" y="500"/>
                  <a:pt x="934" y="500"/>
                </a:cubicBezTo>
                <a:lnTo>
                  <a:pt x="933" y="500"/>
                </a:lnTo>
                <a:cubicBezTo>
                  <a:pt x="935" y="502"/>
                  <a:pt x="935" y="504"/>
                  <a:pt x="935" y="504"/>
                </a:cubicBezTo>
                <a:cubicBezTo>
                  <a:pt x="935" y="506"/>
                  <a:pt x="932" y="509"/>
                  <a:pt x="926" y="513"/>
                </a:cubicBezTo>
                <a:cubicBezTo>
                  <a:pt x="925" y="513"/>
                  <a:pt x="925" y="514"/>
                  <a:pt x="924" y="514"/>
                </a:cubicBezTo>
                <a:cubicBezTo>
                  <a:pt x="923" y="515"/>
                  <a:pt x="922" y="516"/>
                  <a:pt x="921" y="516"/>
                </a:cubicBezTo>
                <a:cubicBezTo>
                  <a:pt x="918" y="518"/>
                  <a:pt x="916" y="519"/>
                  <a:pt x="915" y="519"/>
                </a:cubicBezTo>
                <a:cubicBezTo>
                  <a:pt x="913" y="518"/>
                  <a:pt x="911" y="517"/>
                  <a:pt x="909" y="513"/>
                </a:cubicBezTo>
                <a:cubicBezTo>
                  <a:pt x="908" y="510"/>
                  <a:pt x="907" y="507"/>
                  <a:pt x="907" y="503"/>
                </a:cubicBezTo>
                <a:cubicBezTo>
                  <a:pt x="908" y="501"/>
                  <a:pt x="909" y="499"/>
                  <a:pt x="911" y="497"/>
                </a:cubicBezTo>
                <a:cubicBezTo>
                  <a:pt x="914" y="496"/>
                  <a:pt x="916" y="494"/>
                  <a:pt x="916" y="493"/>
                </a:cubicBezTo>
                <a:cubicBezTo>
                  <a:pt x="914" y="492"/>
                  <a:pt x="913" y="491"/>
                  <a:pt x="913" y="491"/>
                </a:cubicBezTo>
                <a:cubicBezTo>
                  <a:pt x="911" y="490"/>
                  <a:pt x="911" y="489"/>
                  <a:pt x="911" y="488"/>
                </a:cubicBezTo>
                <a:cubicBezTo>
                  <a:pt x="915" y="485"/>
                  <a:pt x="918" y="483"/>
                  <a:pt x="920" y="483"/>
                </a:cubicBezTo>
                <a:lnTo>
                  <a:pt x="920" y="483"/>
                </a:lnTo>
                <a:close/>
                <a:moveTo>
                  <a:pt x="940" y="535"/>
                </a:moveTo>
                <a:lnTo>
                  <a:pt x="940" y="535"/>
                </a:lnTo>
                <a:cubicBezTo>
                  <a:pt x="936" y="538"/>
                  <a:pt x="934" y="539"/>
                  <a:pt x="932" y="539"/>
                </a:cubicBezTo>
                <a:cubicBezTo>
                  <a:pt x="931" y="539"/>
                  <a:pt x="929" y="537"/>
                  <a:pt x="927" y="534"/>
                </a:cubicBezTo>
                <a:cubicBezTo>
                  <a:pt x="924" y="531"/>
                  <a:pt x="923" y="529"/>
                  <a:pt x="923" y="528"/>
                </a:cubicBezTo>
                <a:cubicBezTo>
                  <a:pt x="923" y="526"/>
                  <a:pt x="924" y="525"/>
                  <a:pt x="925" y="524"/>
                </a:cubicBezTo>
                <a:cubicBezTo>
                  <a:pt x="927" y="523"/>
                  <a:pt x="929" y="523"/>
                  <a:pt x="931" y="523"/>
                </a:cubicBezTo>
                <a:cubicBezTo>
                  <a:pt x="932" y="523"/>
                  <a:pt x="934" y="524"/>
                  <a:pt x="935" y="524"/>
                </a:cubicBezTo>
                <a:cubicBezTo>
                  <a:pt x="936" y="524"/>
                  <a:pt x="937" y="524"/>
                  <a:pt x="939" y="524"/>
                </a:cubicBezTo>
                <a:cubicBezTo>
                  <a:pt x="942" y="525"/>
                  <a:pt x="943" y="525"/>
                  <a:pt x="945" y="526"/>
                </a:cubicBezTo>
                <a:cubicBezTo>
                  <a:pt x="946" y="527"/>
                  <a:pt x="947" y="527"/>
                  <a:pt x="947" y="528"/>
                </a:cubicBezTo>
                <a:cubicBezTo>
                  <a:pt x="947" y="530"/>
                  <a:pt x="944" y="533"/>
                  <a:pt x="940" y="535"/>
                </a:cubicBezTo>
                <a:lnTo>
                  <a:pt x="940" y="535"/>
                </a:lnTo>
                <a:close/>
                <a:moveTo>
                  <a:pt x="941" y="557"/>
                </a:moveTo>
                <a:lnTo>
                  <a:pt x="941" y="557"/>
                </a:lnTo>
                <a:cubicBezTo>
                  <a:pt x="942" y="557"/>
                  <a:pt x="944" y="554"/>
                  <a:pt x="947" y="550"/>
                </a:cubicBezTo>
                <a:cubicBezTo>
                  <a:pt x="949" y="547"/>
                  <a:pt x="951" y="546"/>
                  <a:pt x="952" y="546"/>
                </a:cubicBezTo>
                <a:cubicBezTo>
                  <a:pt x="955" y="546"/>
                  <a:pt x="956" y="547"/>
                  <a:pt x="957" y="547"/>
                </a:cubicBezTo>
                <a:cubicBezTo>
                  <a:pt x="957" y="548"/>
                  <a:pt x="957" y="549"/>
                  <a:pt x="957" y="551"/>
                </a:cubicBezTo>
                <a:cubicBezTo>
                  <a:pt x="957" y="554"/>
                  <a:pt x="956" y="556"/>
                  <a:pt x="954" y="559"/>
                </a:cubicBezTo>
                <a:cubicBezTo>
                  <a:pt x="952" y="562"/>
                  <a:pt x="950" y="565"/>
                  <a:pt x="946" y="568"/>
                </a:cubicBezTo>
                <a:cubicBezTo>
                  <a:pt x="939" y="575"/>
                  <a:pt x="934" y="577"/>
                  <a:pt x="931" y="577"/>
                </a:cubicBezTo>
                <a:cubicBezTo>
                  <a:pt x="930" y="574"/>
                  <a:pt x="929" y="573"/>
                  <a:pt x="929" y="573"/>
                </a:cubicBezTo>
                <a:cubicBezTo>
                  <a:pt x="928" y="573"/>
                  <a:pt x="928" y="572"/>
                  <a:pt x="928" y="572"/>
                </a:cubicBezTo>
                <a:cubicBezTo>
                  <a:pt x="926" y="575"/>
                  <a:pt x="922" y="580"/>
                  <a:pt x="917" y="585"/>
                </a:cubicBezTo>
                <a:cubicBezTo>
                  <a:pt x="911" y="591"/>
                  <a:pt x="906" y="594"/>
                  <a:pt x="902" y="594"/>
                </a:cubicBezTo>
                <a:cubicBezTo>
                  <a:pt x="898" y="592"/>
                  <a:pt x="896" y="591"/>
                  <a:pt x="895" y="591"/>
                </a:cubicBezTo>
                <a:cubicBezTo>
                  <a:pt x="895" y="590"/>
                  <a:pt x="895" y="588"/>
                  <a:pt x="895" y="587"/>
                </a:cubicBezTo>
                <a:cubicBezTo>
                  <a:pt x="895" y="586"/>
                  <a:pt x="895" y="585"/>
                  <a:pt x="895" y="584"/>
                </a:cubicBezTo>
                <a:cubicBezTo>
                  <a:pt x="896" y="582"/>
                  <a:pt x="897" y="579"/>
                  <a:pt x="898" y="575"/>
                </a:cubicBezTo>
                <a:cubicBezTo>
                  <a:pt x="899" y="573"/>
                  <a:pt x="900" y="570"/>
                  <a:pt x="901" y="568"/>
                </a:cubicBezTo>
                <a:lnTo>
                  <a:pt x="907" y="568"/>
                </a:lnTo>
                <a:cubicBezTo>
                  <a:pt x="908" y="570"/>
                  <a:pt x="909" y="572"/>
                  <a:pt x="911" y="573"/>
                </a:cubicBezTo>
                <a:cubicBezTo>
                  <a:pt x="911" y="571"/>
                  <a:pt x="911" y="569"/>
                  <a:pt x="911" y="565"/>
                </a:cubicBezTo>
                <a:cubicBezTo>
                  <a:pt x="911" y="564"/>
                  <a:pt x="911" y="562"/>
                  <a:pt x="912" y="559"/>
                </a:cubicBezTo>
                <a:cubicBezTo>
                  <a:pt x="913" y="560"/>
                  <a:pt x="916" y="560"/>
                  <a:pt x="919" y="562"/>
                </a:cubicBezTo>
                <a:cubicBezTo>
                  <a:pt x="919" y="561"/>
                  <a:pt x="920" y="557"/>
                  <a:pt x="921" y="552"/>
                </a:cubicBezTo>
                <a:cubicBezTo>
                  <a:pt x="923" y="552"/>
                  <a:pt x="924" y="553"/>
                  <a:pt x="925" y="554"/>
                </a:cubicBezTo>
                <a:cubicBezTo>
                  <a:pt x="926" y="555"/>
                  <a:pt x="927" y="555"/>
                  <a:pt x="929" y="557"/>
                </a:cubicBezTo>
                <a:lnTo>
                  <a:pt x="930" y="557"/>
                </a:lnTo>
                <a:cubicBezTo>
                  <a:pt x="930" y="556"/>
                  <a:pt x="930" y="555"/>
                  <a:pt x="931" y="554"/>
                </a:cubicBezTo>
                <a:cubicBezTo>
                  <a:pt x="932" y="553"/>
                  <a:pt x="933" y="553"/>
                  <a:pt x="934" y="553"/>
                </a:cubicBezTo>
                <a:cubicBezTo>
                  <a:pt x="934" y="553"/>
                  <a:pt x="936" y="554"/>
                  <a:pt x="937" y="555"/>
                </a:cubicBezTo>
                <a:cubicBezTo>
                  <a:pt x="939" y="556"/>
                  <a:pt x="941" y="557"/>
                  <a:pt x="941" y="557"/>
                </a:cubicBezTo>
                <a:lnTo>
                  <a:pt x="941" y="557"/>
                </a:lnTo>
                <a:close/>
                <a:moveTo>
                  <a:pt x="893" y="568"/>
                </a:moveTo>
                <a:lnTo>
                  <a:pt x="893" y="568"/>
                </a:lnTo>
                <a:cubicBezTo>
                  <a:pt x="897" y="570"/>
                  <a:pt x="899" y="571"/>
                  <a:pt x="899" y="572"/>
                </a:cubicBezTo>
                <a:cubicBezTo>
                  <a:pt x="898" y="573"/>
                  <a:pt x="898" y="574"/>
                  <a:pt x="898" y="575"/>
                </a:cubicBezTo>
                <a:cubicBezTo>
                  <a:pt x="898" y="575"/>
                  <a:pt x="897" y="576"/>
                  <a:pt x="896" y="577"/>
                </a:cubicBezTo>
                <a:cubicBezTo>
                  <a:pt x="895" y="578"/>
                  <a:pt x="894" y="579"/>
                  <a:pt x="894" y="581"/>
                </a:cubicBezTo>
                <a:cubicBezTo>
                  <a:pt x="894" y="580"/>
                  <a:pt x="894" y="580"/>
                  <a:pt x="893" y="580"/>
                </a:cubicBezTo>
                <a:cubicBezTo>
                  <a:pt x="893" y="578"/>
                  <a:pt x="893" y="576"/>
                  <a:pt x="891" y="574"/>
                </a:cubicBezTo>
                <a:cubicBezTo>
                  <a:pt x="890" y="573"/>
                  <a:pt x="889" y="572"/>
                  <a:pt x="889" y="570"/>
                </a:cubicBezTo>
                <a:cubicBezTo>
                  <a:pt x="888" y="570"/>
                  <a:pt x="888" y="569"/>
                  <a:pt x="888" y="568"/>
                </a:cubicBezTo>
                <a:cubicBezTo>
                  <a:pt x="890" y="568"/>
                  <a:pt x="891" y="567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cubicBezTo>
                  <a:pt x="893" y="568"/>
                  <a:pt x="893" y="568"/>
                  <a:pt x="893" y="568"/>
                </a:cubicBezTo>
                <a:lnTo>
                  <a:pt x="893" y="568"/>
                </a:lnTo>
                <a:close/>
                <a:moveTo>
                  <a:pt x="880" y="573"/>
                </a:moveTo>
                <a:lnTo>
                  <a:pt x="880" y="573"/>
                </a:lnTo>
                <a:cubicBezTo>
                  <a:pt x="879" y="574"/>
                  <a:pt x="878" y="575"/>
                  <a:pt x="876" y="575"/>
                </a:cubicBezTo>
                <a:cubicBezTo>
                  <a:pt x="876" y="575"/>
                  <a:pt x="876" y="575"/>
                  <a:pt x="875" y="575"/>
                </a:cubicBezTo>
                <a:cubicBezTo>
                  <a:pt x="874" y="574"/>
                  <a:pt x="874" y="574"/>
                  <a:pt x="873" y="574"/>
                </a:cubicBezTo>
                <a:cubicBezTo>
                  <a:pt x="871" y="573"/>
                  <a:pt x="869" y="572"/>
                  <a:pt x="870" y="571"/>
                </a:cubicBezTo>
                <a:cubicBezTo>
                  <a:pt x="870" y="570"/>
                  <a:pt x="870" y="570"/>
                  <a:pt x="871" y="569"/>
                </a:cubicBezTo>
                <a:lnTo>
                  <a:pt x="871" y="569"/>
                </a:lnTo>
                <a:cubicBezTo>
                  <a:pt x="872" y="569"/>
                  <a:pt x="873" y="569"/>
                  <a:pt x="874" y="569"/>
                </a:cubicBezTo>
                <a:cubicBezTo>
                  <a:pt x="874" y="569"/>
                  <a:pt x="875" y="569"/>
                  <a:pt x="876" y="569"/>
                </a:cubicBezTo>
                <a:cubicBezTo>
                  <a:pt x="879" y="570"/>
                  <a:pt x="880" y="571"/>
                  <a:pt x="880" y="573"/>
                </a:cubicBezTo>
                <a:lnTo>
                  <a:pt x="880" y="573"/>
                </a:lnTo>
                <a:close/>
                <a:moveTo>
                  <a:pt x="892" y="583"/>
                </a:moveTo>
                <a:lnTo>
                  <a:pt x="892" y="583"/>
                </a:lnTo>
                <a:cubicBezTo>
                  <a:pt x="889" y="586"/>
                  <a:pt x="886" y="589"/>
                  <a:pt x="881" y="590"/>
                </a:cubicBezTo>
                <a:cubicBezTo>
                  <a:pt x="876" y="592"/>
                  <a:pt x="871" y="594"/>
                  <a:pt x="869" y="595"/>
                </a:cubicBezTo>
                <a:cubicBezTo>
                  <a:pt x="864" y="596"/>
                  <a:pt x="861" y="600"/>
                  <a:pt x="858" y="605"/>
                </a:cubicBezTo>
                <a:cubicBezTo>
                  <a:pt x="856" y="611"/>
                  <a:pt x="854" y="613"/>
                  <a:pt x="853" y="613"/>
                </a:cubicBezTo>
                <a:cubicBezTo>
                  <a:pt x="851" y="613"/>
                  <a:pt x="849" y="612"/>
                  <a:pt x="849" y="610"/>
                </a:cubicBezTo>
                <a:cubicBezTo>
                  <a:pt x="849" y="610"/>
                  <a:pt x="849" y="610"/>
                  <a:pt x="849" y="609"/>
                </a:cubicBezTo>
                <a:cubicBezTo>
                  <a:pt x="848" y="608"/>
                  <a:pt x="848" y="608"/>
                  <a:pt x="848" y="607"/>
                </a:cubicBezTo>
                <a:cubicBezTo>
                  <a:pt x="849" y="605"/>
                  <a:pt x="849" y="604"/>
                  <a:pt x="850" y="603"/>
                </a:cubicBezTo>
                <a:cubicBezTo>
                  <a:pt x="851" y="602"/>
                  <a:pt x="852" y="601"/>
                  <a:pt x="852" y="599"/>
                </a:cubicBezTo>
                <a:cubicBezTo>
                  <a:pt x="851" y="599"/>
                  <a:pt x="849" y="598"/>
                  <a:pt x="847" y="596"/>
                </a:cubicBezTo>
                <a:cubicBezTo>
                  <a:pt x="846" y="594"/>
                  <a:pt x="845" y="592"/>
                  <a:pt x="845" y="591"/>
                </a:cubicBezTo>
                <a:cubicBezTo>
                  <a:pt x="846" y="588"/>
                  <a:pt x="849" y="586"/>
                  <a:pt x="855" y="587"/>
                </a:cubicBezTo>
                <a:cubicBezTo>
                  <a:pt x="855" y="586"/>
                  <a:pt x="854" y="583"/>
                  <a:pt x="853" y="580"/>
                </a:cubicBezTo>
                <a:cubicBezTo>
                  <a:pt x="853" y="579"/>
                  <a:pt x="853" y="578"/>
                  <a:pt x="855" y="577"/>
                </a:cubicBezTo>
                <a:cubicBezTo>
                  <a:pt x="856" y="576"/>
                  <a:pt x="856" y="575"/>
                  <a:pt x="857" y="575"/>
                </a:cubicBezTo>
                <a:cubicBezTo>
                  <a:pt x="860" y="574"/>
                  <a:pt x="863" y="573"/>
                  <a:pt x="866" y="574"/>
                </a:cubicBezTo>
                <a:cubicBezTo>
                  <a:pt x="869" y="574"/>
                  <a:pt x="871" y="575"/>
                  <a:pt x="875" y="576"/>
                </a:cubicBezTo>
                <a:cubicBezTo>
                  <a:pt x="876" y="576"/>
                  <a:pt x="878" y="577"/>
                  <a:pt x="879" y="578"/>
                </a:cubicBezTo>
                <a:cubicBezTo>
                  <a:pt x="882" y="579"/>
                  <a:pt x="886" y="581"/>
                  <a:pt x="892" y="583"/>
                </a:cubicBezTo>
                <a:lnTo>
                  <a:pt x="892" y="583"/>
                </a:lnTo>
                <a:close/>
                <a:moveTo>
                  <a:pt x="819" y="611"/>
                </a:moveTo>
                <a:lnTo>
                  <a:pt x="819" y="611"/>
                </a:lnTo>
                <a:lnTo>
                  <a:pt x="818" y="617"/>
                </a:lnTo>
                <a:cubicBezTo>
                  <a:pt x="816" y="620"/>
                  <a:pt x="816" y="625"/>
                  <a:pt x="819" y="632"/>
                </a:cubicBezTo>
                <a:lnTo>
                  <a:pt x="818" y="632"/>
                </a:lnTo>
                <a:cubicBezTo>
                  <a:pt x="818" y="632"/>
                  <a:pt x="815" y="631"/>
                  <a:pt x="809" y="630"/>
                </a:cubicBezTo>
                <a:cubicBezTo>
                  <a:pt x="809" y="630"/>
                  <a:pt x="808" y="630"/>
                  <a:pt x="808" y="630"/>
                </a:cubicBezTo>
                <a:cubicBezTo>
                  <a:pt x="805" y="629"/>
                  <a:pt x="804" y="627"/>
                  <a:pt x="804" y="625"/>
                </a:cubicBezTo>
                <a:cubicBezTo>
                  <a:pt x="804" y="622"/>
                  <a:pt x="805" y="620"/>
                  <a:pt x="808" y="616"/>
                </a:cubicBezTo>
                <a:cubicBezTo>
                  <a:pt x="810" y="614"/>
                  <a:pt x="811" y="612"/>
                  <a:pt x="811" y="611"/>
                </a:cubicBezTo>
                <a:cubicBezTo>
                  <a:pt x="812" y="611"/>
                  <a:pt x="813" y="611"/>
                  <a:pt x="814" y="610"/>
                </a:cubicBezTo>
                <a:lnTo>
                  <a:pt x="819" y="611"/>
                </a:lnTo>
                <a:lnTo>
                  <a:pt x="819" y="611"/>
                </a:lnTo>
                <a:close/>
                <a:moveTo>
                  <a:pt x="837" y="610"/>
                </a:moveTo>
                <a:lnTo>
                  <a:pt x="837" y="610"/>
                </a:lnTo>
                <a:cubicBezTo>
                  <a:pt x="837" y="610"/>
                  <a:pt x="837" y="611"/>
                  <a:pt x="837" y="611"/>
                </a:cubicBezTo>
                <a:cubicBezTo>
                  <a:pt x="836" y="614"/>
                  <a:pt x="835" y="616"/>
                  <a:pt x="835" y="617"/>
                </a:cubicBezTo>
                <a:cubicBezTo>
                  <a:pt x="834" y="625"/>
                  <a:pt x="832" y="628"/>
                  <a:pt x="827" y="628"/>
                </a:cubicBezTo>
                <a:cubicBezTo>
                  <a:pt x="825" y="628"/>
                  <a:pt x="823" y="624"/>
                  <a:pt x="821" y="618"/>
                </a:cubicBezTo>
                <a:cubicBezTo>
                  <a:pt x="822" y="618"/>
                  <a:pt x="822" y="618"/>
                  <a:pt x="822" y="617"/>
                </a:cubicBezTo>
                <a:cubicBezTo>
                  <a:pt x="824" y="618"/>
                  <a:pt x="827" y="618"/>
                  <a:pt x="831" y="617"/>
                </a:cubicBezTo>
                <a:cubicBezTo>
                  <a:pt x="831" y="617"/>
                  <a:pt x="832" y="615"/>
                  <a:pt x="832" y="613"/>
                </a:cubicBezTo>
                <a:cubicBezTo>
                  <a:pt x="833" y="612"/>
                  <a:pt x="832" y="610"/>
                  <a:pt x="831" y="607"/>
                </a:cubicBezTo>
                <a:cubicBezTo>
                  <a:pt x="832" y="605"/>
                  <a:pt x="832" y="603"/>
                  <a:pt x="833" y="599"/>
                </a:cubicBezTo>
                <a:cubicBezTo>
                  <a:pt x="833" y="599"/>
                  <a:pt x="833" y="599"/>
                  <a:pt x="833" y="599"/>
                </a:cubicBezTo>
                <a:cubicBezTo>
                  <a:pt x="834" y="599"/>
                  <a:pt x="835" y="599"/>
                  <a:pt x="835" y="599"/>
                </a:cubicBezTo>
                <a:cubicBezTo>
                  <a:pt x="836" y="604"/>
                  <a:pt x="837" y="608"/>
                  <a:pt x="837" y="610"/>
                </a:cubicBezTo>
                <a:lnTo>
                  <a:pt x="837" y="610"/>
                </a:lnTo>
                <a:close/>
                <a:moveTo>
                  <a:pt x="842" y="605"/>
                </a:moveTo>
                <a:lnTo>
                  <a:pt x="842" y="605"/>
                </a:lnTo>
                <a:cubicBezTo>
                  <a:pt x="843" y="605"/>
                  <a:pt x="843" y="604"/>
                  <a:pt x="844" y="604"/>
                </a:cubicBezTo>
                <a:cubicBezTo>
                  <a:pt x="844" y="606"/>
                  <a:pt x="844" y="607"/>
                  <a:pt x="844" y="609"/>
                </a:cubicBezTo>
                <a:lnTo>
                  <a:pt x="846" y="611"/>
                </a:lnTo>
                <a:cubicBezTo>
                  <a:pt x="844" y="615"/>
                  <a:pt x="843" y="617"/>
                  <a:pt x="841" y="617"/>
                </a:cubicBezTo>
                <a:cubicBezTo>
                  <a:pt x="841" y="617"/>
                  <a:pt x="840" y="616"/>
                  <a:pt x="840" y="616"/>
                </a:cubicBezTo>
                <a:cubicBezTo>
                  <a:pt x="839" y="615"/>
                  <a:pt x="839" y="614"/>
                  <a:pt x="840" y="611"/>
                </a:cubicBezTo>
                <a:cubicBezTo>
                  <a:pt x="840" y="611"/>
                  <a:pt x="840" y="610"/>
                  <a:pt x="840" y="610"/>
                </a:cubicBezTo>
                <a:cubicBezTo>
                  <a:pt x="840" y="608"/>
                  <a:pt x="841" y="606"/>
                  <a:pt x="842" y="605"/>
                </a:cubicBezTo>
                <a:lnTo>
                  <a:pt x="842" y="605"/>
                </a:lnTo>
                <a:close/>
                <a:moveTo>
                  <a:pt x="801" y="631"/>
                </a:moveTo>
                <a:lnTo>
                  <a:pt x="801" y="631"/>
                </a:lnTo>
                <a:lnTo>
                  <a:pt x="801" y="633"/>
                </a:lnTo>
                <a:lnTo>
                  <a:pt x="801" y="633"/>
                </a:lnTo>
                <a:cubicBezTo>
                  <a:pt x="801" y="632"/>
                  <a:pt x="801" y="632"/>
                  <a:pt x="801" y="631"/>
                </a:cubicBezTo>
                <a:lnTo>
                  <a:pt x="801" y="631"/>
                </a:lnTo>
                <a:lnTo>
                  <a:pt x="801" y="631"/>
                </a:lnTo>
                <a:close/>
                <a:moveTo>
                  <a:pt x="807" y="631"/>
                </a:moveTo>
                <a:lnTo>
                  <a:pt x="807" y="631"/>
                </a:lnTo>
                <a:cubicBezTo>
                  <a:pt x="809" y="631"/>
                  <a:pt x="810" y="633"/>
                  <a:pt x="812" y="635"/>
                </a:cubicBezTo>
                <a:cubicBezTo>
                  <a:pt x="813" y="637"/>
                  <a:pt x="814" y="638"/>
                  <a:pt x="814" y="640"/>
                </a:cubicBezTo>
                <a:cubicBezTo>
                  <a:pt x="813" y="641"/>
                  <a:pt x="811" y="643"/>
                  <a:pt x="805" y="647"/>
                </a:cubicBezTo>
                <a:cubicBezTo>
                  <a:pt x="800" y="651"/>
                  <a:pt x="797" y="653"/>
                  <a:pt x="797" y="654"/>
                </a:cubicBezTo>
                <a:cubicBezTo>
                  <a:pt x="797" y="653"/>
                  <a:pt x="797" y="653"/>
                  <a:pt x="796" y="653"/>
                </a:cubicBezTo>
                <a:cubicBezTo>
                  <a:pt x="798" y="647"/>
                  <a:pt x="800" y="641"/>
                  <a:pt x="801" y="633"/>
                </a:cubicBezTo>
                <a:lnTo>
                  <a:pt x="801" y="633"/>
                </a:lnTo>
                <a:lnTo>
                  <a:pt x="807" y="631"/>
                </a:lnTo>
                <a:lnTo>
                  <a:pt x="807" y="631"/>
                </a:lnTo>
                <a:close/>
                <a:moveTo>
                  <a:pt x="957" y="641"/>
                </a:moveTo>
                <a:lnTo>
                  <a:pt x="957" y="641"/>
                </a:lnTo>
                <a:cubicBezTo>
                  <a:pt x="961" y="643"/>
                  <a:pt x="965" y="644"/>
                  <a:pt x="968" y="643"/>
                </a:cubicBezTo>
                <a:lnTo>
                  <a:pt x="968" y="646"/>
                </a:lnTo>
                <a:cubicBezTo>
                  <a:pt x="962" y="647"/>
                  <a:pt x="957" y="648"/>
                  <a:pt x="953" y="648"/>
                </a:cubicBezTo>
                <a:cubicBezTo>
                  <a:pt x="952" y="648"/>
                  <a:pt x="951" y="648"/>
                  <a:pt x="949" y="648"/>
                </a:cubicBezTo>
                <a:lnTo>
                  <a:pt x="945" y="648"/>
                </a:lnTo>
                <a:cubicBezTo>
                  <a:pt x="943" y="647"/>
                  <a:pt x="942" y="646"/>
                  <a:pt x="942" y="644"/>
                </a:cubicBezTo>
                <a:cubicBezTo>
                  <a:pt x="942" y="643"/>
                  <a:pt x="944" y="641"/>
                  <a:pt x="949" y="637"/>
                </a:cubicBezTo>
                <a:cubicBezTo>
                  <a:pt x="951" y="638"/>
                  <a:pt x="953" y="639"/>
                  <a:pt x="957" y="641"/>
                </a:cubicBezTo>
                <a:lnTo>
                  <a:pt x="957" y="641"/>
                </a:lnTo>
                <a:close/>
                <a:moveTo>
                  <a:pt x="1050" y="543"/>
                </a:moveTo>
                <a:lnTo>
                  <a:pt x="1050" y="543"/>
                </a:lnTo>
                <a:cubicBezTo>
                  <a:pt x="1051" y="544"/>
                  <a:pt x="1051" y="546"/>
                  <a:pt x="1051" y="547"/>
                </a:cubicBezTo>
                <a:cubicBezTo>
                  <a:pt x="1051" y="550"/>
                  <a:pt x="1048" y="553"/>
                  <a:pt x="1042" y="555"/>
                </a:cubicBezTo>
                <a:cubicBezTo>
                  <a:pt x="1037" y="557"/>
                  <a:pt x="1034" y="558"/>
                  <a:pt x="1032" y="558"/>
                </a:cubicBezTo>
                <a:cubicBezTo>
                  <a:pt x="1031" y="559"/>
                  <a:pt x="1031" y="559"/>
                  <a:pt x="1031" y="559"/>
                </a:cubicBezTo>
                <a:lnTo>
                  <a:pt x="1027" y="558"/>
                </a:lnTo>
                <a:cubicBezTo>
                  <a:pt x="1027" y="557"/>
                  <a:pt x="1027" y="555"/>
                  <a:pt x="1026" y="553"/>
                </a:cubicBezTo>
                <a:cubicBezTo>
                  <a:pt x="1026" y="552"/>
                  <a:pt x="1028" y="549"/>
                  <a:pt x="1031" y="543"/>
                </a:cubicBezTo>
                <a:cubicBezTo>
                  <a:pt x="1033" y="540"/>
                  <a:pt x="1035" y="537"/>
                  <a:pt x="1037" y="536"/>
                </a:cubicBezTo>
                <a:cubicBezTo>
                  <a:pt x="1038" y="536"/>
                  <a:pt x="1040" y="537"/>
                  <a:pt x="1041" y="537"/>
                </a:cubicBezTo>
                <a:cubicBezTo>
                  <a:pt x="1043" y="538"/>
                  <a:pt x="1044" y="538"/>
                  <a:pt x="1045" y="539"/>
                </a:cubicBezTo>
                <a:cubicBezTo>
                  <a:pt x="1047" y="540"/>
                  <a:pt x="1049" y="542"/>
                  <a:pt x="1050" y="543"/>
                </a:cubicBezTo>
                <a:lnTo>
                  <a:pt x="1050" y="543"/>
                </a:lnTo>
                <a:close/>
                <a:moveTo>
                  <a:pt x="1040" y="534"/>
                </a:moveTo>
                <a:lnTo>
                  <a:pt x="1040" y="534"/>
                </a:lnTo>
                <a:cubicBezTo>
                  <a:pt x="1041" y="534"/>
                  <a:pt x="1042" y="534"/>
                  <a:pt x="1042" y="535"/>
                </a:cubicBezTo>
                <a:lnTo>
                  <a:pt x="1041" y="537"/>
                </a:lnTo>
                <a:cubicBezTo>
                  <a:pt x="1040" y="537"/>
                  <a:pt x="1038" y="536"/>
                  <a:pt x="1037" y="536"/>
                </a:cubicBezTo>
                <a:cubicBezTo>
                  <a:pt x="1038" y="534"/>
                  <a:pt x="1039" y="534"/>
                  <a:pt x="1040" y="534"/>
                </a:cubicBezTo>
                <a:lnTo>
                  <a:pt x="1040" y="534"/>
                </a:lnTo>
                <a:close/>
                <a:moveTo>
                  <a:pt x="1032" y="592"/>
                </a:moveTo>
                <a:lnTo>
                  <a:pt x="1032" y="592"/>
                </a:lnTo>
                <a:cubicBezTo>
                  <a:pt x="1033" y="590"/>
                  <a:pt x="1035" y="588"/>
                  <a:pt x="1036" y="585"/>
                </a:cubicBezTo>
                <a:cubicBezTo>
                  <a:pt x="1037" y="584"/>
                  <a:pt x="1038" y="583"/>
                  <a:pt x="1039" y="582"/>
                </a:cubicBezTo>
                <a:cubicBezTo>
                  <a:pt x="1041" y="583"/>
                  <a:pt x="1044" y="583"/>
                  <a:pt x="1047" y="584"/>
                </a:cubicBezTo>
                <a:cubicBezTo>
                  <a:pt x="1052" y="586"/>
                  <a:pt x="1056" y="588"/>
                  <a:pt x="1057" y="591"/>
                </a:cubicBezTo>
                <a:cubicBezTo>
                  <a:pt x="1055" y="593"/>
                  <a:pt x="1052" y="594"/>
                  <a:pt x="1049" y="594"/>
                </a:cubicBezTo>
                <a:cubicBezTo>
                  <a:pt x="1046" y="595"/>
                  <a:pt x="1042" y="595"/>
                  <a:pt x="1037" y="594"/>
                </a:cubicBezTo>
                <a:cubicBezTo>
                  <a:pt x="1035" y="594"/>
                  <a:pt x="1034" y="594"/>
                  <a:pt x="1032" y="592"/>
                </a:cubicBezTo>
                <a:lnTo>
                  <a:pt x="1032" y="592"/>
                </a:lnTo>
                <a:close/>
                <a:moveTo>
                  <a:pt x="829" y="856"/>
                </a:moveTo>
                <a:lnTo>
                  <a:pt x="829" y="856"/>
                </a:lnTo>
                <a:cubicBezTo>
                  <a:pt x="825" y="860"/>
                  <a:pt x="823" y="861"/>
                  <a:pt x="822" y="861"/>
                </a:cubicBezTo>
                <a:cubicBezTo>
                  <a:pt x="821" y="861"/>
                  <a:pt x="820" y="860"/>
                  <a:pt x="818" y="858"/>
                </a:cubicBezTo>
                <a:cubicBezTo>
                  <a:pt x="816" y="855"/>
                  <a:pt x="815" y="853"/>
                  <a:pt x="814" y="853"/>
                </a:cubicBezTo>
                <a:cubicBezTo>
                  <a:pt x="815" y="853"/>
                  <a:pt x="815" y="853"/>
                  <a:pt x="815" y="852"/>
                </a:cubicBezTo>
                <a:cubicBezTo>
                  <a:pt x="816" y="852"/>
                  <a:pt x="819" y="849"/>
                  <a:pt x="823" y="846"/>
                </a:cubicBezTo>
                <a:cubicBezTo>
                  <a:pt x="825" y="845"/>
                  <a:pt x="827" y="844"/>
                  <a:pt x="832" y="843"/>
                </a:cubicBezTo>
                <a:cubicBezTo>
                  <a:pt x="835" y="845"/>
                  <a:pt x="836" y="847"/>
                  <a:pt x="836" y="848"/>
                </a:cubicBezTo>
                <a:cubicBezTo>
                  <a:pt x="836" y="849"/>
                  <a:pt x="835" y="851"/>
                  <a:pt x="833" y="852"/>
                </a:cubicBezTo>
                <a:cubicBezTo>
                  <a:pt x="832" y="854"/>
                  <a:pt x="831" y="855"/>
                  <a:pt x="829" y="856"/>
                </a:cubicBezTo>
                <a:lnTo>
                  <a:pt x="829" y="856"/>
                </a:lnTo>
                <a:close/>
                <a:moveTo>
                  <a:pt x="777" y="946"/>
                </a:moveTo>
                <a:lnTo>
                  <a:pt x="777" y="946"/>
                </a:lnTo>
                <a:cubicBezTo>
                  <a:pt x="779" y="948"/>
                  <a:pt x="781" y="949"/>
                  <a:pt x="782" y="949"/>
                </a:cubicBezTo>
                <a:cubicBezTo>
                  <a:pt x="782" y="951"/>
                  <a:pt x="781" y="952"/>
                  <a:pt x="779" y="954"/>
                </a:cubicBezTo>
                <a:cubicBezTo>
                  <a:pt x="778" y="955"/>
                  <a:pt x="776" y="957"/>
                  <a:pt x="773" y="958"/>
                </a:cubicBezTo>
                <a:cubicBezTo>
                  <a:pt x="772" y="956"/>
                  <a:pt x="770" y="954"/>
                  <a:pt x="770" y="953"/>
                </a:cubicBezTo>
                <a:cubicBezTo>
                  <a:pt x="769" y="951"/>
                  <a:pt x="768" y="950"/>
                  <a:pt x="769" y="948"/>
                </a:cubicBezTo>
                <a:cubicBezTo>
                  <a:pt x="769" y="947"/>
                  <a:pt x="771" y="945"/>
                  <a:pt x="774" y="944"/>
                </a:cubicBezTo>
                <a:cubicBezTo>
                  <a:pt x="775" y="945"/>
                  <a:pt x="776" y="945"/>
                  <a:pt x="777" y="946"/>
                </a:cubicBezTo>
                <a:lnTo>
                  <a:pt x="777" y="946"/>
                </a:lnTo>
                <a:close/>
                <a:moveTo>
                  <a:pt x="793" y="948"/>
                </a:moveTo>
                <a:lnTo>
                  <a:pt x="793" y="948"/>
                </a:lnTo>
                <a:cubicBezTo>
                  <a:pt x="795" y="946"/>
                  <a:pt x="797" y="946"/>
                  <a:pt x="799" y="946"/>
                </a:cubicBezTo>
                <a:lnTo>
                  <a:pt x="798" y="950"/>
                </a:lnTo>
                <a:cubicBezTo>
                  <a:pt x="796" y="951"/>
                  <a:pt x="795" y="952"/>
                  <a:pt x="794" y="953"/>
                </a:cubicBezTo>
                <a:lnTo>
                  <a:pt x="791" y="953"/>
                </a:lnTo>
                <a:lnTo>
                  <a:pt x="791" y="949"/>
                </a:lnTo>
                <a:cubicBezTo>
                  <a:pt x="792" y="949"/>
                  <a:pt x="793" y="948"/>
                  <a:pt x="793" y="948"/>
                </a:cubicBezTo>
                <a:lnTo>
                  <a:pt x="793" y="948"/>
                </a:lnTo>
                <a:close/>
                <a:moveTo>
                  <a:pt x="783" y="967"/>
                </a:moveTo>
                <a:lnTo>
                  <a:pt x="783" y="967"/>
                </a:lnTo>
                <a:cubicBezTo>
                  <a:pt x="783" y="967"/>
                  <a:pt x="782" y="967"/>
                  <a:pt x="781" y="967"/>
                </a:cubicBezTo>
                <a:cubicBezTo>
                  <a:pt x="778" y="966"/>
                  <a:pt x="777" y="965"/>
                  <a:pt x="778" y="964"/>
                </a:cubicBezTo>
                <a:cubicBezTo>
                  <a:pt x="778" y="962"/>
                  <a:pt x="779" y="960"/>
                  <a:pt x="783" y="958"/>
                </a:cubicBezTo>
                <a:cubicBezTo>
                  <a:pt x="786" y="961"/>
                  <a:pt x="787" y="963"/>
                  <a:pt x="787" y="963"/>
                </a:cubicBezTo>
                <a:cubicBezTo>
                  <a:pt x="787" y="965"/>
                  <a:pt x="785" y="966"/>
                  <a:pt x="783" y="967"/>
                </a:cubicBezTo>
                <a:lnTo>
                  <a:pt x="783" y="967"/>
                </a:lnTo>
                <a:close/>
                <a:moveTo>
                  <a:pt x="763" y="1005"/>
                </a:moveTo>
                <a:lnTo>
                  <a:pt x="763" y="1005"/>
                </a:lnTo>
                <a:cubicBezTo>
                  <a:pt x="758" y="1008"/>
                  <a:pt x="751" y="1011"/>
                  <a:pt x="744" y="1014"/>
                </a:cubicBezTo>
                <a:lnTo>
                  <a:pt x="741" y="1014"/>
                </a:lnTo>
                <a:cubicBezTo>
                  <a:pt x="743" y="1010"/>
                  <a:pt x="746" y="1006"/>
                  <a:pt x="751" y="1000"/>
                </a:cubicBezTo>
                <a:cubicBezTo>
                  <a:pt x="757" y="993"/>
                  <a:pt x="761" y="989"/>
                  <a:pt x="764" y="989"/>
                </a:cubicBezTo>
                <a:cubicBezTo>
                  <a:pt x="764" y="989"/>
                  <a:pt x="765" y="990"/>
                  <a:pt x="765" y="991"/>
                </a:cubicBezTo>
                <a:cubicBezTo>
                  <a:pt x="765" y="993"/>
                  <a:pt x="766" y="994"/>
                  <a:pt x="767" y="994"/>
                </a:cubicBezTo>
                <a:cubicBezTo>
                  <a:pt x="768" y="994"/>
                  <a:pt x="770" y="994"/>
                  <a:pt x="772" y="993"/>
                </a:cubicBezTo>
                <a:cubicBezTo>
                  <a:pt x="775" y="992"/>
                  <a:pt x="776" y="991"/>
                  <a:pt x="777" y="991"/>
                </a:cubicBezTo>
                <a:lnTo>
                  <a:pt x="777" y="995"/>
                </a:lnTo>
                <a:cubicBezTo>
                  <a:pt x="774" y="999"/>
                  <a:pt x="769" y="1002"/>
                  <a:pt x="763" y="1005"/>
                </a:cubicBezTo>
                <a:lnTo>
                  <a:pt x="763" y="1005"/>
                </a:lnTo>
                <a:close/>
                <a:moveTo>
                  <a:pt x="758" y="966"/>
                </a:moveTo>
                <a:lnTo>
                  <a:pt x="758" y="966"/>
                </a:lnTo>
                <a:cubicBezTo>
                  <a:pt x="759" y="966"/>
                  <a:pt x="759" y="967"/>
                  <a:pt x="759" y="968"/>
                </a:cubicBezTo>
                <a:cubicBezTo>
                  <a:pt x="758" y="970"/>
                  <a:pt x="757" y="972"/>
                  <a:pt x="757" y="973"/>
                </a:cubicBezTo>
                <a:cubicBezTo>
                  <a:pt x="756" y="976"/>
                  <a:pt x="755" y="978"/>
                  <a:pt x="754" y="979"/>
                </a:cubicBezTo>
                <a:cubicBezTo>
                  <a:pt x="750" y="984"/>
                  <a:pt x="747" y="987"/>
                  <a:pt x="744" y="986"/>
                </a:cubicBezTo>
                <a:cubicBezTo>
                  <a:pt x="742" y="986"/>
                  <a:pt x="741" y="986"/>
                  <a:pt x="740" y="985"/>
                </a:cubicBezTo>
                <a:lnTo>
                  <a:pt x="740" y="983"/>
                </a:lnTo>
                <a:cubicBezTo>
                  <a:pt x="742" y="981"/>
                  <a:pt x="744" y="979"/>
                  <a:pt x="747" y="977"/>
                </a:cubicBezTo>
                <a:cubicBezTo>
                  <a:pt x="750" y="975"/>
                  <a:pt x="752" y="974"/>
                  <a:pt x="753" y="972"/>
                </a:cubicBezTo>
                <a:lnTo>
                  <a:pt x="754" y="965"/>
                </a:lnTo>
                <a:lnTo>
                  <a:pt x="752" y="965"/>
                </a:lnTo>
                <a:lnTo>
                  <a:pt x="750" y="967"/>
                </a:lnTo>
                <a:lnTo>
                  <a:pt x="746" y="966"/>
                </a:lnTo>
                <a:cubicBezTo>
                  <a:pt x="751" y="961"/>
                  <a:pt x="754" y="957"/>
                  <a:pt x="755" y="956"/>
                </a:cubicBezTo>
                <a:lnTo>
                  <a:pt x="759" y="957"/>
                </a:lnTo>
                <a:cubicBezTo>
                  <a:pt x="759" y="957"/>
                  <a:pt x="759" y="957"/>
                  <a:pt x="759" y="957"/>
                </a:cubicBezTo>
                <a:cubicBezTo>
                  <a:pt x="759" y="957"/>
                  <a:pt x="759" y="958"/>
                  <a:pt x="759" y="958"/>
                </a:cubicBezTo>
                <a:cubicBezTo>
                  <a:pt x="758" y="960"/>
                  <a:pt x="757" y="962"/>
                  <a:pt x="757" y="964"/>
                </a:cubicBezTo>
                <a:cubicBezTo>
                  <a:pt x="756" y="965"/>
                  <a:pt x="757" y="965"/>
                  <a:pt x="758" y="966"/>
                </a:cubicBezTo>
                <a:lnTo>
                  <a:pt x="758" y="966"/>
                </a:lnTo>
                <a:close/>
                <a:moveTo>
                  <a:pt x="752" y="1020"/>
                </a:moveTo>
                <a:lnTo>
                  <a:pt x="752" y="1020"/>
                </a:lnTo>
                <a:cubicBezTo>
                  <a:pt x="748" y="1026"/>
                  <a:pt x="745" y="1029"/>
                  <a:pt x="741" y="1030"/>
                </a:cubicBezTo>
                <a:cubicBezTo>
                  <a:pt x="741" y="1029"/>
                  <a:pt x="741" y="1028"/>
                  <a:pt x="740" y="1026"/>
                </a:cubicBezTo>
                <a:cubicBezTo>
                  <a:pt x="740" y="1024"/>
                  <a:pt x="742" y="1021"/>
                  <a:pt x="746" y="1018"/>
                </a:cubicBezTo>
                <a:cubicBezTo>
                  <a:pt x="750" y="1020"/>
                  <a:pt x="752" y="1020"/>
                  <a:pt x="752" y="1020"/>
                </a:cubicBezTo>
                <a:lnTo>
                  <a:pt x="752" y="1020"/>
                </a:lnTo>
                <a:close/>
                <a:moveTo>
                  <a:pt x="628" y="1202"/>
                </a:moveTo>
                <a:lnTo>
                  <a:pt x="628" y="1202"/>
                </a:lnTo>
                <a:cubicBezTo>
                  <a:pt x="624" y="1202"/>
                  <a:pt x="623" y="1198"/>
                  <a:pt x="623" y="1191"/>
                </a:cubicBezTo>
                <a:cubicBezTo>
                  <a:pt x="623" y="1191"/>
                  <a:pt x="625" y="1188"/>
                  <a:pt x="628" y="1182"/>
                </a:cubicBezTo>
                <a:lnTo>
                  <a:pt x="628" y="1182"/>
                </a:lnTo>
                <a:cubicBezTo>
                  <a:pt x="630" y="1184"/>
                  <a:pt x="633" y="1185"/>
                  <a:pt x="636" y="1186"/>
                </a:cubicBezTo>
                <a:cubicBezTo>
                  <a:pt x="638" y="1187"/>
                  <a:pt x="642" y="1188"/>
                  <a:pt x="646" y="1189"/>
                </a:cubicBezTo>
                <a:lnTo>
                  <a:pt x="646" y="1192"/>
                </a:lnTo>
                <a:cubicBezTo>
                  <a:pt x="645" y="1193"/>
                  <a:pt x="643" y="1195"/>
                  <a:pt x="641" y="1196"/>
                </a:cubicBezTo>
                <a:cubicBezTo>
                  <a:pt x="635" y="1200"/>
                  <a:pt x="630" y="1202"/>
                  <a:pt x="628" y="1202"/>
                </a:cubicBezTo>
                <a:lnTo>
                  <a:pt x="628" y="1202"/>
                </a:lnTo>
                <a:close/>
                <a:moveTo>
                  <a:pt x="628" y="1179"/>
                </a:moveTo>
                <a:lnTo>
                  <a:pt x="628" y="1179"/>
                </a:lnTo>
                <a:lnTo>
                  <a:pt x="626" y="1175"/>
                </a:lnTo>
                <a:cubicBezTo>
                  <a:pt x="627" y="1175"/>
                  <a:pt x="627" y="1174"/>
                  <a:pt x="628" y="1175"/>
                </a:cubicBezTo>
                <a:cubicBezTo>
                  <a:pt x="628" y="1175"/>
                  <a:pt x="629" y="1175"/>
                  <a:pt x="629" y="1175"/>
                </a:cubicBezTo>
                <a:cubicBezTo>
                  <a:pt x="631" y="1175"/>
                  <a:pt x="633" y="1176"/>
                  <a:pt x="636" y="1178"/>
                </a:cubicBezTo>
                <a:lnTo>
                  <a:pt x="636" y="1180"/>
                </a:lnTo>
                <a:lnTo>
                  <a:pt x="628" y="1179"/>
                </a:lnTo>
                <a:lnTo>
                  <a:pt x="628" y="1179"/>
                </a:lnTo>
                <a:close/>
                <a:moveTo>
                  <a:pt x="623" y="1184"/>
                </a:moveTo>
                <a:lnTo>
                  <a:pt x="623" y="1184"/>
                </a:lnTo>
                <a:cubicBezTo>
                  <a:pt x="623" y="1185"/>
                  <a:pt x="621" y="1187"/>
                  <a:pt x="617" y="1190"/>
                </a:cubicBezTo>
                <a:cubicBezTo>
                  <a:pt x="613" y="1194"/>
                  <a:pt x="610" y="1196"/>
                  <a:pt x="608" y="1196"/>
                </a:cubicBezTo>
                <a:cubicBezTo>
                  <a:pt x="605" y="1195"/>
                  <a:pt x="604" y="1195"/>
                  <a:pt x="605" y="1193"/>
                </a:cubicBezTo>
                <a:cubicBezTo>
                  <a:pt x="605" y="1193"/>
                  <a:pt x="607" y="1190"/>
                  <a:pt x="611" y="1185"/>
                </a:cubicBezTo>
                <a:cubicBezTo>
                  <a:pt x="614" y="1181"/>
                  <a:pt x="617" y="1178"/>
                  <a:pt x="619" y="1176"/>
                </a:cubicBezTo>
                <a:cubicBezTo>
                  <a:pt x="620" y="1177"/>
                  <a:pt x="620" y="1178"/>
                  <a:pt x="621" y="1179"/>
                </a:cubicBezTo>
                <a:cubicBezTo>
                  <a:pt x="623" y="1180"/>
                  <a:pt x="623" y="1182"/>
                  <a:pt x="623" y="1184"/>
                </a:cubicBezTo>
                <a:lnTo>
                  <a:pt x="623" y="1184"/>
                </a:lnTo>
                <a:close/>
                <a:moveTo>
                  <a:pt x="622" y="1174"/>
                </a:moveTo>
                <a:lnTo>
                  <a:pt x="622" y="1174"/>
                </a:lnTo>
                <a:lnTo>
                  <a:pt x="623" y="1175"/>
                </a:lnTo>
                <a:cubicBezTo>
                  <a:pt x="622" y="1176"/>
                  <a:pt x="621" y="1175"/>
                  <a:pt x="620" y="1175"/>
                </a:cubicBezTo>
                <a:cubicBezTo>
                  <a:pt x="621" y="1175"/>
                  <a:pt x="622" y="1174"/>
                  <a:pt x="622" y="1174"/>
                </a:cubicBezTo>
                <a:lnTo>
                  <a:pt x="622" y="1174"/>
                </a:lnTo>
                <a:close/>
                <a:moveTo>
                  <a:pt x="634" y="1240"/>
                </a:moveTo>
                <a:lnTo>
                  <a:pt x="634" y="1240"/>
                </a:lnTo>
                <a:cubicBezTo>
                  <a:pt x="634" y="1240"/>
                  <a:pt x="634" y="1239"/>
                  <a:pt x="634" y="1239"/>
                </a:cubicBezTo>
                <a:cubicBezTo>
                  <a:pt x="633" y="1236"/>
                  <a:pt x="632" y="1234"/>
                  <a:pt x="632" y="1232"/>
                </a:cubicBezTo>
                <a:cubicBezTo>
                  <a:pt x="635" y="1233"/>
                  <a:pt x="638" y="1233"/>
                  <a:pt x="642" y="1234"/>
                </a:cubicBezTo>
                <a:lnTo>
                  <a:pt x="641" y="1241"/>
                </a:lnTo>
                <a:cubicBezTo>
                  <a:pt x="640" y="1243"/>
                  <a:pt x="638" y="1244"/>
                  <a:pt x="637" y="1244"/>
                </a:cubicBezTo>
                <a:cubicBezTo>
                  <a:pt x="637" y="1244"/>
                  <a:pt x="637" y="1244"/>
                  <a:pt x="637" y="1243"/>
                </a:cubicBezTo>
                <a:cubicBezTo>
                  <a:pt x="636" y="1243"/>
                  <a:pt x="635" y="1242"/>
                  <a:pt x="634" y="1240"/>
                </a:cubicBezTo>
                <a:lnTo>
                  <a:pt x="634" y="1240"/>
                </a:lnTo>
                <a:close/>
                <a:moveTo>
                  <a:pt x="623" y="1238"/>
                </a:moveTo>
                <a:lnTo>
                  <a:pt x="623" y="1238"/>
                </a:lnTo>
                <a:cubicBezTo>
                  <a:pt x="628" y="1239"/>
                  <a:pt x="631" y="1240"/>
                  <a:pt x="631" y="1241"/>
                </a:cubicBezTo>
                <a:lnTo>
                  <a:pt x="631" y="1242"/>
                </a:lnTo>
                <a:cubicBezTo>
                  <a:pt x="629" y="1242"/>
                  <a:pt x="628" y="1242"/>
                  <a:pt x="627" y="1242"/>
                </a:cubicBezTo>
                <a:cubicBezTo>
                  <a:pt x="627" y="1243"/>
                  <a:pt x="627" y="1243"/>
                  <a:pt x="626" y="1243"/>
                </a:cubicBezTo>
                <a:cubicBezTo>
                  <a:pt x="625" y="1244"/>
                  <a:pt x="625" y="1245"/>
                  <a:pt x="625" y="1245"/>
                </a:cubicBezTo>
                <a:lnTo>
                  <a:pt x="621" y="1244"/>
                </a:lnTo>
                <a:lnTo>
                  <a:pt x="622" y="1239"/>
                </a:lnTo>
                <a:lnTo>
                  <a:pt x="623" y="1238"/>
                </a:lnTo>
                <a:lnTo>
                  <a:pt x="623" y="1238"/>
                </a:lnTo>
                <a:close/>
                <a:moveTo>
                  <a:pt x="637" y="1254"/>
                </a:moveTo>
                <a:lnTo>
                  <a:pt x="637" y="1254"/>
                </a:lnTo>
                <a:cubicBezTo>
                  <a:pt x="640" y="1256"/>
                  <a:pt x="643" y="1258"/>
                  <a:pt x="648" y="1260"/>
                </a:cubicBezTo>
                <a:cubicBezTo>
                  <a:pt x="648" y="1261"/>
                  <a:pt x="648" y="1262"/>
                  <a:pt x="647" y="1263"/>
                </a:cubicBezTo>
                <a:cubicBezTo>
                  <a:pt x="647" y="1266"/>
                  <a:pt x="646" y="1269"/>
                  <a:pt x="646" y="1271"/>
                </a:cubicBezTo>
                <a:cubicBezTo>
                  <a:pt x="643" y="1270"/>
                  <a:pt x="639" y="1268"/>
                  <a:pt x="634" y="1265"/>
                </a:cubicBezTo>
                <a:cubicBezTo>
                  <a:pt x="630" y="1262"/>
                  <a:pt x="628" y="1260"/>
                  <a:pt x="627" y="1258"/>
                </a:cubicBezTo>
                <a:cubicBezTo>
                  <a:pt x="627" y="1258"/>
                  <a:pt x="627" y="1257"/>
                  <a:pt x="627" y="1256"/>
                </a:cubicBezTo>
                <a:cubicBezTo>
                  <a:pt x="628" y="1252"/>
                  <a:pt x="629" y="1248"/>
                  <a:pt x="629" y="1246"/>
                </a:cubicBezTo>
                <a:cubicBezTo>
                  <a:pt x="630" y="1249"/>
                  <a:pt x="633" y="1251"/>
                  <a:pt x="637" y="1254"/>
                </a:cubicBezTo>
                <a:lnTo>
                  <a:pt x="637" y="1254"/>
                </a:lnTo>
                <a:close/>
                <a:moveTo>
                  <a:pt x="401" y="1394"/>
                </a:moveTo>
                <a:lnTo>
                  <a:pt x="401" y="1394"/>
                </a:lnTo>
                <a:cubicBezTo>
                  <a:pt x="398" y="1393"/>
                  <a:pt x="395" y="1392"/>
                  <a:pt x="394" y="1392"/>
                </a:cubicBezTo>
                <a:lnTo>
                  <a:pt x="394" y="1391"/>
                </a:lnTo>
                <a:cubicBezTo>
                  <a:pt x="395" y="1390"/>
                  <a:pt x="398" y="1389"/>
                  <a:pt x="402" y="1388"/>
                </a:cubicBezTo>
                <a:cubicBezTo>
                  <a:pt x="405" y="1387"/>
                  <a:pt x="408" y="1386"/>
                  <a:pt x="410" y="1385"/>
                </a:cubicBezTo>
                <a:cubicBezTo>
                  <a:pt x="413" y="1383"/>
                  <a:pt x="417" y="1379"/>
                  <a:pt x="421" y="1374"/>
                </a:cubicBezTo>
                <a:cubicBezTo>
                  <a:pt x="429" y="1378"/>
                  <a:pt x="433" y="1382"/>
                  <a:pt x="432" y="1384"/>
                </a:cubicBezTo>
                <a:cubicBezTo>
                  <a:pt x="432" y="1390"/>
                  <a:pt x="428" y="1394"/>
                  <a:pt x="421" y="1395"/>
                </a:cubicBezTo>
                <a:cubicBezTo>
                  <a:pt x="418" y="1396"/>
                  <a:pt x="411" y="1395"/>
                  <a:pt x="401" y="1394"/>
                </a:cubicBezTo>
                <a:lnTo>
                  <a:pt x="401" y="1394"/>
                </a:lnTo>
                <a:close/>
                <a:moveTo>
                  <a:pt x="449" y="1425"/>
                </a:moveTo>
                <a:lnTo>
                  <a:pt x="449" y="1425"/>
                </a:lnTo>
                <a:cubicBezTo>
                  <a:pt x="443" y="1428"/>
                  <a:pt x="440" y="1429"/>
                  <a:pt x="439" y="1430"/>
                </a:cubicBezTo>
                <a:cubicBezTo>
                  <a:pt x="436" y="1433"/>
                  <a:pt x="433" y="1435"/>
                  <a:pt x="431" y="1435"/>
                </a:cubicBezTo>
                <a:cubicBezTo>
                  <a:pt x="429" y="1435"/>
                  <a:pt x="427" y="1436"/>
                  <a:pt x="426" y="1436"/>
                </a:cubicBezTo>
                <a:cubicBezTo>
                  <a:pt x="423" y="1436"/>
                  <a:pt x="422" y="1437"/>
                  <a:pt x="421" y="1438"/>
                </a:cubicBezTo>
                <a:lnTo>
                  <a:pt x="418" y="1438"/>
                </a:lnTo>
                <a:cubicBezTo>
                  <a:pt x="417" y="1436"/>
                  <a:pt x="416" y="1435"/>
                  <a:pt x="415" y="1435"/>
                </a:cubicBezTo>
                <a:cubicBezTo>
                  <a:pt x="406" y="1436"/>
                  <a:pt x="400" y="1437"/>
                  <a:pt x="397" y="1437"/>
                </a:cubicBezTo>
                <a:cubicBezTo>
                  <a:pt x="396" y="1437"/>
                  <a:pt x="396" y="1437"/>
                  <a:pt x="396" y="1437"/>
                </a:cubicBezTo>
                <a:cubicBezTo>
                  <a:pt x="385" y="1436"/>
                  <a:pt x="380" y="1433"/>
                  <a:pt x="380" y="1429"/>
                </a:cubicBezTo>
                <a:cubicBezTo>
                  <a:pt x="380" y="1425"/>
                  <a:pt x="384" y="1422"/>
                  <a:pt x="391" y="1420"/>
                </a:cubicBezTo>
                <a:cubicBezTo>
                  <a:pt x="395" y="1418"/>
                  <a:pt x="399" y="1417"/>
                  <a:pt x="405" y="1415"/>
                </a:cubicBezTo>
                <a:cubicBezTo>
                  <a:pt x="403" y="1415"/>
                  <a:pt x="402" y="1414"/>
                  <a:pt x="402" y="1412"/>
                </a:cubicBezTo>
                <a:cubicBezTo>
                  <a:pt x="403" y="1407"/>
                  <a:pt x="408" y="1404"/>
                  <a:pt x="419" y="1403"/>
                </a:cubicBezTo>
                <a:cubicBezTo>
                  <a:pt x="420" y="1402"/>
                  <a:pt x="421" y="1402"/>
                  <a:pt x="422" y="1402"/>
                </a:cubicBezTo>
                <a:cubicBezTo>
                  <a:pt x="426" y="1402"/>
                  <a:pt x="430" y="1401"/>
                  <a:pt x="434" y="1401"/>
                </a:cubicBezTo>
                <a:lnTo>
                  <a:pt x="434" y="1401"/>
                </a:lnTo>
                <a:cubicBezTo>
                  <a:pt x="436" y="1401"/>
                  <a:pt x="437" y="1401"/>
                  <a:pt x="437" y="1402"/>
                </a:cubicBezTo>
                <a:cubicBezTo>
                  <a:pt x="437" y="1402"/>
                  <a:pt x="437" y="1403"/>
                  <a:pt x="437" y="1404"/>
                </a:cubicBezTo>
                <a:cubicBezTo>
                  <a:pt x="436" y="1405"/>
                  <a:pt x="436" y="1407"/>
                  <a:pt x="435" y="1408"/>
                </a:cubicBezTo>
                <a:cubicBezTo>
                  <a:pt x="435" y="1408"/>
                  <a:pt x="436" y="1409"/>
                  <a:pt x="437" y="1410"/>
                </a:cubicBezTo>
                <a:cubicBezTo>
                  <a:pt x="438" y="1410"/>
                  <a:pt x="442" y="1408"/>
                  <a:pt x="449" y="1404"/>
                </a:cubicBezTo>
                <a:lnTo>
                  <a:pt x="449" y="1409"/>
                </a:lnTo>
                <a:cubicBezTo>
                  <a:pt x="448" y="1410"/>
                  <a:pt x="447" y="1411"/>
                  <a:pt x="446" y="1413"/>
                </a:cubicBezTo>
                <a:cubicBezTo>
                  <a:pt x="453" y="1414"/>
                  <a:pt x="456" y="1416"/>
                  <a:pt x="455" y="1419"/>
                </a:cubicBezTo>
                <a:cubicBezTo>
                  <a:pt x="455" y="1420"/>
                  <a:pt x="455" y="1421"/>
                  <a:pt x="454" y="1422"/>
                </a:cubicBezTo>
                <a:cubicBezTo>
                  <a:pt x="452" y="1423"/>
                  <a:pt x="451" y="1424"/>
                  <a:pt x="449" y="1425"/>
                </a:cubicBezTo>
                <a:lnTo>
                  <a:pt x="449" y="1425"/>
                </a:lnTo>
                <a:close/>
                <a:moveTo>
                  <a:pt x="434" y="1401"/>
                </a:moveTo>
                <a:lnTo>
                  <a:pt x="434" y="1401"/>
                </a:lnTo>
                <a:cubicBezTo>
                  <a:pt x="434" y="1401"/>
                  <a:pt x="434" y="1401"/>
                  <a:pt x="434" y="1401"/>
                </a:cubicBezTo>
                <a:lnTo>
                  <a:pt x="434" y="1401"/>
                </a:lnTo>
                <a:lnTo>
                  <a:pt x="434" y="1401"/>
                </a:lnTo>
                <a:lnTo>
                  <a:pt x="434" y="1401"/>
                </a:lnTo>
                <a:close/>
                <a:moveTo>
                  <a:pt x="399" y="1456"/>
                </a:moveTo>
                <a:lnTo>
                  <a:pt x="399" y="1456"/>
                </a:lnTo>
                <a:cubicBezTo>
                  <a:pt x="397" y="1456"/>
                  <a:pt x="393" y="1455"/>
                  <a:pt x="388" y="1454"/>
                </a:cubicBezTo>
                <a:lnTo>
                  <a:pt x="389" y="1453"/>
                </a:lnTo>
                <a:cubicBezTo>
                  <a:pt x="389" y="1451"/>
                  <a:pt x="391" y="1449"/>
                  <a:pt x="394" y="1447"/>
                </a:cubicBezTo>
                <a:cubicBezTo>
                  <a:pt x="396" y="1447"/>
                  <a:pt x="399" y="1446"/>
                  <a:pt x="405" y="1446"/>
                </a:cubicBezTo>
                <a:lnTo>
                  <a:pt x="404" y="1455"/>
                </a:lnTo>
                <a:cubicBezTo>
                  <a:pt x="401" y="1456"/>
                  <a:pt x="400" y="1457"/>
                  <a:pt x="399" y="1456"/>
                </a:cubicBezTo>
                <a:lnTo>
                  <a:pt x="399" y="1456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4" y="1472"/>
                </a:lnTo>
                <a:lnTo>
                  <a:pt x="354" y="1472"/>
                </a:lnTo>
                <a:cubicBezTo>
                  <a:pt x="355" y="1472"/>
                  <a:pt x="356" y="1473"/>
                  <a:pt x="357" y="1473"/>
                </a:cubicBezTo>
                <a:cubicBezTo>
                  <a:pt x="360" y="1473"/>
                  <a:pt x="361" y="1474"/>
                  <a:pt x="362" y="1474"/>
                </a:cubicBezTo>
                <a:cubicBezTo>
                  <a:pt x="361" y="1477"/>
                  <a:pt x="361" y="1480"/>
                  <a:pt x="361" y="1484"/>
                </a:cubicBezTo>
                <a:cubicBezTo>
                  <a:pt x="360" y="1484"/>
                  <a:pt x="359" y="1484"/>
                  <a:pt x="359" y="1485"/>
                </a:cubicBezTo>
                <a:cubicBezTo>
                  <a:pt x="356" y="1485"/>
                  <a:pt x="354" y="1486"/>
                  <a:pt x="353" y="1486"/>
                </a:cubicBezTo>
                <a:cubicBezTo>
                  <a:pt x="352" y="1485"/>
                  <a:pt x="351" y="1485"/>
                  <a:pt x="351" y="1485"/>
                </a:cubicBezTo>
                <a:cubicBezTo>
                  <a:pt x="349" y="1484"/>
                  <a:pt x="347" y="1484"/>
                  <a:pt x="346" y="1484"/>
                </a:cubicBezTo>
                <a:lnTo>
                  <a:pt x="347" y="1476"/>
                </a:lnTo>
                <a:cubicBezTo>
                  <a:pt x="348" y="1475"/>
                  <a:pt x="350" y="1474"/>
                  <a:pt x="353" y="1472"/>
                </a:cubicBez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54" y="1472"/>
                </a:moveTo>
                <a:lnTo>
                  <a:pt x="354" y="1472"/>
                </a:lnTo>
                <a:lnTo>
                  <a:pt x="353" y="1472"/>
                </a:lnTo>
                <a:cubicBezTo>
                  <a:pt x="353" y="1472"/>
                  <a:pt x="354" y="1472"/>
                  <a:pt x="354" y="1472"/>
                </a:cubicBezTo>
                <a:lnTo>
                  <a:pt x="354" y="1472"/>
                </a:lnTo>
                <a:close/>
                <a:moveTo>
                  <a:pt x="361" y="1433"/>
                </a:moveTo>
                <a:lnTo>
                  <a:pt x="361" y="1433"/>
                </a:lnTo>
                <a:cubicBezTo>
                  <a:pt x="368" y="1437"/>
                  <a:pt x="371" y="1441"/>
                  <a:pt x="370" y="1445"/>
                </a:cubicBezTo>
                <a:cubicBezTo>
                  <a:pt x="370" y="1451"/>
                  <a:pt x="367" y="1454"/>
                  <a:pt x="361" y="1453"/>
                </a:cubicBezTo>
                <a:cubicBezTo>
                  <a:pt x="358" y="1453"/>
                  <a:pt x="355" y="1451"/>
                  <a:pt x="350" y="1448"/>
                </a:cubicBezTo>
                <a:cubicBezTo>
                  <a:pt x="344" y="1445"/>
                  <a:pt x="342" y="1442"/>
                  <a:pt x="342" y="1440"/>
                </a:cubicBezTo>
                <a:cubicBezTo>
                  <a:pt x="343" y="1436"/>
                  <a:pt x="344" y="1433"/>
                  <a:pt x="346" y="1432"/>
                </a:cubicBezTo>
                <a:cubicBezTo>
                  <a:pt x="347" y="1431"/>
                  <a:pt x="350" y="1430"/>
                  <a:pt x="354" y="1429"/>
                </a:cubicBezTo>
                <a:cubicBezTo>
                  <a:pt x="355" y="1430"/>
                  <a:pt x="358" y="1431"/>
                  <a:pt x="361" y="1433"/>
                </a:cubicBezTo>
                <a:lnTo>
                  <a:pt x="361" y="1433"/>
                </a:lnTo>
                <a:close/>
                <a:moveTo>
                  <a:pt x="374" y="1466"/>
                </a:moveTo>
                <a:lnTo>
                  <a:pt x="374" y="1466"/>
                </a:lnTo>
                <a:cubicBezTo>
                  <a:pt x="376" y="1465"/>
                  <a:pt x="378" y="1465"/>
                  <a:pt x="380" y="1465"/>
                </a:cubicBezTo>
                <a:cubicBezTo>
                  <a:pt x="380" y="1467"/>
                  <a:pt x="380" y="1469"/>
                  <a:pt x="380" y="1470"/>
                </a:cubicBezTo>
                <a:cubicBezTo>
                  <a:pt x="381" y="1470"/>
                  <a:pt x="382" y="1472"/>
                  <a:pt x="384" y="1475"/>
                </a:cubicBezTo>
                <a:lnTo>
                  <a:pt x="384" y="1474"/>
                </a:lnTo>
                <a:cubicBezTo>
                  <a:pt x="385" y="1474"/>
                  <a:pt x="385" y="1473"/>
                  <a:pt x="385" y="1472"/>
                </a:cubicBezTo>
                <a:cubicBezTo>
                  <a:pt x="386" y="1471"/>
                  <a:pt x="387" y="1471"/>
                  <a:pt x="388" y="1471"/>
                </a:cubicBezTo>
                <a:cubicBezTo>
                  <a:pt x="388" y="1473"/>
                  <a:pt x="389" y="1476"/>
                  <a:pt x="391" y="1481"/>
                </a:cubicBezTo>
                <a:cubicBezTo>
                  <a:pt x="390" y="1482"/>
                  <a:pt x="390" y="1483"/>
                  <a:pt x="389" y="1485"/>
                </a:cubicBezTo>
                <a:cubicBezTo>
                  <a:pt x="387" y="1485"/>
                  <a:pt x="385" y="1485"/>
                  <a:pt x="384" y="1485"/>
                </a:cubicBezTo>
                <a:cubicBezTo>
                  <a:pt x="383" y="1485"/>
                  <a:pt x="383" y="1484"/>
                  <a:pt x="382" y="1483"/>
                </a:cubicBezTo>
                <a:cubicBezTo>
                  <a:pt x="380" y="1482"/>
                  <a:pt x="379" y="1482"/>
                  <a:pt x="377" y="1482"/>
                </a:cubicBezTo>
                <a:cubicBezTo>
                  <a:pt x="376" y="1479"/>
                  <a:pt x="375" y="1477"/>
                  <a:pt x="374" y="1475"/>
                </a:cubicBezTo>
                <a:cubicBezTo>
                  <a:pt x="373" y="1474"/>
                  <a:pt x="373" y="1473"/>
                  <a:pt x="373" y="1471"/>
                </a:cubicBezTo>
                <a:cubicBezTo>
                  <a:pt x="373" y="1469"/>
                  <a:pt x="373" y="1467"/>
                  <a:pt x="374" y="1466"/>
                </a:cubicBezTo>
                <a:lnTo>
                  <a:pt x="374" y="1466"/>
                </a:lnTo>
                <a:close/>
                <a:moveTo>
                  <a:pt x="334" y="1500"/>
                </a:moveTo>
                <a:lnTo>
                  <a:pt x="334" y="1500"/>
                </a:lnTo>
                <a:cubicBezTo>
                  <a:pt x="332" y="1502"/>
                  <a:pt x="330" y="1503"/>
                  <a:pt x="329" y="1503"/>
                </a:cubicBezTo>
                <a:cubicBezTo>
                  <a:pt x="328" y="1503"/>
                  <a:pt x="326" y="1501"/>
                  <a:pt x="323" y="1498"/>
                </a:cubicBezTo>
                <a:cubicBezTo>
                  <a:pt x="321" y="1496"/>
                  <a:pt x="319" y="1495"/>
                  <a:pt x="318" y="1494"/>
                </a:cubicBezTo>
                <a:cubicBezTo>
                  <a:pt x="318" y="1493"/>
                  <a:pt x="317" y="1492"/>
                  <a:pt x="317" y="1492"/>
                </a:cubicBezTo>
                <a:lnTo>
                  <a:pt x="318" y="1492"/>
                </a:lnTo>
                <a:cubicBezTo>
                  <a:pt x="318" y="1492"/>
                  <a:pt x="320" y="1492"/>
                  <a:pt x="323" y="1493"/>
                </a:cubicBezTo>
                <a:cubicBezTo>
                  <a:pt x="326" y="1492"/>
                  <a:pt x="327" y="1491"/>
                  <a:pt x="327" y="1489"/>
                </a:cubicBezTo>
                <a:cubicBezTo>
                  <a:pt x="327" y="1489"/>
                  <a:pt x="327" y="1489"/>
                  <a:pt x="327" y="1488"/>
                </a:cubicBezTo>
                <a:cubicBezTo>
                  <a:pt x="328" y="1489"/>
                  <a:pt x="329" y="1489"/>
                  <a:pt x="329" y="1489"/>
                </a:cubicBezTo>
                <a:cubicBezTo>
                  <a:pt x="335" y="1490"/>
                  <a:pt x="337" y="1493"/>
                  <a:pt x="337" y="1496"/>
                </a:cubicBezTo>
                <a:cubicBezTo>
                  <a:pt x="337" y="1497"/>
                  <a:pt x="337" y="1497"/>
                  <a:pt x="336" y="1498"/>
                </a:cubicBezTo>
                <a:cubicBezTo>
                  <a:pt x="336" y="1499"/>
                  <a:pt x="335" y="1500"/>
                  <a:pt x="334" y="1500"/>
                </a:cubicBezTo>
                <a:lnTo>
                  <a:pt x="334" y="1500"/>
                </a:lnTo>
                <a:close/>
                <a:moveTo>
                  <a:pt x="309" y="1491"/>
                </a:moveTo>
                <a:lnTo>
                  <a:pt x="309" y="1491"/>
                </a:lnTo>
                <a:cubicBezTo>
                  <a:pt x="311" y="1492"/>
                  <a:pt x="312" y="1493"/>
                  <a:pt x="315" y="1497"/>
                </a:cubicBezTo>
                <a:cubicBezTo>
                  <a:pt x="317" y="1500"/>
                  <a:pt x="318" y="1502"/>
                  <a:pt x="318" y="1503"/>
                </a:cubicBezTo>
                <a:cubicBezTo>
                  <a:pt x="318" y="1506"/>
                  <a:pt x="315" y="1508"/>
                  <a:pt x="311" y="1511"/>
                </a:cubicBezTo>
                <a:cubicBezTo>
                  <a:pt x="308" y="1513"/>
                  <a:pt x="306" y="1514"/>
                  <a:pt x="305" y="1515"/>
                </a:cubicBezTo>
                <a:cubicBezTo>
                  <a:pt x="301" y="1514"/>
                  <a:pt x="299" y="1512"/>
                  <a:pt x="298" y="1509"/>
                </a:cubicBezTo>
                <a:cubicBezTo>
                  <a:pt x="296" y="1508"/>
                  <a:pt x="295" y="1506"/>
                  <a:pt x="294" y="1505"/>
                </a:cubicBezTo>
                <a:cubicBezTo>
                  <a:pt x="293" y="1503"/>
                  <a:pt x="292" y="1501"/>
                  <a:pt x="292" y="1500"/>
                </a:cubicBezTo>
                <a:cubicBezTo>
                  <a:pt x="292" y="1499"/>
                  <a:pt x="293" y="1498"/>
                  <a:pt x="295" y="1496"/>
                </a:cubicBezTo>
                <a:cubicBezTo>
                  <a:pt x="296" y="1495"/>
                  <a:pt x="298" y="1494"/>
                  <a:pt x="299" y="1495"/>
                </a:cubicBezTo>
                <a:cubicBezTo>
                  <a:pt x="301" y="1495"/>
                  <a:pt x="303" y="1496"/>
                  <a:pt x="305" y="1497"/>
                </a:cubicBezTo>
                <a:cubicBezTo>
                  <a:pt x="306" y="1498"/>
                  <a:pt x="307" y="1500"/>
                  <a:pt x="308" y="1501"/>
                </a:cubicBezTo>
                <a:lnTo>
                  <a:pt x="309" y="1501"/>
                </a:lnTo>
                <a:cubicBezTo>
                  <a:pt x="308" y="1498"/>
                  <a:pt x="308" y="1496"/>
                  <a:pt x="309" y="1493"/>
                </a:cubicBezTo>
                <a:cubicBezTo>
                  <a:pt x="309" y="1492"/>
                  <a:pt x="309" y="1491"/>
                  <a:pt x="309" y="1491"/>
                </a:cubicBezTo>
                <a:lnTo>
                  <a:pt x="309" y="1491"/>
                </a:lnTo>
                <a:close/>
                <a:moveTo>
                  <a:pt x="191" y="1546"/>
                </a:moveTo>
                <a:lnTo>
                  <a:pt x="191" y="1546"/>
                </a:lnTo>
                <a:cubicBezTo>
                  <a:pt x="192" y="1546"/>
                  <a:pt x="193" y="1546"/>
                  <a:pt x="193" y="1546"/>
                </a:cubicBezTo>
                <a:cubicBezTo>
                  <a:pt x="194" y="1546"/>
                  <a:pt x="194" y="1547"/>
                  <a:pt x="195" y="1548"/>
                </a:cubicBezTo>
                <a:cubicBezTo>
                  <a:pt x="195" y="1549"/>
                  <a:pt x="196" y="1550"/>
                  <a:pt x="196" y="1551"/>
                </a:cubicBezTo>
                <a:cubicBezTo>
                  <a:pt x="195" y="1554"/>
                  <a:pt x="194" y="1556"/>
                  <a:pt x="193" y="1556"/>
                </a:cubicBezTo>
                <a:cubicBezTo>
                  <a:pt x="191" y="1556"/>
                  <a:pt x="190" y="1553"/>
                  <a:pt x="191" y="1546"/>
                </a:cubicBezTo>
                <a:cubicBezTo>
                  <a:pt x="191" y="1546"/>
                  <a:pt x="191" y="1546"/>
                  <a:pt x="191" y="1546"/>
                </a:cubicBezTo>
                <a:lnTo>
                  <a:pt x="191" y="1546"/>
                </a:lnTo>
                <a:close/>
                <a:moveTo>
                  <a:pt x="173" y="1565"/>
                </a:moveTo>
                <a:lnTo>
                  <a:pt x="173" y="1565"/>
                </a:lnTo>
                <a:lnTo>
                  <a:pt x="173" y="1564"/>
                </a:lnTo>
                <a:cubicBezTo>
                  <a:pt x="174" y="1564"/>
                  <a:pt x="175" y="1564"/>
                  <a:pt x="175" y="1564"/>
                </a:cubicBezTo>
                <a:cubicBezTo>
                  <a:pt x="177" y="1564"/>
                  <a:pt x="178" y="1565"/>
                  <a:pt x="181" y="1565"/>
                </a:cubicBezTo>
                <a:cubicBezTo>
                  <a:pt x="182" y="1565"/>
                  <a:pt x="182" y="1567"/>
                  <a:pt x="182" y="1569"/>
                </a:cubicBezTo>
                <a:cubicBezTo>
                  <a:pt x="182" y="1569"/>
                  <a:pt x="182" y="1569"/>
                  <a:pt x="182" y="1569"/>
                </a:cubicBezTo>
                <a:cubicBezTo>
                  <a:pt x="182" y="1570"/>
                  <a:pt x="182" y="1571"/>
                  <a:pt x="181" y="1572"/>
                </a:cubicBezTo>
                <a:cubicBezTo>
                  <a:pt x="180" y="1573"/>
                  <a:pt x="179" y="1574"/>
                  <a:pt x="179" y="1574"/>
                </a:cubicBezTo>
                <a:lnTo>
                  <a:pt x="179" y="1574"/>
                </a:lnTo>
                <a:cubicBezTo>
                  <a:pt x="174" y="1573"/>
                  <a:pt x="172" y="1570"/>
                  <a:pt x="173" y="1565"/>
                </a:cubicBezTo>
                <a:lnTo>
                  <a:pt x="173" y="1565"/>
                </a:lnTo>
                <a:close/>
                <a:moveTo>
                  <a:pt x="218" y="1536"/>
                </a:moveTo>
                <a:lnTo>
                  <a:pt x="218" y="1536"/>
                </a:lnTo>
                <a:cubicBezTo>
                  <a:pt x="216" y="1540"/>
                  <a:pt x="213" y="1542"/>
                  <a:pt x="209" y="1542"/>
                </a:cubicBezTo>
                <a:cubicBezTo>
                  <a:pt x="210" y="1539"/>
                  <a:pt x="211" y="1537"/>
                  <a:pt x="213" y="1535"/>
                </a:cubicBezTo>
                <a:lnTo>
                  <a:pt x="218" y="1536"/>
                </a:lnTo>
                <a:lnTo>
                  <a:pt x="218" y="1536"/>
                </a:lnTo>
                <a:close/>
                <a:moveTo>
                  <a:pt x="191" y="1593"/>
                </a:moveTo>
                <a:lnTo>
                  <a:pt x="191" y="1593"/>
                </a:lnTo>
                <a:cubicBezTo>
                  <a:pt x="191" y="1594"/>
                  <a:pt x="191" y="1595"/>
                  <a:pt x="192" y="1595"/>
                </a:cubicBezTo>
                <a:cubicBezTo>
                  <a:pt x="192" y="1596"/>
                  <a:pt x="193" y="1597"/>
                  <a:pt x="192" y="1598"/>
                </a:cubicBezTo>
                <a:cubicBezTo>
                  <a:pt x="192" y="1598"/>
                  <a:pt x="190" y="1599"/>
                  <a:pt x="186" y="1599"/>
                </a:cubicBezTo>
                <a:cubicBezTo>
                  <a:pt x="186" y="1599"/>
                  <a:pt x="185" y="1599"/>
                  <a:pt x="184" y="1599"/>
                </a:cubicBezTo>
                <a:cubicBezTo>
                  <a:pt x="180" y="1599"/>
                  <a:pt x="178" y="1599"/>
                  <a:pt x="177" y="1599"/>
                </a:cubicBezTo>
                <a:cubicBezTo>
                  <a:pt x="176" y="1599"/>
                  <a:pt x="175" y="1598"/>
                  <a:pt x="174" y="1595"/>
                </a:cubicBezTo>
                <a:cubicBezTo>
                  <a:pt x="172" y="1591"/>
                  <a:pt x="171" y="1589"/>
                  <a:pt x="171" y="1588"/>
                </a:cubicBezTo>
                <a:cubicBezTo>
                  <a:pt x="171" y="1588"/>
                  <a:pt x="173" y="1588"/>
                  <a:pt x="176" y="1587"/>
                </a:cubicBezTo>
                <a:cubicBezTo>
                  <a:pt x="178" y="1587"/>
                  <a:pt x="180" y="1587"/>
                  <a:pt x="180" y="1586"/>
                </a:cubicBezTo>
                <a:cubicBezTo>
                  <a:pt x="180" y="1585"/>
                  <a:pt x="180" y="1585"/>
                  <a:pt x="180" y="1585"/>
                </a:cubicBezTo>
                <a:cubicBezTo>
                  <a:pt x="180" y="1584"/>
                  <a:pt x="181" y="1583"/>
                  <a:pt x="182" y="1582"/>
                </a:cubicBezTo>
                <a:cubicBezTo>
                  <a:pt x="182" y="1581"/>
                  <a:pt x="182" y="1581"/>
                  <a:pt x="183" y="1581"/>
                </a:cubicBezTo>
                <a:cubicBezTo>
                  <a:pt x="183" y="1580"/>
                  <a:pt x="184" y="1580"/>
                  <a:pt x="185" y="1580"/>
                </a:cubicBezTo>
                <a:cubicBezTo>
                  <a:pt x="185" y="1580"/>
                  <a:pt x="187" y="1580"/>
                  <a:pt x="189" y="1580"/>
                </a:cubicBezTo>
                <a:cubicBezTo>
                  <a:pt x="190" y="1580"/>
                  <a:pt x="192" y="1581"/>
                  <a:pt x="196" y="1583"/>
                </a:cubicBezTo>
                <a:cubicBezTo>
                  <a:pt x="196" y="1584"/>
                  <a:pt x="195" y="1585"/>
                  <a:pt x="194" y="1588"/>
                </a:cubicBezTo>
                <a:cubicBezTo>
                  <a:pt x="193" y="1589"/>
                  <a:pt x="192" y="1591"/>
                  <a:pt x="191" y="1593"/>
                </a:cubicBezTo>
                <a:lnTo>
                  <a:pt x="191" y="1593"/>
                </a:lnTo>
                <a:close/>
                <a:moveTo>
                  <a:pt x="168" y="1609"/>
                </a:moveTo>
                <a:lnTo>
                  <a:pt x="168" y="1609"/>
                </a:lnTo>
                <a:cubicBezTo>
                  <a:pt x="166" y="1611"/>
                  <a:pt x="165" y="1613"/>
                  <a:pt x="163" y="1615"/>
                </a:cubicBezTo>
                <a:cubicBezTo>
                  <a:pt x="159" y="1618"/>
                  <a:pt x="156" y="1620"/>
                  <a:pt x="153" y="1620"/>
                </a:cubicBezTo>
                <a:cubicBezTo>
                  <a:pt x="152" y="1619"/>
                  <a:pt x="152" y="1617"/>
                  <a:pt x="152" y="1616"/>
                </a:cubicBezTo>
                <a:cubicBezTo>
                  <a:pt x="152" y="1614"/>
                  <a:pt x="152" y="1612"/>
                  <a:pt x="152" y="1610"/>
                </a:cubicBezTo>
                <a:cubicBezTo>
                  <a:pt x="152" y="1608"/>
                  <a:pt x="152" y="1606"/>
                  <a:pt x="151" y="1604"/>
                </a:cubicBezTo>
                <a:cubicBezTo>
                  <a:pt x="150" y="1601"/>
                  <a:pt x="150" y="1599"/>
                  <a:pt x="150" y="1598"/>
                </a:cubicBezTo>
                <a:cubicBezTo>
                  <a:pt x="150" y="1596"/>
                  <a:pt x="153" y="1594"/>
                  <a:pt x="158" y="1591"/>
                </a:cubicBezTo>
                <a:cubicBezTo>
                  <a:pt x="162" y="1593"/>
                  <a:pt x="165" y="1595"/>
                  <a:pt x="166" y="1598"/>
                </a:cubicBezTo>
                <a:cubicBezTo>
                  <a:pt x="168" y="1601"/>
                  <a:pt x="169" y="1605"/>
                  <a:pt x="168" y="1609"/>
                </a:cubicBezTo>
                <a:lnTo>
                  <a:pt x="168" y="1609"/>
                </a:lnTo>
                <a:close/>
                <a:moveTo>
                  <a:pt x="128" y="1610"/>
                </a:moveTo>
                <a:lnTo>
                  <a:pt x="128" y="1610"/>
                </a:lnTo>
                <a:cubicBezTo>
                  <a:pt x="130" y="1608"/>
                  <a:pt x="134" y="1607"/>
                  <a:pt x="136" y="1607"/>
                </a:cubicBezTo>
                <a:cubicBezTo>
                  <a:pt x="140" y="1607"/>
                  <a:pt x="143" y="1608"/>
                  <a:pt x="146" y="1610"/>
                </a:cubicBezTo>
                <a:cubicBezTo>
                  <a:pt x="146" y="1611"/>
                  <a:pt x="146" y="1612"/>
                  <a:pt x="146" y="1613"/>
                </a:cubicBezTo>
                <a:cubicBezTo>
                  <a:pt x="146" y="1615"/>
                  <a:pt x="145" y="1618"/>
                  <a:pt x="143" y="1622"/>
                </a:cubicBezTo>
                <a:cubicBezTo>
                  <a:pt x="141" y="1625"/>
                  <a:pt x="138" y="1628"/>
                  <a:pt x="137" y="1627"/>
                </a:cubicBezTo>
                <a:cubicBezTo>
                  <a:pt x="133" y="1626"/>
                  <a:pt x="130" y="1625"/>
                  <a:pt x="128" y="1625"/>
                </a:cubicBezTo>
                <a:cubicBezTo>
                  <a:pt x="127" y="1625"/>
                  <a:pt x="126" y="1625"/>
                  <a:pt x="125" y="1624"/>
                </a:cubicBezTo>
                <a:cubicBezTo>
                  <a:pt x="123" y="1623"/>
                  <a:pt x="121" y="1621"/>
                  <a:pt x="122" y="1618"/>
                </a:cubicBezTo>
                <a:cubicBezTo>
                  <a:pt x="122" y="1614"/>
                  <a:pt x="124" y="1612"/>
                  <a:pt x="128" y="1610"/>
                </a:cubicBezTo>
                <a:lnTo>
                  <a:pt x="128" y="1610"/>
                </a:lnTo>
                <a:close/>
                <a:moveTo>
                  <a:pt x="111" y="1648"/>
                </a:moveTo>
                <a:lnTo>
                  <a:pt x="111" y="1648"/>
                </a:lnTo>
                <a:lnTo>
                  <a:pt x="111" y="1648"/>
                </a:lnTo>
                <a:cubicBezTo>
                  <a:pt x="109" y="1650"/>
                  <a:pt x="106" y="1650"/>
                  <a:pt x="103" y="1650"/>
                </a:cubicBezTo>
                <a:cubicBezTo>
                  <a:pt x="100" y="1650"/>
                  <a:pt x="98" y="1648"/>
                  <a:pt x="97" y="1644"/>
                </a:cubicBezTo>
                <a:cubicBezTo>
                  <a:pt x="97" y="1641"/>
                  <a:pt x="95" y="1639"/>
                  <a:pt x="92" y="1639"/>
                </a:cubicBezTo>
                <a:cubicBezTo>
                  <a:pt x="90" y="1639"/>
                  <a:pt x="88" y="1639"/>
                  <a:pt x="87" y="1639"/>
                </a:cubicBezTo>
                <a:cubicBezTo>
                  <a:pt x="84" y="1639"/>
                  <a:pt x="84" y="1632"/>
                  <a:pt x="85" y="1620"/>
                </a:cubicBezTo>
                <a:cubicBezTo>
                  <a:pt x="85" y="1619"/>
                  <a:pt x="86" y="1618"/>
                  <a:pt x="89" y="1617"/>
                </a:cubicBezTo>
                <a:cubicBezTo>
                  <a:pt x="91" y="1616"/>
                  <a:pt x="94" y="1616"/>
                  <a:pt x="96" y="1616"/>
                </a:cubicBezTo>
                <a:cubicBezTo>
                  <a:pt x="97" y="1616"/>
                  <a:pt x="100" y="1621"/>
                  <a:pt x="104" y="1631"/>
                </a:cubicBezTo>
                <a:cubicBezTo>
                  <a:pt x="105" y="1634"/>
                  <a:pt x="105" y="1635"/>
                  <a:pt x="106" y="1637"/>
                </a:cubicBezTo>
                <a:cubicBezTo>
                  <a:pt x="108" y="1642"/>
                  <a:pt x="110" y="1646"/>
                  <a:pt x="111" y="1648"/>
                </a:cubicBezTo>
                <a:lnTo>
                  <a:pt x="111" y="1648"/>
                </a:lnTo>
                <a:close/>
                <a:moveTo>
                  <a:pt x="73" y="1648"/>
                </a:moveTo>
                <a:lnTo>
                  <a:pt x="73" y="1648"/>
                </a:lnTo>
                <a:cubicBezTo>
                  <a:pt x="74" y="1649"/>
                  <a:pt x="76" y="1650"/>
                  <a:pt x="78" y="1651"/>
                </a:cubicBezTo>
                <a:cubicBezTo>
                  <a:pt x="79" y="1653"/>
                  <a:pt x="80" y="1654"/>
                  <a:pt x="81" y="1655"/>
                </a:cubicBezTo>
                <a:cubicBezTo>
                  <a:pt x="82" y="1655"/>
                  <a:pt x="82" y="1655"/>
                  <a:pt x="82" y="1655"/>
                </a:cubicBezTo>
                <a:cubicBezTo>
                  <a:pt x="82" y="1656"/>
                  <a:pt x="81" y="1658"/>
                  <a:pt x="80" y="1660"/>
                </a:cubicBezTo>
                <a:cubicBezTo>
                  <a:pt x="80" y="1661"/>
                  <a:pt x="79" y="1661"/>
                  <a:pt x="79" y="1661"/>
                </a:cubicBezTo>
                <a:cubicBezTo>
                  <a:pt x="79" y="1663"/>
                  <a:pt x="77" y="1666"/>
                  <a:pt x="74" y="1668"/>
                </a:cubicBezTo>
                <a:cubicBezTo>
                  <a:pt x="73" y="1668"/>
                  <a:pt x="72" y="1666"/>
                  <a:pt x="70" y="1664"/>
                </a:cubicBezTo>
                <a:cubicBezTo>
                  <a:pt x="69" y="1661"/>
                  <a:pt x="68" y="1658"/>
                  <a:pt x="68" y="1657"/>
                </a:cubicBezTo>
                <a:cubicBezTo>
                  <a:pt x="69" y="1651"/>
                  <a:pt x="70" y="1648"/>
                  <a:pt x="73" y="1648"/>
                </a:cubicBezTo>
                <a:lnTo>
                  <a:pt x="73" y="1648"/>
                </a:lnTo>
                <a:close/>
                <a:moveTo>
                  <a:pt x="77" y="1676"/>
                </a:moveTo>
                <a:lnTo>
                  <a:pt x="77" y="1676"/>
                </a:lnTo>
                <a:cubicBezTo>
                  <a:pt x="79" y="1678"/>
                  <a:pt x="81" y="1679"/>
                  <a:pt x="83" y="1682"/>
                </a:cubicBezTo>
                <a:cubicBezTo>
                  <a:pt x="82" y="1684"/>
                  <a:pt x="79" y="1687"/>
                  <a:pt x="75" y="1689"/>
                </a:cubicBezTo>
                <a:cubicBezTo>
                  <a:pt x="73" y="1690"/>
                  <a:pt x="69" y="1691"/>
                  <a:pt x="66" y="1692"/>
                </a:cubicBezTo>
                <a:cubicBezTo>
                  <a:pt x="60" y="1692"/>
                  <a:pt x="57" y="1690"/>
                  <a:pt x="56" y="1687"/>
                </a:cubicBezTo>
                <a:cubicBezTo>
                  <a:pt x="56" y="1686"/>
                  <a:pt x="56" y="1681"/>
                  <a:pt x="56" y="1674"/>
                </a:cubicBezTo>
                <a:cubicBezTo>
                  <a:pt x="57" y="1673"/>
                  <a:pt x="58" y="1672"/>
                  <a:pt x="61" y="1672"/>
                </a:cubicBezTo>
                <a:cubicBezTo>
                  <a:pt x="63" y="1671"/>
                  <a:pt x="65" y="1671"/>
                  <a:pt x="66" y="1671"/>
                </a:cubicBezTo>
                <a:cubicBezTo>
                  <a:pt x="68" y="1671"/>
                  <a:pt x="70" y="1672"/>
                  <a:pt x="72" y="1673"/>
                </a:cubicBezTo>
                <a:cubicBezTo>
                  <a:pt x="73" y="1674"/>
                  <a:pt x="75" y="1675"/>
                  <a:pt x="77" y="1676"/>
                </a:cubicBezTo>
                <a:lnTo>
                  <a:pt x="77" y="1676"/>
                </a:lnTo>
                <a:close/>
                <a:moveTo>
                  <a:pt x="55" y="1704"/>
                </a:moveTo>
                <a:lnTo>
                  <a:pt x="55" y="1704"/>
                </a:lnTo>
                <a:cubicBezTo>
                  <a:pt x="54" y="1708"/>
                  <a:pt x="53" y="1711"/>
                  <a:pt x="53" y="1712"/>
                </a:cubicBezTo>
                <a:lnTo>
                  <a:pt x="51" y="1712"/>
                </a:lnTo>
                <a:cubicBezTo>
                  <a:pt x="50" y="1711"/>
                  <a:pt x="50" y="1709"/>
                  <a:pt x="50" y="1705"/>
                </a:cubicBezTo>
                <a:cubicBezTo>
                  <a:pt x="50" y="1705"/>
                  <a:pt x="50" y="1704"/>
                  <a:pt x="50" y="1704"/>
                </a:cubicBezTo>
                <a:lnTo>
                  <a:pt x="55" y="1704"/>
                </a:lnTo>
                <a:lnTo>
                  <a:pt x="55" y="1704"/>
                </a:lnTo>
                <a:close/>
                <a:moveTo>
                  <a:pt x="74" y="1727"/>
                </a:moveTo>
                <a:lnTo>
                  <a:pt x="74" y="1727"/>
                </a:lnTo>
                <a:cubicBezTo>
                  <a:pt x="77" y="1728"/>
                  <a:pt x="78" y="1731"/>
                  <a:pt x="78" y="1735"/>
                </a:cubicBezTo>
                <a:cubicBezTo>
                  <a:pt x="75" y="1737"/>
                  <a:pt x="73" y="1738"/>
                  <a:pt x="72" y="1738"/>
                </a:cubicBezTo>
                <a:cubicBezTo>
                  <a:pt x="71" y="1738"/>
                  <a:pt x="71" y="1738"/>
                  <a:pt x="71" y="1737"/>
                </a:cubicBezTo>
                <a:cubicBezTo>
                  <a:pt x="69" y="1737"/>
                  <a:pt x="67" y="1735"/>
                  <a:pt x="64" y="1732"/>
                </a:cubicBezTo>
                <a:cubicBezTo>
                  <a:pt x="61" y="1729"/>
                  <a:pt x="59" y="1727"/>
                  <a:pt x="58" y="1725"/>
                </a:cubicBezTo>
                <a:cubicBezTo>
                  <a:pt x="58" y="1725"/>
                  <a:pt x="58" y="1725"/>
                  <a:pt x="58" y="1725"/>
                </a:cubicBezTo>
                <a:lnTo>
                  <a:pt x="74" y="1727"/>
                </a:lnTo>
                <a:lnTo>
                  <a:pt x="74" y="1727"/>
                </a:lnTo>
                <a:close/>
                <a:moveTo>
                  <a:pt x="65" y="1750"/>
                </a:moveTo>
                <a:lnTo>
                  <a:pt x="65" y="1750"/>
                </a:lnTo>
                <a:cubicBezTo>
                  <a:pt x="62" y="1748"/>
                  <a:pt x="61" y="1747"/>
                  <a:pt x="60" y="1746"/>
                </a:cubicBezTo>
                <a:lnTo>
                  <a:pt x="60" y="1746"/>
                </a:lnTo>
                <a:cubicBezTo>
                  <a:pt x="61" y="1745"/>
                  <a:pt x="63" y="1745"/>
                  <a:pt x="64" y="1745"/>
                </a:cubicBezTo>
                <a:cubicBezTo>
                  <a:pt x="64" y="1745"/>
                  <a:pt x="65" y="1745"/>
                  <a:pt x="66" y="1746"/>
                </a:cubicBezTo>
                <a:cubicBezTo>
                  <a:pt x="67" y="1746"/>
                  <a:pt x="67" y="1747"/>
                  <a:pt x="68" y="1747"/>
                </a:cubicBezTo>
                <a:cubicBezTo>
                  <a:pt x="68" y="1747"/>
                  <a:pt x="68" y="1748"/>
                  <a:pt x="68" y="1748"/>
                </a:cubicBezTo>
                <a:cubicBezTo>
                  <a:pt x="68" y="1749"/>
                  <a:pt x="67" y="1750"/>
                  <a:pt x="65" y="1750"/>
                </a:cubicBezTo>
                <a:lnTo>
                  <a:pt x="65" y="1750"/>
                </a:lnTo>
                <a:close/>
                <a:moveTo>
                  <a:pt x="48" y="1771"/>
                </a:moveTo>
                <a:lnTo>
                  <a:pt x="48" y="1771"/>
                </a:lnTo>
                <a:cubicBezTo>
                  <a:pt x="49" y="1771"/>
                  <a:pt x="48" y="1772"/>
                  <a:pt x="48" y="1773"/>
                </a:cubicBezTo>
                <a:lnTo>
                  <a:pt x="48" y="1775"/>
                </a:lnTo>
                <a:cubicBezTo>
                  <a:pt x="44" y="1774"/>
                  <a:pt x="42" y="1771"/>
                  <a:pt x="43" y="1765"/>
                </a:cubicBezTo>
                <a:cubicBezTo>
                  <a:pt x="43" y="1765"/>
                  <a:pt x="43" y="1765"/>
                  <a:pt x="43" y="1765"/>
                </a:cubicBezTo>
                <a:cubicBezTo>
                  <a:pt x="46" y="1766"/>
                  <a:pt x="48" y="1768"/>
                  <a:pt x="48" y="1771"/>
                </a:cubicBezTo>
                <a:lnTo>
                  <a:pt x="48" y="1771"/>
                </a:lnTo>
                <a:close/>
                <a:moveTo>
                  <a:pt x="42" y="1814"/>
                </a:moveTo>
                <a:lnTo>
                  <a:pt x="42" y="1814"/>
                </a:lnTo>
                <a:cubicBezTo>
                  <a:pt x="41" y="1814"/>
                  <a:pt x="40" y="1815"/>
                  <a:pt x="40" y="1815"/>
                </a:cubicBezTo>
                <a:cubicBezTo>
                  <a:pt x="36" y="1817"/>
                  <a:pt x="33" y="1818"/>
                  <a:pt x="30" y="1818"/>
                </a:cubicBezTo>
                <a:cubicBezTo>
                  <a:pt x="28" y="1817"/>
                  <a:pt x="26" y="1816"/>
                  <a:pt x="24" y="1816"/>
                </a:cubicBezTo>
                <a:cubicBezTo>
                  <a:pt x="24" y="1813"/>
                  <a:pt x="24" y="1811"/>
                  <a:pt x="24" y="1810"/>
                </a:cubicBezTo>
                <a:cubicBezTo>
                  <a:pt x="24" y="1809"/>
                  <a:pt x="27" y="1807"/>
                  <a:pt x="31" y="1805"/>
                </a:cubicBezTo>
                <a:cubicBezTo>
                  <a:pt x="35" y="1803"/>
                  <a:pt x="37" y="1801"/>
                  <a:pt x="37" y="1800"/>
                </a:cubicBezTo>
                <a:lnTo>
                  <a:pt x="38" y="1797"/>
                </a:lnTo>
                <a:cubicBezTo>
                  <a:pt x="38" y="1797"/>
                  <a:pt x="38" y="1797"/>
                  <a:pt x="38" y="1797"/>
                </a:cubicBezTo>
                <a:cubicBezTo>
                  <a:pt x="40" y="1798"/>
                  <a:pt x="42" y="1800"/>
                  <a:pt x="44" y="1802"/>
                </a:cubicBezTo>
                <a:cubicBezTo>
                  <a:pt x="44" y="1804"/>
                  <a:pt x="46" y="1806"/>
                  <a:pt x="47" y="1809"/>
                </a:cubicBezTo>
                <a:cubicBezTo>
                  <a:pt x="47" y="1810"/>
                  <a:pt x="47" y="1810"/>
                  <a:pt x="47" y="1810"/>
                </a:cubicBezTo>
                <a:cubicBezTo>
                  <a:pt x="45" y="1811"/>
                  <a:pt x="43" y="1813"/>
                  <a:pt x="42" y="1814"/>
                </a:cubicBezTo>
                <a:lnTo>
                  <a:pt x="42" y="1814"/>
                </a:lnTo>
                <a:close/>
                <a:moveTo>
                  <a:pt x="36" y="1842"/>
                </a:moveTo>
                <a:lnTo>
                  <a:pt x="36" y="1842"/>
                </a:lnTo>
                <a:cubicBezTo>
                  <a:pt x="36" y="1842"/>
                  <a:pt x="35" y="1842"/>
                  <a:pt x="35" y="1842"/>
                </a:cubicBezTo>
                <a:cubicBezTo>
                  <a:pt x="35" y="1842"/>
                  <a:pt x="35" y="1842"/>
                  <a:pt x="35" y="1842"/>
                </a:cubicBezTo>
                <a:lnTo>
                  <a:pt x="36" y="1842"/>
                </a:lnTo>
                <a:lnTo>
                  <a:pt x="36" y="1842"/>
                </a:lnTo>
                <a:close/>
                <a:moveTo>
                  <a:pt x="39" y="1842"/>
                </a:moveTo>
                <a:lnTo>
                  <a:pt x="39" y="1842"/>
                </a:lnTo>
                <a:cubicBezTo>
                  <a:pt x="44" y="1842"/>
                  <a:pt x="46" y="1845"/>
                  <a:pt x="46" y="1849"/>
                </a:cubicBezTo>
                <a:cubicBezTo>
                  <a:pt x="45" y="1850"/>
                  <a:pt x="45" y="1850"/>
                  <a:pt x="45" y="1851"/>
                </a:cubicBezTo>
                <a:cubicBezTo>
                  <a:pt x="45" y="1853"/>
                  <a:pt x="44" y="1853"/>
                  <a:pt x="42" y="1853"/>
                </a:cubicBezTo>
                <a:cubicBezTo>
                  <a:pt x="40" y="1853"/>
                  <a:pt x="38" y="1851"/>
                  <a:pt x="37" y="1848"/>
                </a:cubicBezTo>
                <a:cubicBezTo>
                  <a:pt x="36" y="1845"/>
                  <a:pt x="36" y="1843"/>
                  <a:pt x="35" y="1842"/>
                </a:cubicBezTo>
                <a:cubicBezTo>
                  <a:pt x="35" y="1842"/>
                  <a:pt x="36" y="1842"/>
                  <a:pt x="36" y="1842"/>
                </a:cubicBezTo>
                <a:cubicBezTo>
                  <a:pt x="37" y="1842"/>
                  <a:pt x="38" y="1842"/>
                  <a:pt x="39" y="1842"/>
                </a:cubicBezTo>
                <a:lnTo>
                  <a:pt x="39" y="1842"/>
                </a:lnTo>
                <a:close/>
                <a:moveTo>
                  <a:pt x="11" y="1822"/>
                </a:moveTo>
                <a:lnTo>
                  <a:pt x="11" y="1822"/>
                </a:lnTo>
                <a:cubicBezTo>
                  <a:pt x="11" y="1822"/>
                  <a:pt x="11" y="1822"/>
                  <a:pt x="11" y="1822"/>
                </a:cubicBezTo>
                <a:cubicBezTo>
                  <a:pt x="12" y="1821"/>
                  <a:pt x="12" y="1821"/>
                  <a:pt x="12" y="1821"/>
                </a:cubicBezTo>
                <a:cubicBezTo>
                  <a:pt x="13" y="1820"/>
                  <a:pt x="13" y="1820"/>
                  <a:pt x="13" y="1820"/>
                </a:cubicBezTo>
                <a:cubicBezTo>
                  <a:pt x="14" y="1819"/>
                  <a:pt x="14" y="1819"/>
                  <a:pt x="14" y="1819"/>
                </a:cubicBezTo>
                <a:lnTo>
                  <a:pt x="17" y="1820"/>
                </a:lnTo>
                <a:lnTo>
                  <a:pt x="17" y="1824"/>
                </a:lnTo>
                <a:cubicBezTo>
                  <a:pt x="16" y="1825"/>
                  <a:pt x="15" y="1826"/>
                  <a:pt x="14" y="1827"/>
                </a:cubicBezTo>
                <a:cubicBezTo>
                  <a:pt x="13" y="1828"/>
                  <a:pt x="11" y="1828"/>
                  <a:pt x="9" y="1828"/>
                </a:cubicBezTo>
                <a:cubicBezTo>
                  <a:pt x="8" y="1828"/>
                  <a:pt x="8" y="1828"/>
                  <a:pt x="8" y="1827"/>
                </a:cubicBezTo>
                <a:cubicBezTo>
                  <a:pt x="8" y="1826"/>
                  <a:pt x="9" y="1825"/>
                  <a:pt x="11" y="1822"/>
                </a:cubicBezTo>
                <a:lnTo>
                  <a:pt x="11" y="1822"/>
                </a:lnTo>
                <a:close/>
                <a:moveTo>
                  <a:pt x="14" y="1819"/>
                </a:moveTo>
                <a:lnTo>
                  <a:pt x="14" y="1819"/>
                </a:lnTo>
                <a:cubicBezTo>
                  <a:pt x="14" y="1819"/>
                  <a:pt x="14" y="1819"/>
                  <a:pt x="13" y="1820"/>
                </a:cubicBezTo>
                <a:cubicBezTo>
                  <a:pt x="13" y="1820"/>
                  <a:pt x="13" y="1819"/>
                  <a:pt x="14" y="1819"/>
                </a:cubicBezTo>
                <a:lnTo>
                  <a:pt x="14" y="1819"/>
                </a:lnTo>
                <a:lnTo>
                  <a:pt x="14" y="1819"/>
                </a:lnTo>
                <a:close/>
                <a:moveTo>
                  <a:pt x="27" y="1848"/>
                </a:moveTo>
                <a:lnTo>
                  <a:pt x="27" y="1848"/>
                </a:lnTo>
                <a:cubicBezTo>
                  <a:pt x="28" y="1848"/>
                  <a:pt x="29" y="1849"/>
                  <a:pt x="30" y="1850"/>
                </a:cubicBezTo>
                <a:cubicBezTo>
                  <a:pt x="31" y="1852"/>
                  <a:pt x="32" y="1854"/>
                  <a:pt x="31" y="1856"/>
                </a:cubicBezTo>
                <a:cubicBezTo>
                  <a:pt x="30" y="1856"/>
                  <a:pt x="29" y="1856"/>
                  <a:pt x="28" y="1855"/>
                </a:cubicBezTo>
                <a:cubicBezTo>
                  <a:pt x="25" y="1854"/>
                  <a:pt x="22" y="1852"/>
                  <a:pt x="21" y="1848"/>
                </a:cubicBezTo>
                <a:cubicBezTo>
                  <a:pt x="21" y="1847"/>
                  <a:pt x="22" y="1847"/>
                  <a:pt x="23" y="1847"/>
                </a:cubicBezTo>
                <a:cubicBezTo>
                  <a:pt x="24" y="1847"/>
                  <a:pt x="24" y="1847"/>
                  <a:pt x="25" y="1847"/>
                </a:cubicBezTo>
                <a:cubicBezTo>
                  <a:pt x="26" y="1847"/>
                  <a:pt x="27" y="1847"/>
                  <a:pt x="27" y="1848"/>
                </a:cubicBezTo>
                <a:lnTo>
                  <a:pt x="27" y="1848"/>
                </a:lnTo>
                <a:close/>
                <a:moveTo>
                  <a:pt x="26" y="1868"/>
                </a:moveTo>
                <a:lnTo>
                  <a:pt x="26" y="1868"/>
                </a:lnTo>
                <a:cubicBezTo>
                  <a:pt x="29" y="1869"/>
                  <a:pt x="30" y="1870"/>
                  <a:pt x="30" y="1872"/>
                </a:cubicBezTo>
                <a:lnTo>
                  <a:pt x="30" y="1875"/>
                </a:lnTo>
                <a:lnTo>
                  <a:pt x="24" y="1875"/>
                </a:lnTo>
                <a:cubicBezTo>
                  <a:pt x="23" y="1873"/>
                  <a:pt x="22" y="1872"/>
                  <a:pt x="22" y="1871"/>
                </a:cubicBezTo>
                <a:cubicBezTo>
                  <a:pt x="22" y="1870"/>
                  <a:pt x="22" y="1869"/>
                  <a:pt x="23" y="1868"/>
                </a:cubicBezTo>
                <a:cubicBezTo>
                  <a:pt x="23" y="1868"/>
                  <a:pt x="24" y="1868"/>
                  <a:pt x="24" y="1868"/>
                </a:cubicBezTo>
                <a:cubicBezTo>
                  <a:pt x="25" y="1868"/>
                  <a:pt x="25" y="1868"/>
                  <a:pt x="26" y="1868"/>
                </a:cubicBezTo>
                <a:lnTo>
                  <a:pt x="26" y="1868"/>
                </a:lnTo>
                <a:close/>
                <a:moveTo>
                  <a:pt x="31" y="1886"/>
                </a:moveTo>
                <a:lnTo>
                  <a:pt x="31" y="1886"/>
                </a:lnTo>
                <a:cubicBezTo>
                  <a:pt x="32" y="1887"/>
                  <a:pt x="34" y="1889"/>
                  <a:pt x="36" y="1891"/>
                </a:cubicBezTo>
                <a:cubicBezTo>
                  <a:pt x="37" y="1892"/>
                  <a:pt x="39" y="1894"/>
                  <a:pt x="43" y="1897"/>
                </a:cubicBezTo>
                <a:cubicBezTo>
                  <a:pt x="46" y="1900"/>
                  <a:pt x="47" y="1903"/>
                  <a:pt x="46" y="1907"/>
                </a:cubicBezTo>
                <a:lnTo>
                  <a:pt x="45" y="1911"/>
                </a:lnTo>
                <a:cubicBezTo>
                  <a:pt x="45" y="1910"/>
                  <a:pt x="45" y="1910"/>
                  <a:pt x="44" y="1910"/>
                </a:cubicBezTo>
                <a:cubicBezTo>
                  <a:pt x="43" y="1909"/>
                  <a:pt x="42" y="1908"/>
                  <a:pt x="41" y="1906"/>
                </a:cubicBezTo>
                <a:cubicBezTo>
                  <a:pt x="37" y="1903"/>
                  <a:pt x="34" y="1900"/>
                  <a:pt x="32" y="1898"/>
                </a:cubicBezTo>
                <a:cubicBezTo>
                  <a:pt x="26" y="1893"/>
                  <a:pt x="23" y="1887"/>
                  <a:pt x="23" y="1882"/>
                </a:cubicBezTo>
                <a:cubicBezTo>
                  <a:pt x="23" y="1882"/>
                  <a:pt x="23" y="1882"/>
                  <a:pt x="23" y="1882"/>
                </a:cubicBezTo>
                <a:cubicBezTo>
                  <a:pt x="24" y="1882"/>
                  <a:pt x="24" y="1882"/>
                  <a:pt x="25" y="1882"/>
                </a:cubicBezTo>
                <a:cubicBezTo>
                  <a:pt x="27" y="1883"/>
                  <a:pt x="29" y="1884"/>
                  <a:pt x="31" y="1886"/>
                </a:cubicBezTo>
                <a:lnTo>
                  <a:pt x="31" y="1886"/>
                </a:lnTo>
                <a:close/>
                <a:moveTo>
                  <a:pt x="59" y="1919"/>
                </a:moveTo>
                <a:lnTo>
                  <a:pt x="59" y="1919"/>
                </a:lnTo>
                <a:cubicBezTo>
                  <a:pt x="59" y="1919"/>
                  <a:pt x="61" y="1917"/>
                  <a:pt x="65" y="1914"/>
                </a:cubicBezTo>
                <a:cubicBezTo>
                  <a:pt x="70" y="1911"/>
                  <a:pt x="73" y="1909"/>
                  <a:pt x="73" y="1909"/>
                </a:cubicBezTo>
                <a:cubicBezTo>
                  <a:pt x="76" y="1907"/>
                  <a:pt x="80" y="1903"/>
                  <a:pt x="86" y="1897"/>
                </a:cubicBezTo>
                <a:cubicBezTo>
                  <a:pt x="87" y="1897"/>
                  <a:pt x="89" y="1898"/>
                  <a:pt x="90" y="1898"/>
                </a:cubicBezTo>
                <a:lnTo>
                  <a:pt x="90" y="1902"/>
                </a:lnTo>
                <a:cubicBezTo>
                  <a:pt x="87" y="1905"/>
                  <a:pt x="85" y="1909"/>
                  <a:pt x="85" y="1915"/>
                </a:cubicBezTo>
                <a:cubicBezTo>
                  <a:pt x="85" y="1917"/>
                  <a:pt x="84" y="1922"/>
                  <a:pt x="81" y="1928"/>
                </a:cubicBezTo>
                <a:cubicBezTo>
                  <a:pt x="80" y="1935"/>
                  <a:pt x="76" y="1938"/>
                  <a:pt x="70" y="1937"/>
                </a:cubicBezTo>
                <a:cubicBezTo>
                  <a:pt x="68" y="1937"/>
                  <a:pt x="65" y="1935"/>
                  <a:pt x="63" y="1931"/>
                </a:cubicBezTo>
                <a:cubicBezTo>
                  <a:pt x="62" y="1930"/>
                  <a:pt x="62" y="1930"/>
                  <a:pt x="62" y="1930"/>
                </a:cubicBezTo>
                <a:cubicBezTo>
                  <a:pt x="60" y="1926"/>
                  <a:pt x="59" y="1922"/>
                  <a:pt x="59" y="1919"/>
                </a:cubicBezTo>
                <a:lnTo>
                  <a:pt x="59" y="1919"/>
                </a:lnTo>
                <a:close/>
                <a:moveTo>
                  <a:pt x="28" y="1909"/>
                </a:moveTo>
                <a:lnTo>
                  <a:pt x="28" y="1909"/>
                </a:lnTo>
                <a:cubicBezTo>
                  <a:pt x="28" y="1908"/>
                  <a:pt x="29" y="1907"/>
                  <a:pt x="31" y="1905"/>
                </a:cubicBezTo>
                <a:cubicBezTo>
                  <a:pt x="33" y="1905"/>
                  <a:pt x="35" y="1907"/>
                  <a:pt x="38" y="1909"/>
                </a:cubicBezTo>
                <a:cubicBezTo>
                  <a:pt x="41" y="1911"/>
                  <a:pt x="43" y="1914"/>
                  <a:pt x="43" y="1917"/>
                </a:cubicBezTo>
                <a:lnTo>
                  <a:pt x="40" y="1916"/>
                </a:lnTo>
                <a:cubicBezTo>
                  <a:pt x="32" y="1914"/>
                  <a:pt x="28" y="1911"/>
                  <a:pt x="28" y="1909"/>
                </a:cubicBezTo>
                <a:lnTo>
                  <a:pt x="28" y="1909"/>
                </a:lnTo>
                <a:close/>
                <a:moveTo>
                  <a:pt x="39" y="1921"/>
                </a:moveTo>
                <a:lnTo>
                  <a:pt x="39" y="1921"/>
                </a:lnTo>
                <a:cubicBezTo>
                  <a:pt x="40" y="1921"/>
                  <a:pt x="41" y="1921"/>
                  <a:pt x="41" y="1922"/>
                </a:cubicBezTo>
                <a:cubicBezTo>
                  <a:pt x="42" y="1922"/>
                  <a:pt x="43" y="1922"/>
                  <a:pt x="43" y="1923"/>
                </a:cubicBezTo>
                <a:cubicBezTo>
                  <a:pt x="44" y="1923"/>
                  <a:pt x="44" y="1923"/>
                  <a:pt x="44" y="1924"/>
                </a:cubicBezTo>
                <a:cubicBezTo>
                  <a:pt x="44" y="1925"/>
                  <a:pt x="43" y="1927"/>
                  <a:pt x="41" y="1930"/>
                </a:cubicBezTo>
                <a:cubicBezTo>
                  <a:pt x="40" y="1932"/>
                  <a:pt x="39" y="1934"/>
                  <a:pt x="39" y="1935"/>
                </a:cubicBezTo>
                <a:lnTo>
                  <a:pt x="36" y="1934"/>
                </a:lnTo>
                <a:cubicBezTo>
                  <a:pt x="34" y="1933"/>
                  <a:pt x="33" y="1932"/>
                  <a:pt x="32" y="1930"/>
                </a:cubicBezTo>
                <a:cubicBezTo>
                  <a:pt x="28" y="1926"/>
                  <a:pt x="26" y="1922"/>
                  <a:pt x="26" y="1919"/>
                </a:cubicBezTo>
                <a:cubicBezTo>
                  <a:pt x="27" y="1919"/>
                  <a:pt x="27" y="1918"/>
                  <a:pt x="27" y="1918"/>
                </a:cubicBezTo>
                <a:cubicBezTo>
                  <a:pt x="29" y="1918"/>
                  <a:pt x="31" y="1919"/>
                  <a:pt x="34" y="1919"/>
                </a:cubicBezTo>
                <a:cubicBezTo>
                  <a:pt x="36" y="1920"/>
                  <a:pt x="37" y="1920"/>
                  <a:pt x="39" y="1921"/>
                </a:cubicBezTo>
                <a:lnTo>
                  <a:pt x="39" y="1921"/>
                </a:lnTo>
                <a:close/>
                <a:moveTo>
                  <a:pt x="28" y="1941"/>
                </a:moveTo>
                <a:lnTo>
                  <a:pt x="28" y="1941"/>
                </a:lnTo>
                <a:cubicBezTo>
                  <a:pt x="28" y="1944"/>
                  <a:pt x="29" y="1950"/>
                  <a:pt x="31" y="1959"/>
                </a:cubicBezTo>
                <a:cubicBezTo>
                  <a:pt x="31" y="1960"/>
                  <a:pt x="31" y="1961"/>
                  <a:pt x="31" y="1962"/>
                </a:cubicBezTo>
                <a:cubicBezTo>
                  <a:pt x="30" y="1971"/>
                  <a:pt x="28" y="1976"/>
                  <a:pt x="26" y="1976"/>
                </a:cubicBezTo>
                <a:cubicBezTo>
                  <a:pt x="21" y="1975"/>
                  <a:pt x="19" y="1969"/>
                  <a:pt x="19" y="1957"/>
                </a:cubicBezTo>
                <a:cubicBezTo>
                  <a:pt x="17" y="1946"/>
                  <a:pt x="17" y="1939"/>
                  <a:pt x="17" y="1937"/>
                </a:cubicBezTo>
                <a:cubicBezTo>
                  <a:pt x="17" y="1935"/>
                  <a:pt x="18" y="1933"/>
                  <a:pt x="20" y="1933"/>
                </a:cubicBezTo>
                <a:cubicBezTo>
                  <a:pt x="22" y="1934"/>
                  <a:pt x="24" y="1934"/>
                  <a:pt x="25" y="1936"/>
                </a:cubicBezTo>
                <a:cubicBezTo>
                  <a:pt x="25" y="1936"/>
                  <a:pt x="26" y="1937"/>
                  <a:pt x="26" y="1938"/>
                </a:cubicBezTo>
                <a:cubicBezTo>
                  <a:pt x="27" y="1939"/>
                  <a:pt x="27" y="1940"/>
                  <a:pt x="28" y="1941"/>
                </a:cubicBezTo>
                <a:lnTo>
                  <a:pt x="28" y="1941"/>
                </a:lnTo>
                <a:close/>
                <a:moveTo>
                  <a:pt x="42" y="2010"/>
                </a:moveTo>
                <a:lnTo>
                  <a:pt x="42" y="2010"/>
                </a:lnTo>
                <a:cubicBezTo>
                  <a:pt x="42" y="2012"/>
                  <a:pt x="40" y="2013"/>
                  <a:pt x="38" y="2015"/>
                </a:cubicBezTo>
                <a:cubicBezTo>
                  <a:pt x="36" y="2016"/>
                  <a:pt x="35" y="2016"/>
                  <a:pt x="33" y="2017"/>
                </a:cubicBezTo>
                <a:cubicBezTo>
                  <a:pt x="33" y="2016"/>
                  <a:pt x="33" y="2014"/>
                  <a:pt x="33" y="2013"/>
                </a:cubicBezTo>
                <a:cubicBezTo>
                  <a:pt x="32" y="2009"/>
                  <a:pt x="32" y="2006"/>
                  <a:pt x="32" y="2003"/>
                </a:cubicBezTo>
                <a:cubicBezTo>
                  <a:pt x="33" y="2000"/>
                  <a:pt x="33" y="1998"/>
                  <a:pt x="33" y="1997"/>
                </a:cubicBezTo>
                <a:cubicBezTo>
                  <a:pt x="35" y="1998"/>
                  <a:pt x="37" y="1999"/>
                  <a:pt x="38" y="2000"/>
                </a:cubicBezTo>
                <a:cubicBezTo>
                  <a:pt x="41" y="2003"/>
                  <a:pt x="42" y="2006"/>
                  <a:pt x="42" y="2010"/>
                </a:cubicBezTo>
                <a:lnTo>
                  <a:pt x="42" y="2010"/>
                </a:lnTo>
                <a:close/>
                <a:moveTo>
                  <a:pt x="21" y="2010"/>
                </a:move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lnTo>
                  <a:pt x="21" y="2010"/>
                </a:lnTo>
                <a:close/>
                <a:moveTo>
                  <a:pt x="28" y="2013"/>
                </a:moveTo>
                <a:lnTo>
                  <a:pt x="28" y="2013"/>
                </a:lnTo>
                <a:cubicBezTo>
                  <a:pt x="28" y="2014"/>
                  <a:pt x="28" y="2015"/>
                  <a:pt x="28" y="2015"/>
                </a:cubicBezTo>
                <a:cubicBezTo>
                  <a:pt x="28" y="2016"/>
                  <a:pt x="27" y="2017"/>
                  <a:pt x="26" y="2018"/>
                </a:cubicBezTo>
                <a:cubicBezTo>
                  <a:pt x="26" y="2018"/>
                  <a:pt x="25" y="2018"/>
                  <a:pt x="25" y="2018"/>
                </a:cubicBezTo>
                <a:cubicBezTo>
                  <a:pt x="24" y="2018"/>
                  <a:pt x="23" y="2018"/>
                  <a:pt x="22" y="2016"/>
                </a:cubicBezTo>
                <a:cubicBezTo>
                  <a:pt x="21" y="2015"/>
                  <a:pt x="20" y="2014"/>
                  <a:pt x="21" y="2012"/>
                </a:cubicBezTo>
                <a:lnTo>
                  <a:pt x="21" y="2010"/>
                </a:lnTo>
                <a:cubicBezTo>
                  <a:pt x="21" y="2010"/>
                  <a:pt x="21" y="2010"/>
                  <a:pt x="21" y="2010"/>
                </a:cubicBezTo>
                <a:cubicBezTo>
                  <a:pt x="25" y="2011"/>
                  <a:pt x="27" y="2012"/>
                  <a:pt x="28" y="2013"/>
                </a:cubicBezTo>
                <a:lnTo>
                  <a:pt x="28" y="2013"/>
                </a:lnTo>
                <a:close/>
                <a:moveTo>
                  <a:pt x="43" y="2020"/>
                </a:moveTo>
                <a:lnTo>
                  <a:pt x="43" y="2020"/>
                </a:lnTo>
                <a:cubicBezTo>
                  <a:pt x="43" y="2020"/>
                  <a:pt x="42" y="2020"/>
                  <a:pt x="42" y="2020"/>
                </a:cubicBezTo>
                <a:cubicBezTo>
                  <a:pt x="42" y="2020"/>
                  <a:pt x="42" y="2020"/>
                  <a:pt x="43" y="2020"/>
                </a:cubicBezTo>
                <a:cubicBezTo>
                  <a:pt x="43" y="2020"/>
                  <a:pt x="43" y="2020"/>
                  <a:pt x="43" y="2020"/>
                </a:cubicBezTo>
                <a:lnTo>
                  <a:pt x="43" y="2020"/>
                </a:lnTo>
                <a:close/>
                <a:moveTo>
                  <a:pt x="48" y="2024"/>
                </a:moveTo>
                <a:lnTo>
                  <a:pt x="48" y="2024"/>
                </a:lnTo>
                <a:cubicBezTo>
                  <a:pt x="48" y="2025"/>
                  <a:pt x="50" y="2027"/>
                  <a:pt x="52" y="2030"/>
                </a:cubicBezTo>
                <a:cubicBezTo>
                  <a:pt x="54" y="2033"/>
                  <a:pt x="54" y="2035"/>
                  <a:pt x="54" y="2038"/>
                </a:cubicBezTo>
                <a:cubicBezTo>
                  <a:pt x="54" y="2040"/>
                  <a:pt x="56" y="2043"/>
                  <a:pt x="59" y="2046"/>
                </a:cubicBezTo>
                <a:cubicBezTo>
                  <a:pt x="58" y="2048"/>
                  <a:pt x="56" y="2050"/>
                  <a:pt x="52" y="2053"/>
                </a:cubicBezTo>
                <a:cubicBezTo>
                  <a:pt x="50" y="2055"/>
                  <a:pt x="49" y="2056"/>
                  <a:pt x="49" y="2058"/>
                </a:cubicBezTo>
                <a:cubicBezTo>
                  <a:pt x="48" y="2060"/>
                  <a:pt x="46" y="2061"/>
                  <a:pt x="45" y="2061"/>
                </a:cubicBezTo>
                <a:cubicBezTo>
                  <a:pt x="44" y="2061"/>
                  <a:pt x="42" y="2059"/>
                  <a:pt x="39" y="2055"/>
                </a:cubicBezTo>
                <a:cubicBezTo>
                  <a:pt x="37" y="2054"/>
                  <a:pt x="36" y="2052"/>
                  <a:pt x="35" y="2051"/>
                </a:cubicBezTo>
                <a:cubicBezTo>
                  <a:pt x="34" y="2050"/>
                  <a:pt x="34" y="2049"/>
                  <a:pt x="34" y="2049"/>
                </a:cubicBezTo>
                <a:cubicBezTo>
                  <a:pt x="33" y="2048"/>
                  <a:pt x="33" y="2046"/>
                  <a:pt x="32" y="2041"/>
                </a:cubicBezTo>
                <a:cubicBezTo>
                  <a:pt x="32" y="2038"/>
                  <a:pt x="32" y="2035"/>
                  <a:pt x="32" y="2033"/>
                </a:cubicBezTo>
                <a:cubicBezTo>
                  <a:pt x="32" y="2030"/>
                  <a:pt x="33" y="2028"/>
                  <a:pt x="35" y="2025"/>
                </a:cubicBezTo>
                <a:cubicBezTo>
                  <a:pt x="36" y="2024"/>
                  <a:pt x="38" y="2023"/>
                  <a:pt x="40" y="2022"/>
                </a:cubicBezTo>
                <a:cubicBezTo>
                  <a:pt x="40" y="2021"/>
                  <a:pt x="41" y="2021"/>
                  <a:pt x="42" y="2020"/>
                </a:cubicBezTo>
                <a:cubicBezTo>
                  <a:pt x="42" y="2020"/>
                  <a:pt x="43" y="2020"/>
                  <a:pt x="43" y="2020"/>
                </a:cubicBezTo>
                <a:cubicBezTo>
                  <a:pt x="44" y="2021"/>
                  <a:pt x="46" y="2022"/>
                  <a:pt x="48" y="2024"/>
                </a:cubicBezTo>
                <a:lnTo>
                  <a:pt x="48" y="2024"/>
                </a:lnTo>
                <a:close/>
                <a:moveTo>
                  <a:pt x="40" y="2022"/>
                </a:moveTo>
                <a:lnTo>
                  <a:pt x="40" y="2022"/>
                </a:lnTo>
                <a:cubicBezTo>
                  <a:pt x="40" y="2021"/>
                  <a:pt x="40" y="2021"/>
                  <a:pt x="41" y="2020"/>
                </a:cubicBezTo>
                <a:cubicBezTo>
                  <a:pt x="41" y="2020"/>
                  <a:pt x="41" y="2020"/>
                  <a:pt x="42" y="2020"/>
                </a:cubicBezTo>
                <a:cubicBezTo>
                  <a:pt x="42" y="2020"/>
                  <a:pt x="42" y="2020"/>
                  <a:pt x="42" y="2020"/>
                </a:cubicBezTo>
                <a:cubicBezTo>
                  <a:pt x="41" y="2021"/>
                  <a:pt x="40" y="2021"/>
                  <a:pt x="40" y="2022"/>
                </a:cubicBezTo>
                <a:lnTo>
                  <a:pt x="40" y="2022"/>
                </a:lnTo>
                <a:close/>
                <a:moveTo>
                  <a:pt x="53" y="2008"/>
                </a:moveTo>
                <a:lnTo>
                  <a:pt x="53" y="2008"/>
                </a:lnTo>
                <a:cubicBezTo>
                  <a:pt x="55" y="2009"/>
                  <a:pt x="57" y="2008"/>
                  <a:pt x="58" y="2007"/>
                </a:cubicBezTo>
                <a:cubicBezTo>
                  <a:pt x="61" y="2005"/>
                  <a:pt x="64" y="2004"/>
                  <a:pt x="67" y="2004"/>
                </a:cubicBezTo>
                <a:cubicBezTo>
                  <a:pt x="68" y="2004"/>
                  <a:pt x="68" y="2005"/>
                  <a:pt x="69" y="2006"/>
                </a:cubicBezTo>
                <a:cubicBezTo>
                  <a:pt x="71" y="2007"/>
                  <a:pt x="71" y="2008"/>
                  <a:pt x="71" y="2011"/>
                </a:cubicBezTo>
                <a:cubicBezTo>
                  <a:pt x="71" y="2013"/>
                  <a:pt x="71" y="2014"/>
                  <a:pt x="71" y="2015"/>
                </a:cubicBezTo>
                <a:cubicBezTo>
                  <a:pt x="71" y="2017"/>
                  <a:pt x="71" y="2018"/>
                  <a:pt x="71" y="2020"/>
                </a:cubicBezTo>
                <a:cubicBezTo>
                  <a:pt x="71" y="2021"/>
                  <a:pt x="70" y="2022"/>
                  <a:pt x="68" y="2023"/>
                </a:cubicBezTo>
                <a:cubicBezTo>
                  <a:pt x="67" y="2025"/>
                  <a:pt x="67" y="2027"/>
                  <a:pt x="66" y="2027"/>
                </a:cubicBezTo>
                <a:cubicBezTo>
                  <a:pt x="64" y="2033"/>
                  <a:pt x="62" y="2035"/>
                  <a:pt x="61" y="2035"/>
                </a:cubicBezTo>
                <a:cubicBezTo>
                  <a:pt x="59" y="2035"/>
                  <a:pt x="57" y="2033"/>
                  <a:pt x="55" y="2029"/>
                </a:cubicBezTo>
                <a:cubicBezTo>
                  <a:pt x="54" y="2028"/>
                  <a:pt x="53" y="2027"/>
                  <a:pt x="52" y="2026"/>
                </a:cubicBezTo>
                <a:cubicBezTo>
                  <a:pt x="49" y="2020"/>
                  <a:pt x="47" y="2016"/>
                  <a:pt x="48" y="2013"/>
                </a:cubicBezTo>
                <a:cubicBezTo>
                  <a:pt x="48" y="2012"/>
                  <a:pt x="48" y="2012"/>
                  <a:pt x="48" y="2011"/>
                </a:cubicBezTo>
                <a:cubicBezTo>
                  <a:pt x="49" y="2009"/>
                  <a:pt x="51" y="2008"/>
                  <a:pt x="53" y="2008"/>
                </a:cubicBezTo>
                <a:lnTo>
                  <a:pt x="53" y="2008"/>
                </a:lnTo>
                <a:close/>
                <a:moveTo>
                  <a:pt x="536" y="2240"/>
                </a:moveTo>
                <a:lnTo>
                  <a:pt x="536" y="2240"/>
                </a:lnTo>
                <a:cubicBezTo>
                  <a:pt x="537" y="2241"/>
                  <a:pt x="538" y="2242"/>
                  <a:pt x="540" y="2243"/>
                </a:cubicBezTo>
                <a:cubicBezTo>
                  <a:pt x="538" y="2248"/>
                  <a:pt x="535" y="2250"/>
                  <a:pt x="532" y="2249"/>
                </a:cubicBezTo>
                <a:cubicBezTo>
                  <a:pt x="531" y="2249"/>
                  <a:pt x="530" y="2248"/>
                  <a:pt x="530" y="2248"/>
                </a:cubicBezTo>
                <a:cubicBezTo>
                  <a:pt x="530" y="2244"/>
                  <a:pt x="532" y="2240"/>
                  <a:pt x="534" y="2239"/>
                </a:cubicBezTo>
                <a:cubicBezTo>
                  <a:pt x="535" y="2239"/>
                  <a:pt x="535" y="2239"/>
                  <a:pt x="535" y="2239"/>
                </a:cubicBezTo>
                <a:cubicBezTo>
                  <a:pt x="536" y="2240"/>
                  <a:pt x="536" y="2240"/>
                  <a:pt x="536" y="2240"/>
                </a:cubicBezTo>
                <a:lnTo>
                  <a:pt x="536" y="2240"/>
                </a:lnTo>
                <a:close/>
                <a:moveTo>
                  <a:pt x="98" y="2124"/>
                </a:moveTo>
                <a:lnTo>
                  <a:pt x="98" y="2124"/>
                </a:lnTo>
                <a:cubicBezTo>
                  <a:pt x="95" y="2126"/>
                  <a:pt x="93" y="2127"/>
                  <a:pt x="91" y="2128"/>
                </a:cubicBezTo>
                <a:cubicBezTo>
                  <a:pt x="84" y="2130"/>
                  <a:pt x="80" y="2132"/>
                  <a:pt x="79" y="2132"/>
                </a:cubicBezTo>
                <a:cubicBezTo>
                  <a:pt x="77" y="2132"/>
                  <a:pt x="77" y="2130"/>
                  <a:pt x="77" y="2128"/>
                </a:cubicBezTo>
                <a:cubicBezTo>
                  <a:pt x="77" y="2126"/>
                  <a:pt x="79" y="2123"/>
                  <a:pt x="81" y="2122"/>
                </a:cubicBezTo>
                <a:cubicBezTo>
                  <a:pt x="86" y="2121"/>
                  <a:pt x="90" y="2121"/>
                  <a:pt x="92" y="2121"/>
                </a:cubicBezTo>
                <a:lnTo>
                  <a:pt x="92" y="2121"/>
                </a:lnTo>
                <a:cubicBezTo>
                  <a:pt x="95" y="2122"/>
                  <a:pt x="97" y="2123"/>
                  <a:pt x="98" y="2124"/>
                </a:cubicBezTo>
                <a:lnTo>
                  <a:pt x="98" y="2124"/>
                </a:lnTo>
                <a:close/>
                <a:moveTo>
                  <a:pt x="82" y="2150"/>
                </a:moveTo>
                <a:lnTo>
                  <a:pt x="82" y="2150"/>
                </a:lnTo>
                <a:cubicBezTo>
                  <a:pt x="84" y="2152"/>
                  <a:pt x="85" y="2153"/>
                  <a:pt x="84" y="2154"/>
                </a:cubicBezTo>
                <a:cubicBezTo>
                  <a:pt x="84" y="2155"/>
                  <a:pt x="84" y="2156"/>
                  <a:pt x="82" y="2157"/>
                </a:cubicBezTo>
                <a:cubicBezTo>
                  <a:pt x="82" y="2158"/>
                  <a:pt x="81" y="2158"/>
                  <a:pt x="81" y="2158"/>
                </a:cubicBezTo>
                <a:cubicBezTo>
                  <a:pt x="80" y="2159"/>
                  <a:pt x="78" y="2160"/>
                  <a:pt x="77" y="2160"/>
                </a:cubicBezTo>
                <a:cubicBezTo>
                  <a:pt x="76" y="2161"/>
                  <a:pt x="75" y="2161"/>
                  <a:pt x="74" y="2161"/>
                </a:cubicBezTo>
                <a:cubicBezTo>
                  <a:pt x="73" y="2161"/>
                  <a:pt x="71" y="2160"/>
                  <a:pt x="70" y="2159"/>
                </a:cubicBezTo>
                <a:lnTo>
                  <a:pt x="70" y="2153"/>
                </a:lnTo>
                <a:cubicBezTo>
                  <a:pt x="72" y="2152"/>
                  <a:pt x="74" y="2151"/>
                  <a:pt x="78" y="2149"/>
                </a:cubicBezTo>
                <a:lnTo>
                  <a:pt x="81" y="2149"/>
                </a:lnTo>
                <a:cubicBezTo>
                  <a:pt x="81" y="2149"/>
                  <a:pt x="81" y="2150"/>
                  <a:pt x="82" y="2150"/>
                </a:cubicBezTo>
                <a:lnTo>
                  <a:pt x="82" y="2150"/>
                </a:lnTo>
                <a:close/>
                <a:moveTo>
                  <a:pt x="82" y="2166"/>
                </a:moveTo>
                <a:lnTo>
                  <a:pt x="82" y="2166"/>
                </a:lnTo>
                <a:cubicBezTo>
                  <a:pt x="81" y="2167"/>
                  <a:pt x="80" y="2168"/>
                  <a:pt x="79" y="2168"/>
                </a:cubicBezTo>
                <a:cubicBezTo>
                  <a:pt x="78" y="2170"/>
                  <a:pt x="77" y="2171"/>
                  <a:pt x="76" y="2171"/>
                </a:cubicBezTo>
                <a:cubicBezTo>
                  <a:pt x="75" y="2171"/>
                  <a:pt x="74" y="2171"/>
                  <a:pt x="75" y="2169"/>
                </a:cubicBezTo>
                <a:cubicBezTo>
                  <a:pt x="75" y="2168"/>
                  <a:pt x="75" y="2167"/>
                  <a:pt x="77" y="2166"/>
                </a:cubicBezTo>
                <a:cubicBezTo>
                  <a:pt x="78" y="2165"/>
                  <a:pt x="79" y="2164"/>
                  <a:pt x="79" y="2164"/>
                </a:cubicBezTo>
                <a:lnTo>
                  <a:pt x="82" y="2164"/>
                </a:lnTo>
                <a:lnTo>
                  <a:pt x="82" y="2166"/>
                </a:lnTo>
                <a:lnTo>
                  <a:pt x="82" y="2166"/>
                </a:lnTo>
                <a:close/>
                <a:moveTo>
                  <a:pt x="56" y="2170"/>
                </a:moveTo>
                <a:lnTo>
                  <a:pt x="56" y="2170"/>
                </a:lnTo>
                <a:cubicBezTo>
                  <a:pt x="55" y="2169"/>
                  <a:pt x="54" y="2168"/>
                  <a:pt x="55" y="2167"/>
                </a:cubicBezTo>
                <a:cubicBezTo>
                  <a:pt x="55" y="2166"/>
                  <a:pt x="55" y="2166"/>
                  <a:pt x="57" y="2165"/>
                </a:cubicBezTo>
                <a:cubicBezTo>
                  <a:pt x="57" y="2165"/>
                  <a:pt x="57" y="2165"/>
                  <a:pt x="57" y="2165"/>
                </a:cubicBezTo>
                <a:cubicBezTo>
                  <a:pt x="57" y="2165"/>
                  <a:pt x="58" y="2165"/>
                  <a:pt x="58" y="2165"/>
                </a:cubicBezTo>
                <a:cubicBezTo>
                  <a:pt x="58" y="2165"/>
                  <a:pt x="59" y="2165"/>
                  <a:pt x="59" y="2166"/>
                </a:cubicBezTo>
                <a:cubicBezTo>
                  <a:pt x="59" y="2166"/>
                  <a:pt x="59" y="2166"/>
                  <a:pt x="60" y="2166"/>
                </a:cubicBezTo>
                <a:cubicBezTo>
                  <a:pt x="60" y="2166"/>
                  <a:pt x="61" y="2166"/>
                  <a:pt x="61" y="2166"/>
                </a:cubicBezTo>
                <a:cubicBezTo>
                  <a:pt x="62" y="2167"/>
                  <a:pt x="63" y="2167"/>
                  <a:pt x="64" y="2168"/>
                </a:cubicBezTo>
                <a:cubicBezTo>
                  <a:pt x="65" y="2168"/>
                  <a:pt x="65" y="2169"/>
                  <a:pt x="65" y="2169"/>
                </a:cubicBezTo>
                <a:cubicBezTo>
                  <a:pt x="65" y="2171"/>
                  <a:pt x="64" y="2171"/>
                  <a:pt x="62" y="2171"/>
                </a:cubicBezTo>
                <a:cubicBezTo>
                  <a:pt x="59" y="2171"/>
                  <a:pt x="57" y="2170"/>
                  <a:pt x="56" y="2170"/>
                </a:cubicBezTo>
                <a:lnTo>
                  <a:pt x="56" y="2170"/>
                </a:lnTo>
                <a:close/>
                <a:moveTo>
                  <a:pt x="38" y="2176"/>
                </a:moveTo>
                <a:lnTo>
                  <a:pt x="38" y="2176"/>
                </a:lnTo>
                <a:lnTo>
                  <a:pt x="39" y="2173"/>
                </a:lnTo>
                <a:cubicBezTo>
                  <a:pt x="39" y="2173"/>
                  <a:pt x="40" y="2173"/>
                  <a:pt x="41" y="2173"/>
                </a:cubicBezTo>
                <a:cubicBezTo>
                  <a:pt x="41" y="2173"/>
                  <a:pt x="42" y="2173"/>
                  <a:pt x="43" y="2174"/>
                </a:cubicBezTo>
                <a:cubicBezTo>
                  <a:pt x="43" y="2174"/>
                  <a:pt x="43" y="2174"/>
                  <a:pt x="44" y="2174"/>
                </a:cubicBezTo>
                <a:cubicBezTo>
                  <a:pt x="44" y="2175"/>
                  <a:pt x="45" y="2176"/>
                  <a:pt x="45" y="2176"/>
                </a:cubicBezTo>
                <a:cubicBezTo>
                  <a:pt x="46" y="2177"/>
                  <a:pt x="48" y="2178"/>
                  <a:pt x="49" y="2179"/>
                </a:cubicBezTo>
                <a:cubicBezTo>
                  <a:pt x="52" y="2181"/>
                  <a:pt x="53" y="2183"/>
                  <a:pt x="53" y="2185"/>
                </a:cubicBezTo>
                <a:lnTo>
                  <a:pt x="49" y="2185"/>
                </a:lnTo>
                <a:cubicBezTo>
                  <a:pt x="45" y="2184"/>
                  <a:pt x="41" y="2181"/>
                  <a:pt x="38" y="2176"/>
                </a:cubicBezTo>
                <a:lnTo>
                  <a:pt x="38" y="2176"/>
                </a:lnTo>
                <a:close/>
                <a:moveTo>
                  <a:pt x="34" y="2060"/>
                </a:moveTo>
                <a:lnTo>
                  <a:pt x="34" y="2060"/>
                </a:lnTo>
                <a:cubicBezTo>
                  <a:pt x="33" y="2062"/>
                  <a:pt x="33" y="2064"/>
                  <a:pt x="32" y="2065"/>
                </a:cubicBezTo>
                <a:cubicBezTo>
                  <a:pt x="31" y="2066"/>
                  <a:pt x="29" y="2066"/>
                  <a:pt x="27" y="2066"/>
                </a:cubicBezTo>
                <a:cubicBezTo>
                  <a:pt x="27" y="2066"/>
                  <a:pt x="26" y="2065"/>
                  <a:pt x="25" y="2065"/>
                </a:cubicBezTo>
                <a:cubicBezTo>
                  <a:pt x="25" y="2064"/>
                  <a:pt x="24" y="2064"/>
                  <a:pt x="24" y="2062"/>
                </a:cubicBezTo>
                <a:cubicBezTo>
                  <a:pt x="23" y="2060"/>
                  <a:pt x="23" y="2058"/>
                  <a:pt x="23" y="2057"/>
                </a:cubicBezTo>
                <a:cubicBezTo>
                  <a:pt x="18" y="2054"/>
                  <a:pt x="15" y="2051"/>
                  <a:pt x="16" y="2049"/>
                </a:cubicBezTo>
                <a:cubicBezTo>
                  <a:pt x="16" y="2048"/>
                  <a:pt x="17" y="2048"/>
                  <a:pt x="20" y="2047"/>
                </a:cubicBezTo>
                <a:cubicBezTo>
                  <a:pt x="21" y="2047"/>
                  <a:pt x="22" y="2047"/>
                  <a:pt x="23" y="2047"/>
                </a:cubicBezTo>
                <a:cubicBezTo>
                  <a:pt x="25" y="2048"/>
                  <a:pt x="28" y="2050"/>
                  <a:pt x="32" y="2052"/>
                </a:cubicBezTo>
                <a:cubicBezTo>
                  <a:pt x="32" y="2052"/>
                  <a:pt x="32" y="2052"/>
                  <a:pt x="33" y="2053"/>
                </a:cubicBezTo>
                <a:cubicBezTo>
                  <a:pt x="34" y="2054"/>
                  <a:pt x="34" y="2057"/>
                  <a:pt x="34" y="2060"/>
                </a:cubicBezTo>
                <a:lnTo>
                  <a:pt x="34" y="2060"/>
                </a:lnTo>
                <a:close/>
                <a:moveTo>
                  <a:pt x="22" y="2066"/>
                </a:moveTo>
                <a:lnTo>
                  <a:pt x="22" y="2066"/>
                </a:lnTo>
                <a:cubicBezTo>
                  <a:pt x="23" y="2066"/>
                  <a:pt x="23" y="2066"/>
                  <a:pt x="23" y="2067"/>
                </a:cubicBezTo>
                <a:cubicBezTo>
                  <a:pt x="24" y="2068"/>
                  <a:pt x="25" y="2069"/>
                  <a:pt x="24" y="2070"/>
                </a:cubicBezTo>
                <a:cubicBezTo>
                  <a:pt x="24" y="2072"/>
                  <a:pt x="23" y="2074"/>
                  <a:pt x="20" y="2077"/>
                </a:cubicBezTo>
                <a:cubicBezTo>
                  <a:pt x="20" y="2078"/>
                  <a:pt x="19" y="2079"/>
                  <a:pt x="18" y="2079"/>
                </a:cubicBezTo>
                <a:cubicBezTo>
                  <a:pt x="17" y="2081"/>
                  <a:pt x="15" y="2082"/>
                  <a:pt x="14" y="2082"/>
                </a:cubicBezTo>
                <a:cubicBezTo>
                  <a:pt x="14" y="2080"/>
                  <a:pt x="14" y="2078"/>
                  <a:pt x="14" y="2077"/>
                </a:cubicBezTo>
                <a:cubicBezTo>
                  <a:pt x="15" y="2075"/>
                  <a:pt x="15" y="2074"/>
                  <a:pt x="15" y="2074"/>
                </a:cubicBezTo>
                <a:lnTo>
                  <a:pt x="15" y="2071"/>
                </a:lnTo>
                <a:cubicBezTo>
                  <a:pt x="15" y="2067"/>
                  <a:pt x="16" y="2065"/>
                  <a:pt x="17" y="2064"/>
                </a:cubicBezTo>
                <a:cubicBezTo>
                  <a:pt x="18" y="2064"/>
                  <a:pt x="20" y="2065"/>
                  <a:pt x="22" y="2066"/>
                </a:cubicBezTo>
                <a:lnTo>
                  <a:pt x="22" y="2066"/>
                </a:lnTo>
                <a:close/>
                <a:moveTo>
                  <a:pt x="17" y="2135"/>
                </a:moveTo>
                <a:lnTo>
                  <a:pt x="17" y="2135"/>
                </a:lnTo>
                <a:cubicBezTo>
                  <a:pt x="17" y="2142"/>
                  <a:pt x="17" y="2147"/>
                  <a:pt x="17" y="2150"/>
                </a:cubicBezTo>
                <a:cubicBezTo>
                  <a:pt x="17" y="2151"/>
                  <a:pt x="17" y="2152"/>
                  <a:pt x="17" y="2152"/>
                </a:cubicBezTo>
                <a:cubicBezTo>
                  <a:pt x="16" y="2161"/>
                  <a:pt x="14" y="2166"/>
                  <a:pt x="9" y="2165"/>
                </a:cubicBezTo>
                <a:cubicBezTo>
                  <a:pt x="3" y="2164"/>
                  <a:pt x="0" y="2160"/>
                  <a:pt x="1" y="2152"/>
                </a:cubicBezTo>
                <a:cubicBezTo>
                  <a:pt x="2" y="2149"/>
                  <a:pt x="3" y="2143"/>
                  <a:pt x="7" y="2137"/>
                </a:cubicBezTo>
                <a:cubicBezTo>
                  <a:pt x="10" y="2131"/>
                  <a:pt x="11" y="2127"/>
                  <a:pt x="12" y="2122"/>
                </a:cubicBezTo>
                <a:cubicBezTo>
                  <a:pt x="14" y="2123"/>
                  <a:pt x="15" y="2123"/>
                  <a:pt x="16" y="2124"/>
                </a:cubicBezTo>
                <a:cubicBezTo>
                  <a:pt x="16" y="2125"/>
                  <a:pt x="17" y="2126"/>
                  <a:pt x="17" y="2128"/>
                </a:cubicBezTo>
                <a:cubicBezTo>
                  <a:pt x="17" y="2129"/>
                  <a:pt x="17" y="2132"/>
                  <a:pt x="17" y="2135"/>
                </a:cubicBezTo>
                <a:lnTo>
                  <a:pt x="17" y="2135"/>
                </a:lnTo>
                <a:close/>
                <a:moveTo>
                  <a:pt x="27" y="2155"/>
                </a:moveTo>
                <a:lnTo>
                  <a:pt x="27" y="2155"/>
                </a:lnTo>
                <a:cubicBezTo>
                  <a:pt x="26" y="2158"/>
                  <a:pt x="24" y="2160"/>
                  <a:pt x="21" y="2159"/>
                </a:cubicBezTo>
                <a:cubicBezTo>
                  <a:pt x="20" y="2157"/>
                  <a:pt x="20" y="2154"/>
                  <a:pt x="20" y="2150"/>
                </a:cubicBezTo>
                <a:cubicBezTo>
                  <a:pt x="20" y="2148"/>
                  <a:pt x="20" y="2146"/>
                  <a:pt x="20" y="2144"/>
                </a:cubicBezTo>
                <a:cubicBezTo>
                  <a:pt x="21" y="2141"/>
                  <a:pt x="22" y="2139"/>
                  <a:pt x="23" y="2138"/>
                </a:cubicBezTo>
                <a:cubicBezTo>
                  <a:pt x="26" y="2139"/>
                  <a:pt x="28" y="2140"/>
                  <a:pt x="28" y="2141"/>
                </a:cubicBezTo>
                <a:cubicBezTo>
                  <a:pt x="28" y="2142"/>
                  <a:pt x="28" y="2142"/>
                  <a:pt x="28" y="2143"/>
                </a:cubicBezTo>
                <a:cubicBezTo>
                  <a:pt x="28" y="2144"/>
                  <a:pt x="28" y="2145"/>
                  <a:pt x="28" y="2147"/>
                </a:cubicBezTo>
                <a:cubicBezTo>
                  <a:pt x="28" y="2151"/>
                  <a:pt x="27" y="2154"/>
                  <a:pt x="27" y="2155"/>
                </a:cubicBezTo>
                <a:lnTo>
                  <a:pt x="27" y="2155"/>
                </a:lnTo>
                <a:close/>
                <a:moveTo>
                  <a:pt x="724" y="1137"/>
                </a:moveTo>
                <a:lnTo>
                  <a:pt x="724" y="1137"/>
                </a:lnTo>
                <a:cubicBezTo>
                  <a:pt x="725" y="1138"/>
                  <a:pt x="726" y="1138"/>
                  <a:pt x="728" y="1138"/>
                </a:cubicBezTo>
                <a:cubicBezTo>
                  <a:pt x="729" y="1138"/>
                  <a:pt x="731" y="1138"/>
                  <a:pt x="733" y="1138"/>
                </a:cubicBezTo>
                <a:cubicBezTo>
                  <a:pt x="734" y="1138"/>
                  <a:pt x="735" y="1140"/>
                  <a:pt x="734" y="1142"/>
                </a:cubicBezTo>
                <a:cubicBezTo>
                  <a:pt x="734" y="1143"/>
                  <a:pt x="734" y="1145"/>
                  <a:pt x="733" y="1146"/>
                </a:cubicBezTo>
                <a:cubicBezTo>
                  <a:pt x="731" y="1148"/>
                  <a:pt x="730" y="1149"/>
                  <a:pt x="729" y="1149"/>
                </a:cubicBezTo>
                <a:cubicBezTo>
                  <a:pt x="728" y="1149"/>
                  <a:pt x="727" y="1148"/>
                  <a:pt x="725" y="1147"/>
                </a:cubicBezTo>
                <a:cubicBezTo>
                  <a:pt x="724" y="1146"/>
                  <a:pt x="723" y="1145"/>
                  <a:pt x="722" y="1144"/>
                </a:cubicBezTo>
                <a:cubicBezTo>
                  <a:pt x="720" y="1140"/>
                  <a:pt x="718" y="1139"/>
                  <a:pt x="716" y="1138"/>
                </a:cubicBezTo>
                <a:cubicBezTo>
                  <a:pt x="716" y="1138"/>
                  <a:pt x="716" y="1137"/>
                  <a:pt x="717" y="1137"/>
                </a:cubicBezTo>
                <a:cubicBezTo>
                  <a:pt x="718" y="1137"/>
                  <a:pt x="720" y="1137"/>
                  <a:pt x="724" y="1136"/>
                </a:cubicBezTo>
                <a:cubicBezTo>
                  <a:pt x="724" y="1136"/>
                  <a:pt x="724" y="1136"/>
                  <a:pt x="724" y="1137"/>
                </a:cubicBezTo>
                <a:lnTo>
                  <a:pt x="724" y="1137"/>
                </a:lnTo>
                <a:close/>
                <a:moveTo>
                  <a:pt x="254" y="1549"/>
                </a:moveTo>
                <a:lnTo>
                  <a:pt x="254" y="1549"/>
                </a:lnTo>
                <a:cubicBezTo>
                  <a:pt x="253" y="1550"/>
                  <a:pt x="253" y="1551"/>
                  <a:pt x="252" y="1552"/>
                </a:cubicBezTo>
                <a:cubicBezTo>
                  <a:pt x="251" y="1553"/>
                  <a:pt x="250" y="1554"/>
                  <a:pt x="250" y="1555"/>
                </a:cubicBezTo>
                <a:cubicBezTo>
                  <a:pt x="249" y="1555"/>
                  <a:pt x="248" y="1556"/>
                  <a:pt x="246" y="1556"/>
                </a:cubicBezTo>
                <a:cubicBezTo>
                  <a:pt x="243" y="1555"/>
                  <a:pt x="242" y="1555"/>
                  <a:pt x="241" y="1555"/>
                </a:cubicBezTo>
                <a:cubicBezTo>
                  <a:pt x="233" y="1556"/>
                  <a:pt x="228" y="1556"/>
                  <a:pt x="226" y="1556"/>
                </a:cubicBezTo>
                <a:cubicBezTo>
                  <a:pt x="225" y="1556"/>
                  <a:pt x="225" y="1556"/>
                  <a:pt x="224" y="1556"/>
                </a:cubicBezTo>
                <a:cubicBezTo>
                  <a:pt x="223" y="1556"/>
                  <a:pt x="222" y="1556"/>
                  <a:pt x="222" y="1555"/>
                </a:cubicBezTo>
                <a:cubicBezTo>
                  <a:pt x="222" y="1554"/>
                  <a:pt x="223" y="1552"/>
                  <a:pt x="227" y="1550"/>
                </a:cubicBezTo>
                <a:cubicBezTo>
                  <a:pt x="231" y="1548"/>
                  <a:pt x="233" y="1546"/>
                  <a:pt x="234" y="1545"/>
                </a:cubicBezTo>
                <a:cubicBezTo>
                  <a:pt x="235" y="1544"/>
                  <a:pt x="238" y="1543"/>
                  <a:pt x="243" y="1543"/>
                </a:cubicBezTo>
                <a:cubicBezTo>
                  <a:pt x="244" y="1544"/>
                  <a:pt x="246" y="1545"/>
                  <a:pt x="249" y="1546"/>
                </a:cubicBezTo>
                <a:cubicBezTo>
                  <a:pt x="252" y="1546"/>
                  <a:pt x="253" y="1547"/>
                  <a:pt x="254" y="1549"/>
                </a:cubicBezTo>
                <a:lnTo>
                  <a:pt x="254" y="1549"/>
                </a:lnTo>
                <a:close/>
                <a:moveTo>
                  <a:pt x="702" y="1164"/>
                </a:moveTo>
                <a:lnTo>
                  <a:pt x="702" y="1164"/>
                </a:lnTo>
                <a:cubicBezTo>
                  <a:pt x="704" y="1164"/>
                  <a:pt x="707" y="1165"/>
                  <a:pt x="712" y="1166"/>
                </a:cubicBezTo>
                <a:cubicBezTo>
                  <a:pt x="713" y="1167"/>
                  <a:pt x="714" y="1167"/>
                  <a:pt x="715" y="1168"/>
                </a:cubicBezTo>
                <a:cubicBezTo>
                  <a:pt x="721" y="1168"/>
                  <a:pt x="729" y="1166"/>
                  <a:pt x="738" y="1160"/>
                </a:cubicBezTo>
                <a:cubicBezTo>
                  <a:pt x="742" y="1157"/>
                  <a:pt x="747" y="1154"/>
                  <a:pt x="752" y="1150"/>
                </a:cubicBezTo>
                <a:cubicBezTo>
                  <a:pt x="766" y="1137"/>
                  <a:pt x="774" y="1129"/>
                  <a:pt x="774" y="1123"/>
                </a:cubicBezTo>
                <a:lnTo>
                  <a:pt x="774" y="1123"/>
                </a:lnTo>
                <a:cubicBezTo>
                  <a:pt x="767" y="1128"/>
                  <a:pt x="754" y="1140"/>
                  <a:pt x="736" y="1157"/>
                </a:cubicBezTo>
                <a:cubicBezTo>
                  <a:pt x="734" y="1154"/>
                  <a:pt x="733" y="1152"/>
                  <a:pt x="733" y="1152"/>
                </a:cubicBezTo>
                <a:cubicBezTo>
                  <a:pt x="734" y="1151"/>
                  <a:pt x="735" y="1148"/>
                  <a:pt x="739" y="1144"/>
                </a:cubicBezTo>
                <a:cubicBezTo>
                  <a:pt x="738" y="1136"/>
                  <a:pt x="735" y="1132"/>
                  <a:pt x="730" y="1131"/>
                </a:cubicBezTo>
                <a:cubicBezTo>
                  <a:pt x="730" y="1131"/>
                  <a:pt x="730" y="1130"/>
                  <a:pt x="730" y="1129"/>
                </a:cubicBezTo>
                <a:cubicBezTo>
                  <a:pt x="730" y="1128"/>
                  <a:pt x="731" y="1126"/>
                  <a:pt x="734" y="1125"/>
                </a:cubicBezTo>
                <a:cubicBezTo>
                  <a:pt x="737" y="1123"/>
                  <a:pt x="739" y="1121"/>
                  <a:pt x="739" y="1120"/>
                </a:cubicBezTo>
                <a:cubicBezTo>
                  <a:pt x="739" y="1119"/>
                  <a:pt x="738" y="1119"/>
                  <a:pt x="736" y="1119"/>
                </a:cubicBezTo>
                <a:cubicBezTo>
                  <a:pt x="734" y="1118"/>
                  <a:pt x="730" y="1118"/>
                  <a:pt x="726" y="1119"/>
                </a:cubicBezTo>
                <a:cubicBezTo>
                  <a:pt x="726" y="1120"/>
                  <a:pt x="726" y="1121"/>
                  <a:pt x="727" y="1122"/>
                </a:cubicBezTo>
                <a:cubicBezTo>
                  <a:pt x="728" y="1122"/>
                  <a:pt x="728" y="1123"/>
                  <a:pt x="728" y="1124"/>
                </a:cubicBezTo>
                <a:cubicBezTo>
                  <a:pt x="728" y="1124"/>
                  <a:pt x="726" y="1127"/>
                  <a:pt x="723" y="1133"/>
                </a:cubicBezTo>
                <a:lnTo>
                  <a:pt x="714" y="1132"/>
                </a:lnTo>
                <a:cubicBezTo>
                  <a:pt x="711" y="1129"/>
                  <a:pt x="710" y="1122"/>
                  <a:pt x="711" y="1114"/>
                </a:cubicBezTo>
                <a:cubicBezTo>
                  <a:pt x="712" y="1111"/>
                  <a:pt x="717" y="1105"/>
                  <a:pt x="726" y="1098"/>
                </a:cubicBezTo>
                <a:cubicBezTo>
                  <a:pt x="725" y="1097"/>
                  <a:pt x="724" y="1094"/>
                  <a:pt x="724" y="1089"/>
                </a:cubicBezTo>
                <a:cubicBezTo>
                  <a:pt x="723" y="1085"/>
                  <a:pt x="723" y="1081"/>
                  <a:pt x="723" y="1078"/>
                </a:cubicBezTo>
                <a:cubicBezTo>
                  <a:pt x="724" y="1077"/>
                  <a:pt x="724" y="1075"/>
                  <a:pt x="725" y="1075"/>
                </a:cubicBezTo>
                <a:cubicBezTo>
                  <a:pt x="728" y="1076"/>
                  <a:pt x="730" y="1078"/>
                  <a:pt x="732" y="1081"/>
                </a:cubicBezTo>
                <a:cubicBezTo>
                  <a:pt x="733" y="1083"/>
                  <a:pt x="734" y="1085"/>
                  <a:pt x="735" y="1088"/>
                </a:cubicBezTo>
                <a:cubicBezTo>
                  <a:pt x="736" y="1096"/>
                  <a:pt x="737" y="1102"/>
                  <a:pt x="738" y="1105"/>
                </a:cubicBezTo>
                <a:cubicBezTo>
                  <a:pt x="741" y="1102"/>
                  <a:pt x="743" y="1101"/>
                  <a:pt x="746" y="1101"/>
                </a:cubicBezTo>
                <a:cubicBezTo>
                  <a:pt x="750" y="1102"/>
                  <a:pt x="752" y="1103"/>
                  <a:pt x="753" y="1105"/>
                </a:cubicBezTo>
                <a:cubicBezTo>
                  <a:pt x="754" y="1104"/>
                  <a:pt x="755" y="1102"/>
                  <a:pt x="756" y="1100"/>
                </a:cubicBezTo>
                <a:cubicBezTo>
                  <a:pt x="751" y="1098"/>
                  <a:pt x="748" y="1095"/>
                  <a:pt x="746" y="1090"/>
                </a:cubicBezTo>
                <a:cubicBezTo>
                  <a:pt x="745" y="1088"/>
                  <a:pt x="745" y="1084"/>
                  <a:pt x="744" y="1078"/>
                </a:cubicBezTo>
                <a:lnTo>
                  <a:pt x="741" y="1078"/>
                </a:lnTo>
                <a:cubicBezTo>
                  <a:pt x="739" y="1078"/>
                  <a:pt x="737" y="1079"/>
                  <a:pt x="736" y="1079"/>
                </a:cubicBezTo>
                <a:cubicBezTo>
                  <a:pt x="734" y="1071"/>
                  <a:pt x="733" y="1064"/>
                  <a:pt x="734" y="1057"/>
                </a:cubicBezTo>
                <a:cubicBezTo>
                  <a:pt x="735" y="1048"/>
                  <a:pt x="740" y="1044"/>
                  <a:pt x="749" y="1045"/>
                </a:cubicBezTo>
                <a:cubicBezTo>
                  <a:pt x="752" y="1046"/>
                  <a:pt x="754" y="1047"/>
                  <a:pt x="756" y="1049"/>
                </a:cubicBezTo>
                <a:cubicBezTo>
                  <a:pt x="753" y="1045"/>
                  <a:pt x="752" y="1042"/>
                  <a:pt x="752" y="1040"/>
                </a:cubicBezTo>
                <a:cubicBezTo>
                  <a:pt x="752" y="1037"/>
                  <a:pt x="754" y="1036"/>
                  <a:pt x="758" y="1036"/>
                </a:cubicBezTo>
                <a:cubicBezTo>
                  <a:pt x="762" y="1035"/>
                  <a:pt x="764" y="1034"/>
                  <a:pt x="763" y="1032"/>
                </a:cubicBezTo>
                <a:cubicBezTo>
                  <a:pt x="761" y="1031"/>
                  <a:pt x="759" y="1030"/>
                  <a:pt x="757" y="1029"/>
                </a:cubicBezTo>
                <a:cubicBezTo>
                  <a:pt x="757" y="1028"/>
                  <a:pt x="758" y="1026"/>
                  <a:pt x="759" y="1023"/>
                </a:cubicBezTo>
                <a:cubicBezTo>
                  <a:pt x="759" y="1022"/>
                  <a:pt x="759" y="1021"/>
                  <a:pt x="759" y="1020"/>
                </a:cubicBezTo>
                <a:cubicBezTo>
                  <a:pt x="759" y="1019"/>
                  <a:pt x="759" y="1017"/>
                  <a:pt x="759" y="1014"/>
                </a:cubicBezTo>
                <a:cubicBezTo>
                  <a:pt x="759" y="1013"/>
                  <a:pt x="762" y="1011"/>
                  <a:pt x="767" y="1008"/>
                </a:cubicBezTo>
                <a:cubicBezTo>
                  <a:pt x="768" y="1008"/>
                  <a:pt x="769" y="1007"/>
                  <a:pt x="770" y="1007"/>
                </a:cubicBezTo>
                <a:cubicBezTo>
                  <a:pt x="770" y="1007"/>
                  <a:pt x="770" y="1007"/>
                  <a:pt x="770" y="1007"/>
                </a:cubicBezTo>
                <a:cubicBezTo>
                  <a:pt x="773" y="1006"/>
                  <a:pt x="776" y="1006"/>
                  <a:pt x="780" y="1005"/>
                </a:cubicBezTo>
                <a:cubicBezTo>
                  <a:pt x="786" y="1006"/>
                  <a:pt x="793" y="1014"/>
                  <a:pt x="800" y="1029"/>
                </a:cubicBezTo>
                <a:lnTo>
                  <a:pt x="800" y="1024"/>
                </a:lnTo>
                <a:cubicBezTo>
                  <a:pt x="799" y="1022"/>
                  <a:pt x="799" y="1020"/>
                  <a:pt x="799" y="1016"/>
                </a:cubicBezTo>
                <a:cubicBezTo>
                  <a:pt x="799" y="1011"/>
                  <a:pt x="799" y="1008"/>
                  <a:pt x="799" y="1008"/>
                </a:cubicBezTo>
                <a:lnTo>
                  <a:pt x="792" y="1007"/>
                </a:lnTo>
                <a:cubicBezTo>
                  <a:pt x="789" y="1007"/>
                  <a:pt x="787" y="1005"/>
                  <a:pt x="785" y="1003"/>
                </a:cubicBezTo>
                <a:cubicBezTo>
                  <a:pt x="784" y="1003"/>
                  <a:pt x="784" y="1003"/>
                  <a:pt x="784" y="1003"/>
                </a:cubicBezTo>
                <a:cubicBezTo>
                  <a:pt x="782" y="1000"/>
                  <a:pt x="782" y="998"/>
                  <a:pt x="782" y="996"/>
                </a:cubicBezTo>
                <a:cubicBezTo>
                  <a:pt x="782" y="993"/>
                  <a:pt x="783" y="991"/>
                  <a:pt x="784" y="990"/>
                </a:cubicBezTo>
                <a:cubicBezTo>
                  <a:pt x="784" y="990"/>
                  <a:pt x="786" y="988"/>
                  <a:pt x="789" y="986"/>
                </a:cubicBezTo>
                <a:lnTo>
                  <a:pt x="789" y="984"/>
                </a:lnTo>
                <a:lnTo>
                  <a:pt x="785" y="984"/>
                </a:lnTo>
                <a:cubicBezTo>
                  <a:pt x="782" y="986"/>
                  <a:pt x="779" y="987"/>
                  <a:pt x="777" y="987"/>
                </a:cubicBezTo>
                <a:cubicBezTo>
                  <a:pt x="776" y="987"/>
                  <a:pt x="775" y="987"/>
                  <a:pt x="774" y="986"/>
                </a:cubicBezTo>
                <a:cubicBezTo>
                  <a:pt x="772" y="984"/>
                  <a:pt x="771" y="984"/>
                  <a:pt x="769" y="984"/>
                </a:cubicBezTo>
                <a:lnTo>
                  <a:pt x="769" y="980"/>
                </a:lnTo>
                <a:cubicBezTo>
                  <a:pt x="773" y="976"/>
                  <a:pt x="778" y="973"/>
                  <a:pt x="784" y="972"/>
                </a:cubicBezTo>
                <a:cubicBezTo>
                  <a:pt x="786" y="972"/>
                  <a:pt x="788" y="972"/>
                  <a:pt x="790" y="972"/>
                </a:cubicBezTo>
                <a:cubicBezTo>
                  <a:pt x="792" y="973"/>
                  <a:pt x="794" y="972"/>
                  <a:pt x="796" y="971"/>
                </a:cubicBezTo>
                <a:cubicBezTo>
                  <a:pt x="797" y="970"/>
                  <a:pt x="799" y="968"/>
                  <a:pt x="802" y="966"/>
                </a:cubicBezTo>
                <a:cubicBezTo>
                  <a:pt x="804" y="965"/>
                  <a:pt x="805" y="964"/>
                  <a:pt x="807" y="963"/>
                </a:cubicBezTo>
                <a:cubicBezTo>
                  <a:pt x="811" y="961"/>
                  <a:pt x="817" y="960"/>
                  <a:pt x="823" y="960"/>
                </a:cubicBezTo>
                <a:cubicBezTo>
                  <a:pt x="827" y="961"/>
                  <a:pt x="829" y="961"/>
                  <a:pt x="831" y="962"/>
                </a:cubicBezTo>
                <a:cubicBezTo>
                  <a:pt x="832" y="963"/>
                  <a:pt x="832" y="965"/>
                  <a:pt x="832" y="967"/>
                </a:cubicBezTo>
                <a:cubicBezTo>
                  <a:pt x="831" y="969"/>
                  <a:pt x="830" y="971"/>
                  <a:pt x="830" y="972"/>
                </a:cubicBezTo>
                <a:cubicBezTo>
                  <a:pt x="831" y="973"/>
                  <a:pt x="831" y="974"/>
                  <a:pt x="831" y="975"/>
                </a:cubicBezTo>
                <a:cubicBezTo>
                  <a:pt x="834" y="973"/>
                  <a:pt x="837" y="972"/>
                  <a:pt x="840" y="972"/>
                </a:cubicBezTo>
                <a:cubicBezTo>
                  <a:pt x="842" y="972"/>
                  <a:pt x="845" y="974"/>
                  <a:pt x="851" y="978"/>
                </a:cubicBezTo>
                <a:lnTo>
                  <a:pt x="852" y="978"/>
                </a:lnTo>
                <a:cubicBezTo>
                  <a:pt x="851" y="975"/>
                  <a:pt x="850" y="974"/>
                  <a:pt x="849" y="973"/>
                </a:cubicBezTo>
                <a:cubicBezTo>
                  <a:pt x="848" y="971"/>
                  <a:pt x="848" y="970"/>
                  <a:pt x="848" y="968"/>
                </a:cubicBezTo>
                <a:cubicBezTo>
                  <a:pt x="848" y="968"/>
                  <a:pt x="848" y="968"/>
                  <a:pt x="848" y="967"/>
                </a:cubicBezTo>
                <a:cubicBezTo>
                  <a:pt x="847" y="967"/>
                  <a:pt x="846" y="967"/>
                  <a:pt x="846" y="967"/>
                </a:cubicBezTo>
                <a:cubicBezTo>
                  <a:pt x="844" y="967"/>
                  <a:pt x="843" y="967"/>
                  <a:pt x="842" y="968"/>
                </a:cubicBezTo>
                <a:cubicBezTo>
                  <a:pt x="841" y="969"/>
                  <a:pt x="839" y="969"/>
                  <a:pt x="837" y="969"/>
                </a:cubicBezTo>
                <a:lnTo>
                  <a:pt x="838" y="965"/>
                </a:lnTo>
                <a:cubicBezTo>
                  <a:pt x="839" y="965"/>
                  <a:pt x="840" y="963"/>
                  <a:pt x="841" y="960"/>
                </a:cubicBezTo>
                <a:cubicBezTo>
                  <a:pt x="843" y="957"/>
                  <a:pt x="844" y="956"/>
                  <a:pt x="847" y="956"/>
                </a:cubicBezTo>
                <a:lnTo>
                  <a:pt x="847" y="957"/>
                </a:lnTo>
                <a:cubicBezTo>
                  <a:pt x="847" y="960"/>
                  <a:pt x="849" y="962"/>
                  <a:pt x="851" y="963"/>
                </a:cubicBezTo>
                <a:cubicBezTo>
                  <a:pt x="854" y="961"/>
                  <a:pt x="857" y="958"/>
                  <a:pt x="861" y="954"/>
                </a:cubicBezTo>
                <a:cubicBezTo>
                  <a:pt x="867" y="948"/>
                  <a:pt x="871" y="944"/>
                  <a:pt x="873" y="942"/>
                </a:cubicBezTo>
                <a:lnTo>
                  <a:pt x="872" y="941"/>
                </a:lnTo>
                <a:cubicBezTo>
                  <a:pt x="872" y="941"/>
                  <a:pt x="868" y="944"/>
                  <a:pt x="860" y="951"/>
                </a:cubicBezTo>
                <a:cubicBezTo>
                  <a:pt x="856" y="954"/>
                  <a:pt x="852" y="956"/>
                  <a:pt x="848" y="955"/>
                </a:cubicBezTo>
                <a:cubicBezTo>
                  <a:pt x="848" y="955"/>
                  <a:pt x="847" y="955"/>
                  <a:pt x="847" y="955"/>
                </a:cubicBezTo>
                <a:cubicBezTo>
                  <a:pt x="842" y="954"/>
                  <a:pt x="838" y="953"/>
                  <a:pt x="838" y="953"/>
                </a:cubicBezTo>
                <a:cubicBezTo>
                  <a:pt x="830" y="952"/>
                  <a:pt x="822" y="954"/>
                  <a:pt x="812" y="957"/>
                </a:cubicBezTo>
                <a:cubicBezTo>
                  <a:pt x="810" y="959"/>
                  <a:pt x="807" y="959"/>
                  <a:pt x="806" y="960"/>
                </a:cubicBezTo>
                <a:cubicBezTo>
                  <a:pt x="801" y="962"/>
                  <a:pt x="798" y="963"/>
                  <a:pt x="797" y="963"/>
                </a:cubicBezTo>
                <a:cubicBezTo>
                  <a:pt x="796" y="963"/>
                  <a:pt x="795" y="963"/>
                  <a:pt x="793" y="961"/>
                </a:cubicBezTo>
                <a:cubicBezTo>
                  <a:pt x="793" y="961"/>
                  <a:pt x="793" y="961"/>
                  <a:pt x="793" y="961"/>
                </a:cubicBezTo>
                <a:cubicBezTo>
                  <a:pt x="795" y="956"/>
                  <a:pt x="800" y="952"/>
                  <a:pt x="806" y="950"/>
                </a:cubicBezTo>
                <a:cubicBezTo>
                  <a:pt x="809" y="948"/>
                  <a:pt x="815" y="946"/>
                  <a:pt x="823" y="944"/>
                </a:cubicBezTo>
                <a:cubicBezTo>
                  <a:pt x="823" y="943"/>
                  <a:pt x="822" y="943"/>
                  <a:pt x="821" y="943"/>
                </a:cubicBezTo>
                <a:cubicBezTo>
                  <a:pt x="811" y="943"/>
                  <a:pt x="805" y="944"/>
                  <a:pt x="801" y="943"/>
                </a:cubicBezTo>
                <a:cubicBezTo>
                  <a:pt x="800" y="943"/>
                  <a:pt x="800" y="943"/>
                  <a:pt x="799" y="943"/>
                </a:cubicBezTo>
                <a:cubicBezTo>
                  <a:pt x="798" y="943"/>
                  <a:pt x="797" y="942"/>
                  <a:pt x="796" y="942"/>
                </a:cubicBezTo>
                <a:cubicBezTo>
                  <a:pt x="794" y="940"/>
                  <a:pt x="792" y="937"/>
                  <a:pt x="791" y="933"/>
                </a:cubicBezTo>
                <a:lnTo>
                  <a:pt x="792" y="930"/>
                </a:lnTo>
                <a:cubicBezTo>
                  <a:pt x="792" y="929"/>
                  <a:pt x="792" y="929"/>
                  <a:pt x="792" y="929"/>
                </a:cubicBezTo>
                <a:cubicBezTo>
                  <a:pt x="792" y="926"/>
                  <a:pt x="793" y="923"/>
                  <a:pt x="795" y="921"/>
                </a:cubicBezTo>
                <a:cubicBezTo>
                  <a:pt x="796" y="922"/>
                  <a:pt x="797" y="923"/>
                  <a:pt x="797" y="924"/>
                </a:cubicBezTo>
                <a:cubicBezTo>
                  <a:pt x="796" y="926"/>
                  <a:pt x="797" y="927"/>
                  <a:pt x="797" y="927"/>
                </a:cubicBezTo>
                <a:cubicBezTo>
                  <a:pt x="798" y="927"/>
                  <a:pt x="800" y="925"/>
                  <a:pt x="802" y="922"/>
                </a:cubicBezTo>
                <a:cubicBezTo>
                  <a:pt x="803" y="920"/>
                  <a:pt x="800" y="913"/>
                  <a:pt x="795" y="902"/>
                </a:cubicBezTo>
                <a:cubicBezTo>
                  <a:pt x="795" y="901"/>
                  <a:pt x="795" y="900"/>
                  <a:pt x="797" y="899"/>
                </a:cubicBezTo>
                <a:cubicBezTo>
                  <a:pt x="798" y="899"/>
                  <a:pt x="799" y="898"/>
                  <a:pt x="800" y="898"/>
                </a:cubicBezTo>
                <a:cubicBezTo>
                  <a:pt x="802" y="898"/>
                  <a:pt x="804" y="901"/>
                  <a:pt x="807" y="905"/>
                </a:cubicBezTo>
                <a:cubicBezTo>
                  <a:pt x="810" y="909"/>
                  <a:pt x="812" y="912"/>
                  <a:pt x="813" y="913"/>
                </a:cubicBezTo>
                <a:lnTo>
                  <a:pt x="816" y="914"/>
                </a:lnTo>
                <a:cubicBezTo>
                  <a:pt x="816" y="913"/>
                  <a:pt x="816" y="912"/>
                  <a:pt x="814" y="909"/>
                </a:cubicBezTo>
                <a:cubicBezTo>
                  <a:pt x="812" y="907"/>
                  <a:pt x="812" y="905"/>
                  <a:pt x="812" y="904"/>
                </a:cubicBezTo>
                <a:cubicBezTo>
                  <a:pt x="812" y="903"/>
                  <a:pt x="813" y="902"/>
                  <a:pt x="816" y="901"/>
                </a:cubicBezTo>
                <a:cubicBezTo>
                  <a:pt x="817" y="901"/>
                  <a:pt x="817" y="901"/>
                  <a:pt x="818" y="901"/>
                </a:cubicBezTo>
                <a:cubicBezTo>
                  <a:pt x="821" y="900"/>
                  <a:pt x="824" y="900"/>
                  <a:pt x="827" y="900"/>
                </a:cubicBezTo>
                <a:cubicBezTo>
                  <a:pt x="828" y="900"/>
                  <a:pt x="829" y="901"/>
                  <a:pt x="832" y="903"/>
                </a:cubicBezTo>
                <a:cubicBezTo>
                  <a:pt x="835" y="904"/>
                  <a:pt x="836" y="905"/>
                  <a:pt x="837" y="906"/>
                </a:cubicBezTo>
                <a:lnTo>
                  <a:pt x="841" y="906"/>
                </a:lnTo>
                <a:cubicBezTo>
                  <a:pt x="841" y="905"/>
                  <a:pt x="839" y="904"/>
                  <a:pt x="836" y="902"/>
                </a:cubicBezTo>
                <a:cubicBezTo>
                  <a:pt x="834" y="900"/>
                  <a:pt x="833" y="899"/>
                  <a:pt x="834" y="897"/>
                </a:cubicBezTo>
                <a:cubicBezTo>
                  <a:pt x="837" y="894"/>
                  <a:pt x="839" y="892"/>
                  <a:pt x="839" y="892"/>
                </a:cubicBezTo>
                <a:cubicBezTo>
                  <a:pt x="838" y="890"/>
                  <a:pt x="836" y="889"/>
                  <a:pt x="835" y="889"/>
                </a:cubicBezTo>
                <a:cubicBezTo>
                  <a:pt x="834" y="889"/>
                  <a:pt x="832" y="890"/>
                  <a:pt x="827" y="893"/>
                </a:cubicBezTo>
                <a:cubicBezTo>
                  <a:pt x="822" y="895"/>
                  <a:pt x="818" y="897"/>
                  <a:pt x="815" y="896"/>
                </a:cubicBezTo>
                <a:cubicBezTo>
                  <a:pt x="814" y="896"/>
                  <a:pt x="813" y="895"/>
                  <a:pt x="812" y="893"/>
                </a:cubicBezTo>
                <a:cubicBezTo>
                  <a:pt x="810" y="891"/>
                  <a:pt x="809" y="889"/>
                  <a:pt x="809" y="889"/>
                </a:cubicBezTo>
                <a:cubicBezTo>
                  <a:pt x="810" y="886"/>
                  <a:pt x="812" y="883"/>
                  <a:pt x="817" y="880"/>
                </a:cubicBezTo>
                <a:cubicBezTo>
                  <a:pt x="822" y="878"/>
                  <a:pt x="825" y="877"/>
                  <a:pt x="827" y="878"/>
                </a:cubicBezTo>
                <a:cubicBezTo>
                  <a:pt x="824" y="877"/>
                  <a:pt x="822" y="875"/>
                  <a:pt x="820" y="874"/>
                </a:cubicBezTo>
                <a:cubicBezTo>
                  <a:pt x="817" y="872"/>
                  <a:pt x="815" y="870"/>
                  <a:pt x="815" y="867"/>
                </a:cubicBezTo>
                <a:cubicBezTo>
                  <a:pt x="816" y="867"/>
                  <a:pt x="818" y="867"/>
                  <a:pt x="822" y="866"/>
                </a:cubicBezTo>
                <a:cubicBezTo>
                  <a:pt x="822" y="866"/>
                  <a:pt x="823" y="866"/>
                  <a:pt x="823" y="866"/>
                </a:cubicBezTo>
                <a:cubicBezTo>
                  <a:pt x="826" y="865"/>
                  <a:pt x="828" y="865"/>
                  <a:pt x="830" y="865"/>
                </a:cubicBezTo>
                <a:cubicBezTo>
                  <a:pt x="832" y="866"/>
                  <a:pt x="834" y="866"/>
                  <a:pt x="836" y="868"/>
                </a:cubicBezTo>
                <a:cubicBezTo>
                  <a:pt x="838" y="870"/>
                  <a:pt x="840" y="871"/>
                  <a:pt x="842" y="871"/>
                </a:cubicBezTo>
                <a:cubicBezTo>
                  <a:pt x="843" y="871"/>
                  <a:pt x="844" y="871"/>
                  <a:pt x="846" y="870"/>
                </a:cubicBezTo>
                <a:cubicBezTo>
                  <a:pt x="849" y="869"/>
                  <a:pt x="851" y="868"/>
                  <a:pt x="852" y="868"/>
                </a:cubicBezTo>
                <a:cubicBezTo>
                  <a:pt x="846" y="868"/>
                  <a:pt x="841" y="867"/>
                  <a:pt x="838" y="866"/>
                </a:cubicBezTo>
                <a:cubicBezTo>
                  <a:pt x="837" y="863"/>
                  <a:pt x="836" y="860"/>
                  <a:pt x="834" y="857"/>
                </a:cubicBezTo>
                <a:cubicBezTo>
                  <a:pt x="834" y="856"/>
                  <a:pt x="834" y="855"/>
                  <a:pt x="835" y="854"/>
                </a:cubicBezTo>
                <a:cubicBezTo>
                  <a:pt x="837" y="852"/>
                  <a:pt x="840" y="850"/>
                  <a:pt x="844" y="851"/>
                </a:cubicBezTo>
                <a:cubicBezTo>
                  <a:pt x="854" y="852"/>
                  <a:pt x="861" y="853"/>
                  <a:pt x="863" y="855"/>
                </a:cubicBezTo>
                <a:lnTo>
                  <a:pt x="864" y="854"/>
                </a:lnTo>
                <a:cubicBezTo>
                  <a:pt x="850" y="849"/>
                  <a:pt x="841" y="844"/>
                  <a:pt x="837" y="839"/>
                </a:cubicBezTo>
                <a:cubicBezTo>
                  <a:pt x="836" y="837"/>
                  <a:pt x="835" y="835"/>
                  <a:pt x="835" y="833"/>
                </a:cubicBezTo>
                <a:cubicBezTo>
                  <a:pt x="836" y="828"/>
                  <a:pt x="839" y="826"/>
                  <a:pt x="843" y="827"/>
                </a:cubicBezTo>
                <a:cubicBezTo>
                  <a:pt x="845" y="827"/>
                  <a:pt x="848" y="828"/>
                  <a:pt x="851" y="829"/>
                </a:cubicBezTo>
                <a:cubicBezTo>
                  <a:pt x="851" y="828"/>
                  <a:pt x="851" y="827"/>
                  <a:pt x="851" y="826"/>
                </a:cubicBezTo>
                <a:cubicBezTo>
                  <a:pt x="851" y="824"/>
                  <a:pt x="852" y="822"/>
                  <a:pt x="853" y="821"/>
                </a:cubicBezTo>
                <a:cubicBezTo>
                  <a:pt x="854" y="819"/>
                  <a:pt x="855" y="818"/>
                  <a:pt x="857" y="818"/>
                </a:cubicBezTo>
                <a:cubicBezTo>
                  <a:pt x="857" y="818"/>
                  <a:pt x="860" y="820"/>
                  <a:pt x="867" y="823"/>
                </a:cubicBezTo>
                <a:cubicBezTo>
                  <a:pt x="868" y="823"/>
                  <a:pt x="869" y="822"/>
                  <a:pt x="871" y="821"/>
                </a:cubicBezTo>
                <a:cubicBezTo>
                  <a:pt x="869" y="819"/>
                  <a:pt x="869" y="818"/>
                  <a:pt x="869" y="817"/>
                </a:cubicBezTo>
                <a:cubicBezTo>
                  <a:pt x="869" y="816"/>
                  <a:pt x="869" y="814"/>
                  <a:pt x="870" y="813"/>
                </a:cubicBezTo>
                <a:cubicBezTo>
                  <a:pt x="871" y="813"/>
                  <a:pt x="873" y="814"/>
                  <a:pt x="877" y="816"/>
                </a:cubicBezTo>
                <a:cubicBezTo>
                  <a:pt x="880" y="818"/>
                  <a:pt x="883" y="820"/>
                  <a:pt x="884" y="820"/>
                </a:cubicBezTo>
                <a:cubicBezTo>
                  <a:pt x="886" y="820"/>
                  <a:pt x="887" y="819"/>
                  <a:pt x="888" y="817"/>
                </a:cubicBezTo>
                <a:cubicBezTo>
                  <a:pt x="888" y="816"/>
                  <a:pt x="887" y="814"/>
                  <a:pt x="886" y="810"/>
                </a:cubicBezTo>
                <a:cubicBezTo>
                  <a:pt x="887" y="808"/>
                  <a:pt x="889" y="806"/>
                  <a:pt x="893" y="806"/>
                </a:cubicBezTo>
                <a:cubicBezTo>
                  <a:pt x="897" y="806"/>
                  <a:pt x="899" y="806"/>
                  <a:pt x="901" y="807"/>
                </a:cubicBezTo>
                <a:lnTo>
                  <a:pt x="908" y="808"/>
                </a:lnTo>
                <a:lnTo>
                  <a:pt x="908" y="807"/>
                </a:lnTo>
                <a:cubicBezTo>
                  <a:pt x="902" y="804"/>
                  <a:pt x="898" y="803"/>
                  <a:pt x="896" y="802"/>
                </a:cubicBezTo>
                <a:cubicBezTo>
                  <a:pt x="894" y="801"/>
                  <a:pt x="893" y="799"/>
                  <a:pt x="892" y="797"/>
                </a:cubicBezTo>
                <a:cubicBezTo>
                  <a:pt x="891" y="800"/>
                  <a:pt x="887" y="804"/>
                  <a:pt x="882" y="808"/>
                </a:cubicBezTo>
                <a:cubicBezTo>
                  <a:pt x="881" y="807"/>
                  <a:pt x="880" y="805"/>
                  <a:pt x="876" y="803"/>
                </a:cubicBezTo>
                <a:cubicBezTo>
                  <a:pt x="873" y="801"/>
                  <a:pt x="872" y="799"/>
                  <a:pt x="872" y="799"/>
                </a:cubicBezTo>
                <a:cubicBezTo>
                  <a:pt x="873" y="790"/>
                  <a:pt x="876" y="787"/>
                  <a:pt x="882" y="787"/>
                </a:cubicBezTo>
                <a:cubicBezTo>
                  <a:pt x="882" y="787"/>
                  <a:pt x="883" y="787"/>
                  <a:pt x="883" y="788"/>
                </a:cubicBezTo>
                <a:cubicBezTo>
                  <a:pt x="885" y="788"/>
                  <a:pt x="888" y="792"/>
                  <a:pt x="892" y="797"/>
                </a:cubicBezTo>
                <a:cubicBezTo>
                  <a:pt x="892" y="795"/>
                  <a:pt x="892" y="794"/>
                  <a:pt x="892" y="793"/>
                </a:cubicBezTo>
                <a:cubicBezTo>
                  <a:pt x="892" y="791"/>
                  <a:pt x="893" y="787"/>
                  <a:pt x="895" y="782"/>
                </a:cubicBezTo>
                <a:lnTo>
                  <a:pt x="897" y="782"/>
                </a:lnTo>
                <a:cubicBezTo>
                  <a:pt x="899" y="782"/>
                  <a:pt x="902" y="784"/>
                  <a:pt x="905" y="785"/>
                </a:cubicBezTo>
                <a:cubicBezTo>
                  <a:pt x="908" y="786"/>
                  <a:pt x="911" y="785"/>
                  <a:pt x="914" y="782"/>
                </a:cubicBezTo>
                <a:cubicBezTo>
                  <a:pt x="917" y="780"/>
                  <a:pt x="919" y="779"/>
                  <a:pt x="921" y="779"/>
                </a:cubicBezTo>
                <a:lnTo>
                  <a:pt x="938" y="780"/>
                </a:lnTo>
                <a:cubicBezTo>
                  <a:pt x="939" y="786"/>
                  <a:pt x="939" y="791"/>
                  <a:pt x="941" y="795"/>
                </a:cubicBezTo>
                <a:cubicBezTo>
                  <a:pt x="941" y="793"/>
                  <a:pt x="941" y="791"/>
                  <a:pt x="940" y="788"/>
                </a:cubicBezTo>
                <a:cubicBezTo>
                  <a:pt x="941" y="785"/>
                  <a:pt x="942" y="784"/>
                  <a:pt x="943" y="783"/>
                </a:cubicBezTo>
                <a:cubicBezTo>
                  <a:pt x="944" y="783"/>
                  <a:pt x="946" y="783"/>
                  <a:pt x="950" y="783"/>
                </a:cubicBezTo>
                <a:cubicBezTo>
                  <a:pt x="964" y="784"/>
                  <a:pt x="973" y="789"/>
                  <a:pt x="975" y="796"/>
                </a:cubicBezTo>
                <a:cubicBezTo>
                  <a:pt x="975" y="793"/>
                  <a:pt x="975" y="789"/>
                  <a:pt x="975" y="785"/>
                </a:cubicBezTo>
                <a:cubicBezTo>
                  <a:pt x="975" y="785"/>
                  <a:pt x="974" y="785"/>
                  <a:pt x="974" y="784"/>
                </a:cubicBezTo>
                <a:cubicBezTo>
                  <a:pt x="977" y="782"/>
                  <a:pt x="980" y="781"/>
                  <a:pt x="982" y="781"/>
                </a:cubicBezTo>
                <a:cubicBezTo>
                  <a:pt x="991" y="781"/>
                  <a:pt x="996" y="781"/>
                  <a:pt x="997" y="781"/>
                </a:cubicBezTo>
                <a:lnTo>
                  <a:pt x="997" y="780"/>
                </a:lnTo>
                <a:cubicBezTo>
                  <a:pt x="993" y="778"/>
                  <a:pt x="988" y="777"/>
                  <a:pt x="981" y="777"/>
                </a:cubicBezTo>
                <a:cubicBezTo>
                  <a:pt x="973" y="776"/>
                  <a:pt x="968" y="776"/>
                  <a:pt x="964" y="776"/>
                </a:cubicBezTo>
                <a:cubicBezTo>
                  <a:pt x="951" y="774"/>
                  <a:pt x="945" y="770"/>
                  <a:pt x="945" y="762"/>
                </a:cubicBezTo>
                <a:lnTo>
                  <a:pt x="944" y="761"/>
                </a:lnTo>
                <a:cubicBezTo>
                  <a:pt x="943" y="761"/>
                  <a:pt x="940" y="764"/>
                  <a:pt x="934" y="768"/>
                </a:cubicBezTo>
                <a:cubicBezTo>
                  <a:pt x="931" y="770"/>
                  <a:pt x="927" y="772"/>
                  <a:pt x="923" y="772"/>
                </a:cubicBezTo>
                <a:cubicBezTo>
                  <a:pt x="923" y="770"/>
                  <a:pt x="923" y="767"/>
                  <a:pt x="922" y="766"/>
                </a:cubicBezTo>
                <a:cubicBezTo>
                  <a:pt x="922" y="765"/>
                  <a:pt x="921" y="765"/>
                  <a:pt x="919" y="765"/>
                </a:cubicBezTo>
                <a:cubicBezTo>
                  <a:pt x="917" y="765"/>
                  <a:pt x="913" y="765"/>
                  <a:pt x="907" y="766"/>
                </a:cubicBezTo>
                <a:cubicBezTo>
                  <a:pt x="902" y="768"/>
                  <a:pt x="898" y="768"/>
                  <a:pt x="896" y="768"/>
                </a:cubicBezTo>
                <a:cubicBezTo>
                  <a:pt x="895" y="767"/>
                  <a:pt x="895" y="766"/>
                  <a:pt x="895" y="765"/>
                </a:cubicBezTo>
                <a:cubicBezTo>
                  <a:pt x="895" y="764"/>
                  <a:pt x="898" y="762"/>
                  <a:pt x="903" y="759"/>
                </a:cubicBezTo>
                <a:cubicBezTo>
                  <a:pt x="909" y="755"/>
                  <a:pt x="913" y="753"/>
                  <a:pt x="913" y="751"/>
                </a:cubicBezTo>
                <a:cubicBezTo>
                  <a:pt x="914" y="751"/>
                  <a:pt x="914" y="748"/>
                  <a:pt x="915" y="744"/>
                </a:cubicBezTo>
                <a:cubicBezTo>
                  <a:pt x="915" y="741"/>
                  <a:pt x="916" y="739"/>
                  <a:pt x="919" y="739"/>
                </a:cubicBezTo>
                <a:cubicBezTo>
                  <a:pt x="921" y="739"/>
                  <a:pt x="926" y="739"/>
                  <a:pt x="932" y="739"/>
                </a:cubicBezTo>
                <a:cubicBezTo>
                  <a:pt x="933" y="742"/>
                  <a:pt x="933" y="746"/>
                  <a:pt x="933" y="748"/>
                </a:cubicBezTo>
                <a:cubicBezTo>
                  <a:pt x="935" y="747"/>
                  <a:pt x="937" y="744"/>
                  <a:pt x="939" y="737"/>
                </a:cubicBezTo>
                <a:cubicBezTo>
                  <a:pt x="936" y="736"/>
                  <a:pt x="934" y="735"/>
                  <a:pt x="931" y="734"/>
                </a:cubicBezTo>
                <a:cubicBezTo>
                  <a:pt x="928" y="733"/>
                  <a:pt x="926" y="730"/>
                  <a:pt x="926" y="727"/>
                </a:cubicBezTo>
                <a:cubicBezTo>
                  <a:pt x="926" y="725"/>
                  <a:pt x="929" y="722"/>
                  <a:pt x="935" y="718"/>
                </a:cubicBezTo>
                <a:cubicBezTo>
                  <a:pt x="940" y="713"/>
                  <a:pt x="944" y="711"/>
                  <a:pt x="947" y="711"/>
                </a:cubicBezTo>
                <a:cubicBezTo>
                  <a:pt x="950" y="712"/>
                  <a:pt x="952" y="713"/>
                  <a:pt x="953" y="716"/>
                </a:cubicBezTo>
                <a:cubicBezTo>
                  <a:pt x="951" y="716"/>
                  <a:pt x="949" y="718"/>
                  <a:pt x="945" y="722"/>
                </a:cubicBezTo>
                <a:cubicBezTo>
                  <a:pt x="942" y="725"/>
                  <a:pt x="941" y="728"/>
                  <a:pt x="939" y="729"/>
                </a:cubicBezTo>
                <a:cubicBezTo>
                  <a:pt x="940" y="729"/>
                  <a:pt x="943" y="728"/>
                  <a:pt x="946" y="726"/>
                </a:cubicBezTo>
                <a:cubicBezTo>
                  <a:pt x="950" y="725"/>
                  <a:pt x="952" y="724"/>
                  <a:pt x="955" y="723"/>
                </a:cubicBezTo>
                <a:cubicBezTo>
                  <a:pt x="955" y="725"/>
                  <a:pt x="956" y="727"/>
                  <a:pt x="956" y="728"/>
                </a:cubicBezTo>
                <a:cubicBezTo>
                  <a:pt x="955" y="729"/>
                  <a:pt x="954" y="730"/>
                  <a:pt x="954" y="731"/>
                </a:cubicBezTo>
                <a:cubicBezTo>
                  <a:pt x="954" y="736"/>
                  <a:pt x="954" y="739"/>
                  <a:pt x="954" y="741"/>
                </a:cubicBezTo>
                <a:cubicBezTo>
                  <a:pt x="954" y="740"/>
                  <a:pt x="955" y="738"/>
                  <a:pt x="957" y="733"/>
                </a:cubicBezTo>
                <a:cubicBezTo>
                  <a:pt x="959" y="730"/>
                  <a:pt x="961" y="728"/>
                  <a:pt x="963" y="728"/>
                </a:cubicBezTo>
                <a:lnTo>
                  <a:pt x="974" y="729"/>
                </a:lnTo>
                <a:cubicBezTo>
                  <a:pt x="974" y="730"/>
                  <a:pt x="976" y="733"/>
                  <a:pt x="979" y="738"/>
                </a:cubicBezTo>
                <a:cubicBezTo>
                  <a:pt x="982" y="744"/>
                  <a:pt x="985" y="747"/>
                  <a:pt x="988" y="748"/>
                </a:cubicBezTo>
                <a:cubicBezTo>
                  <a:pt x="988" y="748"/>
                  <a:pt x="989" y="747"/>
                  <a:pt x="991" y="746"/>
                </a:cubicBezTo>
                <a:cubicBezTo>
                  <a:pt x="992" y="745"/>
                  <a:pt x="993" y="744"/>
                  <a:pt x="994" y="744"/>
                </a:cubicBezTo>
                <a:lnTo>
                  <a:pt x="995" y="744"/>
                </a:lnTo>
                <a:cubicBezTo>
                  <a:pt x="992" y="743"/>
                  <a:pt x="990" y="741"/>
                  <a:pt x="989" y="740"/>
                </a:cubicBezTo>
                <a:cubicBezTo>
                  <a:pt x="985" y="738"/>
                  <a:pt x="984" y="736"/>
                  <a:pt x="984" y="733"/>
                </a:cubicBezTo>
                <a:cubicBezTo>
                  <a:pt x="985" y="728"/>
                  <a:pt x="987" y="724"/>
                  <a:pt x="989" y="722"/>
                </a:cubicBezTo>
                <a:cubicBezTo>
                  <a:pt x="995" y="719"/>
                  <a:pt x="998" y="717"/>
                  <a:pt x="1000" y="715"/>
                </a:cubicBezTo>
                <a:lnTo>
                  <a:pt x="1000" y="714"/>
                </a:lnTo>
                <a:cubicBezTo>
                  <a:pt x="998" y="714"/>
                  <a:pt x="994" y="716"/>
                  <a:pt x="988" y="720"/>
                </a:cubicBezTo>
                <a:cubicBezTo>
                  <a:pt x="982" y="723"/>
                  <a:pt x="977" y="724"/>
                  <a:pt x="974" y="724"/>
                </a:cubicBezTo>
                <a:cubicBezTo>
                  <a:pt x="970" y="723"/>
                  <a:pt x="964" y="721"/>
                  <a:pt x="957" y="718"/>
                </a:cubicBezTo>
                <a:cubicBezTo>
                  <a:pt x="957" y="717"/>
                  <a:pt x="957" y="717"/>
                  <a:pt x="957" y="717"/>
                </a:cubicBezTo>
                <a:cubicBezTo>
                  <a:pt x="957" y="714"/>
                  <a:pt x="958" y="712"/>
                  <a:pt x="961" y="711"/>
                </a:cubicBezTo>
                <a:cubicBezTo>
                  <a:pt x="964" y="709"/>
                  <a:pt x="967" y="710"/>
                  <a:pt x="970" y="711"/>
                </a:cubicBezTo>
                <a:lnTo>
                  <a:pt x="970" y="711"/>
                </a:lnTo>
                <a:cubicBezTo>
                  <a:pt x="968" y="709"/>
                  <a:pt x="966" y="708"/>
                  <a:pt x="965" y="707"/>
                </a:cubicBezTo>
                <a:cubicBezTo>
                  <a:pt x="962" y="704"/>
                  <a:pt x="961" y="702"/>
                  <a:pt x="961" y="700"/>
                </a:cubicBezTo>
                <a:cubicBezTo>
                  <a:pt x="968" y="694"/>
                  <a:pt x="972" y="692"/>
                  <a:pt x="972" y="692"/>
                </a:cubicBezTo>
                <a:cubicBezTo>
                  <a:pt x="975" y="692"/>
                  <a:pt x="978" y="693"/>
                  <a:pt x="981" y="694"/>
                </a:cubicBezTo>
                <a:lnTo>
                  <a:pt x="988" y="695"/>
                </a:lnTo>
                <a:lnTo>
                  <a:pt x="988" y="694"/>
                </a:lnTo>
                <a:cubicBezTo>
                  <a:pt x="988" y="693"/>
                  <a:pt x="986" y="691"/>
                  <a:pt x="983" y="690"/>
                </a:cubicBezTo>
                <a:cubicBezTo>
                  <a:pt x="982" y="688"/>
                  <a:pt x="981" y="686"/>
                  <a:pt x="981" y="685"/>
                </a:cubicBezTo>
                <a:cubicBezTo>
                  <a:pt x="981" y="683"/>
                  <a:pt x="983" y="682"/>
                  <a:pt x="988" y="683"/>
                </a:cubicBezTo>
                <a:cubicBezTo>
                  <a:pt x="992" y="683"/>
                  <a:pt x="997" y="686"/>
                  <a:pt x="1005" y="693"/>
                </a:cubicBezTo>
                <a:cubicBezTo>
                  <a:pt x="1005" y="692"/>
                  <a:pt x="1005" y="691"/>
                  <a:pt x="1006" y="690"/>
                </a:cubicBezTo>
                <a:cubicBezTo>
                  <a:pt x="1006" y="688"/>
                  <a:pt x="1004" y="685"/>
                  <a:pt x="1000" y="682"/>
                </a:cubicBezTo>
                <a:cubicBezTo>
                  <a:pt x="995" y="679"/>
                  <a:pt x="992" y="677"/>
                  <a:pt x="989" y="677"/>
                </a:cubicBezTo>
                <a:cubicBezTo>
                  <a:pt x="985" y="678"/>
                  <a:pt x="983" y="679"/>
                  <a:pt x="983" y="678"/>
                </a:cubicBezTo>
                <a:cubicBezTo>
                  <a:pt x="981" y="678"/>
                  <a:pt x="980" y="677"/>
                  <a:pt x="978" y="675"/>
                </a:cubicBezTo>
                <a:cubicBezTo>
                  <a:pt x="977" y="673"/>
                  <a:pt x="976" y="671"/>
                  <a:pt x="976" y="670"/>
                </a:cubicBezTo>
                <a:cubicBezTo>
                  <a:pt x="965" y="683"/>
                  <a:pt x="953" y="692"/>
                  <a:pt x="939" y="697"/>
                </a:cubicBezTo>
                <a:cubicBezTo>
                  <a:pt x="939" y="695"/>
                  <a:pt x="939" y="693"/>
                  <a:pt x="937" y="690"/>
                </a:cubicBezTo>
                <a:cubicBezTo>
                  <a:pt x="938" y="689"/>
                  <a:pt x="940" y="687"/>
                  <a:pt x="944" y="685"/>
                </a:cubicBezTo>
                <a:cubicBezTo>
                  <a:pt x="948" y="682"/>
                  <a:pt x="950" y="681"/>
                  <a:pt x="951" y="679"/>
                </a:cubicBezTo>
                <a:lnTo>
                  <a:pt x="951" y="678"/>
                </a:lnTo>
                <a:cubicBezTo>
                  <a:pt x="945" y="677"/>
                  <a:pt x="942" y="676"/>
                  <a:pt x="939" y="675"/>
                </a:cubicBezTo>
                <a:cubicBezTo>
                  <a:pt x="935" y="673"/>
                  <a:pt x="934" y="670"/>
                  <a:pt x="934" y="666"/>
                </a:cubicBezTo>
                <a:cubicBezTo>
                  <a:pt x="934" y="664"/>
                  <a:pt x="936" y="663"/>
                  <a:pt x="940" y="662"/>
                </a:cubicBezTo>
                <a:cubicBezTo>
                  <a:pt x="944" y="661"/>
                  <a:pt x="947" y="661"/>
                  <a:pt x="949" y="662"/>
                </a:cubicBezTo>
                <a:cubicBezTo>
                  <a:pt x="948" y="660"/>
                  <a:pt x="947" y="658"/>
                  <a:pt x="946" y="657"/>
                </a:cubicBezTo>
                <a:cubicBezTo>
                  <a:pt x="944" y="656"/>
                  <a:pt x="943" y="655"/>
                  <a:pt x="943" y="654"/>
                </a:cubicBezTo>
                <a:cubicBezTo>
                  <a:pt x="944" y="654"/>
                  <a:pt x="946" y="653"/>
                  <a:pt x="948" y="652"/>
                </a:cubicBezTo>
                <a:cubicBezTo>
                  <a:pt x="950" y="652"/>
                  <a:pt x="952" y="652"/>
                  <a:pt x="953" y="652"/>
                </a:cubicBezTo>
                <a:cubicBezTo>
                  <a:pt x="954" y="652"/>
                  <a:pt x="954" y="652"/>
                  <a:pt x="955" y="652"/>
                </a:cubicBezTo>
                <a:cubicBezTo>
                  <a:pt x="957" y="652"/>
                  <a:pt x="959" y="654"/>
                  <a:pt x="961" y="659"/>
                </a:cubicBezTo>
                <a:cubicBezTo>
                  <a:pt x="964" y="655"/>
                  <a:pt x="968" y="653"/>
                  <a:pt x="973" y="652"/>
                </a:cubicBezTo>
                <a:cubicBezTo>
                  <a:pt x="981" y="651"/>
                  <a:pt x="986" y="650"/>
                  <a:pt x="988" y="648"/>
                </a:cubicBezTo>
                <a:cubicBezTo>
                  <a:pt x="990" y="648"/>
                  <a:pt x="991" y="646"/>
                  <a:pt x="993" y="643"/>
                </a:cubicBezTo>
                <a:cubicBezTo>
                  <a:pt x="995" y="641"/>
                  <a:pt x="996" y="640"/>
                  <a:pt x="999" y="640"/>
                </a:cubicBezTo>
                <a:cubicBezTo>
                  <a:pt x="999" y="640"/>
                  <a:pt x="1002" y="640"/>
                  <a:pt x="1007" y="640"/>
                </a:cubicBezTo>
                <a:cubicBezTo>
                  <a:pt x="1012" y="640"/>
                  <a:pt x="1015" y="639"/>
                  <a:pt x="1015" y="637"/>
                </a:cubicBezTo>
                <a:cubicBezTo>
                  <a:pt x="1015" y="636"/>
                  <a:pt x="1014" y="634"/>
                  <a:pt x="1012" y="633"/>
                </a:cubicBezTo>
                <a:cubicBezTo>
                  <a:pt x="1010" y="631"/>
                  <a:pt x="1009" y="630"/>
                  <a:pt x="1008" y="630"/>
                </a:cubicBezTo>
                <a:cubicBezTo>
                  <a:pt x="1006" y="630"/>
                  <a:pt x="1005" y="630"/>
                  <a:pt x="1003" y="631"/>
                </a:cubicBezTo>
                <a:cubicBezTo>
                  <a:pt x="1000" y="632"/>
                  <a:pt x="999" y="632"/>
                  <a:pt x="998" y="632"/>
                </a:cubicBezTo>
                <a:cubicBezTo>
                  <a:pt x="986" y="625"/>
                  <a:pt x="980" y="621"/>
                  <a:pt x="980" y="621"/>
                </a:cubicBezTo>
                <a:cubicBezTo>
                  <a:pt x="978" y="624"/>
                  <a:pt x="977" y="627"/>
                  <a:pt x="976" y="628"/>
                </a:cubicBezTo>
                <a:cubicBezTo>
                  <a:pt x="975" y="630"/>
                  <a:pt x="974" y="631"/>
                  <a:pt x="972" y="631"/>
                </a:cubicBezTo>
                <a:cubicBezTo>
                  <a:pt x="971" y="630"/>
                  <a:pt x="970" y="629"/>
                  <a:pt x="969" y="628"/>
                </a:cubicBezTo>
                <a:cubicBezTo>
                  <a:pt x="968" y="626"/>
                  <a:pt x="966" y="624"/>
                  <a:pt x="967" y="623"/>
                </a:cubicBezTo>
                <a:cubicBezTo>
                  <a:pt x="967" y="622"/>
                  <a:pt x="970" y="619"/>
                  <a:pt x="975" y="614"/>
                </a:cubicBezTo>
                <a:cubicBezTo>
                  <a:pt x="978" y="612"/>
                  <a:pt x="981" y="609"/>
                  <a:pt x="983" y="607"/>
                </a:cubicBezTo>
                <a:cubicBezTo>
                  <a:pt x="986" y="608"/>
                  <a:pt x="988" y="610"/>
                  <a:pt x="992" y="614"/>
                </a:cubicBezTo>
                <a:cubicBezTo>
                  <a:pt x="992" y="614"/>
                  <a:pt x="991" y="615"/>
                  <a:pt x="988" y="618"/>
                </a:cubicBezTo>
                <a:lnTo>
                  <a:pt x="988" y="619"/>
                </a:lnTo>
                <a:cubicBezTo>
                  <a:pt x="990" y="619"/>
                  <a:pt x="993" y="618"/>
                  <a:pt x="998" y="616"/>
                </a:cubicBezTo>
                <a:cubicBezTo>
                  <a:pt x="1003" y="613"/>
                  <a:pt x="1007" y="612"/>
                  <a:pt x="1008" y="611"/>
                </a:cubicBezTo>
                <a:cubicBezTo>
                  <a:pt x="1009" y="610"/>
                  <a:pt x="1008" y="609"/>
                  <a:pt x="1007" y="608"/>
                </a:cubicBezTo>
                <a:cubicBezTo>
                  <a:pt x="1006" y="607"/>
                  <a:pt x="1006" y="605"/>
                  <a:pt x="1006" y="604"/>
                </a:cubicBezTo>
                <a:cubicBezTo>
                  <a:pt x="1006" y="602"/>
                  <a:pt x="1008" y="600"/>
                  <a:pt x="1012" y="596"/>
                </a:cubicBezTo>
                <a:cubicBezTo>
                  <a:pt x="1017" y="591"/>
                  <a:pt x="1020" y="588"/>
                  <a:pt x="1021" y="587"/>
                </a:cubicBezTo>
                <a:cubicBezTo>
                  <a:pt x="1021" y="588"/>
                  <a:pt x="1022" y="589"/>
                  <a:pt x="1023" y="591"/>
                </a:cubicBezTo>
                <a:cubicBezTo>
                  <a:pt x="1022" y="591"/>
                  <a:pt x="1022" y="592"/>
                  <a:pt x="1022" y="592"/>
                </a:cubicBezTo>
                <a:cubicBezTo>
                  <a:pt x="1021" y="596"/>
                  <a:pt x="1022" y="600"/>
                  <a:pt x="1024" y="604"/>
                </a:cubicBezTo>
                <a:cubicBezTo>
                  <a:pt x="1026" y="606"/>
                  <a:pt x="1027" y="609"/>
                  <a:pt x="1027" y="611"/>
                </a:cubicBezTo>
                <a:cubicBezTo>
                  <a:pt x="1027" y="612"/>
                  <a:pt x="1027" y="613"/>
                  <a:pt x="1027" y="614"/>
                </a:cubicBezTo>
                <a:cubicBezTo>
                  <a:pt x="1026" y="619"/>
                  <a:pt x="1025" y="622"/>
                  <a:pt x="1025" y="624"/>
                </a:cubicBezTo>
                <a:cubicBezTo>
                  <a:pt x="1024" y="625"/>
                  <a:pt x="1024" y="625"/>
                  <a:pt x="1023" y="627"/>
                </a:cubicBezTo>
                <a:cubicBezTo>
                  <a:pt x="1023" y="629"/>
                  <a:pt x="1024" y="633"/>
                  <a:pt x="1026" y="638"/>
                </a:cubicBezTo>
                <a:cubicBezTo>
                  <a:pt x="1026" y="638"/>
                  <a:pt x="1027" y="640"/>
                  <a:pt x="1027" y="641"/>
                </a:cubicBezTo>
                <a:cubicBezTo>
                  <a:pt x="1028" y="643"/>
                  <a:pt x="1029" y="646"/>
                  <a:pt x="1029" y="650"/>
                </a:cubicBezTo>
                <a:cubicBezTo>
                  <a:pt x="1032" y="654"/>
                  <a:pt x="1038" y="659"/>
                  <a:pt x="1046" y="666"/>
                </a:cubicBezTo>
                <a:lnTo>
                  <a:pt x="1047" y="666"/>
                </a:lnTo>
                <a:cubicBezTo>
                  <a:pt x="1045" y="664"/>
                  <a:pt x="1042" y="660"/>
                  <a:pt x="1038" y="654"/>
                </a:cubicBezTo>
                <a:cubicBezTo>
                  <a:pt x="1034" y="648"/>
                  <a:pt x="1032" y="643"/>
                  <a:pt x="1032" y="640"/>
                </a:cubicBezTo>
                <a:cubicBezTo>
                  <a:pt x="1032" y="636"/>
                  <a:pt x="1033" y="634"/>
                  <a:pt x="1033" y="633"/>
                </a:cubicBezTo>
                <a:cubicBezTo>
                  <a:pt x="1036" y="635"/>
                  <a:pt x="1040" y="638"/>
                  <a:pt x="1047" y="644"/>
                </a:cubicBezTo>
                <a:cubicBezTo>
                  <a:pt x="1048" y="642"/>
                  <a:pt x="1047" y="640"/>
                  <a:pt x="1044" y="638"/>
                </a:cubicBezTo>
                <a:cubicBezTo>
                  <a:pt x="1041" y="635"/>
                  <a:pt x="1039" y="633"/>
                  <a:pt x="1039" y="632"/>
                </a:cubicBezTo>
                <a:cubicBezTo>
                  <a:pt x="1041" y="631"/>
                  <a:pt x="1044" y="630"/>
                  <a:pt x="1047" y="631"/>
                </a:cubicBezTo>
                <a:lnTo>
                  <a:pt x="1047" y="631"/>
                </a:lnTo>
                <a:cubicBezTo>
                  <a:pt x="1047" y="630"/>
                  <a:pt x="1044" y="626"/>
                  <a:pt x="1040" y="621"/>
                </a:cubicBezTo>
                <a:cubicBezTo>
                  <a:pt x="1037" y="616"/>
                  <a:pt x="1035" y="613"/>
                  <a:pt x="1035" y="610"/>
                </a:cubicBezTo>
                <a:cubicBezTo>
                  <a:pt x="1036" y="611"/>
                  <a:pt x="1038" y="611"/>
                  <a:pt x="1040" y="610"/>
                </a:cubicBezTo>
                <a:cubicBezTo>
                  <a:pt x="1043" y="611"/>
                  <a:pt x="1046" y="613"/>
                  <a:pt x="1049" y="616"/>
                </a:cubicBezTo>
                <a:cubicBezTo>
                  <a:pt x="1053" y="620"/>
                  <a:pt x="1056" y="622"/>
                  <a:pt x="1058" y="622"/>
                </a:cubicBezTo>
                <a:cubicBezTo>
                  <a:pt x="1059" y="622"/>
                  <a:pt x="1060" y="622"/>
                  <a:pt x="1061" y="621"/>
                </a:cubicBezTo>
                <a:cubicBezTo>
                  <a:pt x="1061" y="620"/>
                  <a:pt x="1061" y="619"/>
                  <a:pt x="1062" y="617"/>
                </a:cubicBezTo>
                <a:cubicBezTo>
                  <a:pt x="1050" y="613"/>
                  <a:pt x="1044" y="609"/>
                  <a:pt x="1045" y="603"/>
                </a:cubicBezTo>
                <a:cubicBezTo>
                  <a:pt x="1045" y="600"/>
                  <a:pt x="1047" y="599"/>
                  <a:pt x="1050" y="599"/>
                </a:cubicBezTo>
                <a:cubicBezTo>
                  <a:pt x="1052" y="599"/>
                  <a:pt x="1053" y="598"/>
                  <a:pt x="1054" y="599"/>
                </a:cubicBezTo>
                <a:cubicBezTo>
                  <a:pt x="1056" y="599"/>
                  <a:pt x="1059" y="599"/>
                  <a:pt x="1063" y="601"/>
                </a:cubicBezTo>
                <a:cubicBezTo>
                  <a:pt x="1064" y="601"/>
                  <a:pt x="1066" y="601"/>
                  <a:pt x="1067" y="602"/>
                </a:cubicBezTo>
                <a:lnTo>
                  <a:pt x="1068" y="602"/>
                </a:lnTo>
                <a:cubicBezTo>
                  <a:pt x="1066" y="594"/>
                  <a:pt x="1061" y="587"/>
                  <a:pt x="1053" y="580"/>
                </a:cubicBezTo>
                <a:cubicBezTo>
                  <a:pt x="1041" y="570"/>
                  <a:pt x="1034" y="564"/>
                  <a:pt x="1034" y="564"/>
                </a:cubicBezTo>
                <a:cubicBezTo>
                  <a:pt x="1036" y="563"/>
                  <a:pt x="1041" y="561"/>
                  <a:pt x="1049" y="558"/>
                </a:cubicBezTo>
                <a:cubicBezTo>
                  <a:pt x="1055" y="557"/>
                  <a:pt x="1060" y="556"/>
                  <a:pt x="1065" y="556"/>
                </a:cubicBezTo>
                <a:cubicBezTo>
                  <a:pt x="1066" y="556"/>
                  <a:pt x="1067" y="556"/>
                  <a:pt x="1069" y="556"/>
                </a:cubicBezTo>
                <a:cubicBezTo>
                  <a:pt x="1073" y="556"/>
                  <a:pt x="1076" y="557"/>
                  <a:pt x="1077" y="559"/>
                </a:cubicBezTo>
                <a:cubicBezTo>
                  <a:pt x="1078" y="560"/>
                  <a:pt x="1078" y="564"/>
                  <a:pt x="1077" y="569"/>
                </a:cubicBezTo>
                <a:cubicBezTo>
                  <a:pt x="1079" y="568"/>
                  <a:pt x="1082" y="567"/>
                  <a:pt x="1087" y="564"/>
                </a:cubicBezTo>
                <a:cubicBezTo>
                  <a:pt x="1089" y="562"/>
                  <a:pt x="1092" y="561"/>
                  <a:pt x="1095" y="562"/>
                </a:cubicBezTo>
                <a:cubicBezTo>
                  <a:pt x="1095" y="562"/>
                  <a:pt x="1096" y="563"/>
                  <a:pt x="1097" y="564"/>
                </a:cubicBezTo>
                <a:cubicBezTo>
                  <a:pt x="1098" y="567"/>
                  <a:pt x="1100" y="572"/>
                  <a:pt x="1102" y="579"/>
                </a:cubicBezTo>
                <a:cubicBezTo>
                  <a:pt x="1105" y="590"/>
                  <a:pt x="1107" y="596"/>
                  <a:pt x="1108" y="596"/>
                </a:cubicBezTo>
                <a:cubicBezTo>
                  <a:pt x="1110" y="596"/>
                  <a:pt x="1111" y="594"/>
                  <a:pt x="1113" y="590"/>
                </a:cubicBezTo>
                <a:cubicBezTo>
                  <a:pt x="1114" y="587"/>
                  <a:pt x="1115" y="584"/>
                  <a:pt x="1115" y="583"/>
                </a:cubicBezTo>
                <a:cubicBezTo>
                  <a:pt x="1114" y="581"/>
                  <a:pt x="1113" y="578"/>
                  <a:pt x="1111" y="575"/>
                </a:cubicBezTo>
                <a:cubicBezTo>
                  <a:pt x="1108" y="569"/>
                  <a:pt x="1107" y="564"/>
                  <a:pt x="1106" y="560"/>
                </a:cubicBezTo>
                <a:cubicBezTo>
                  <a:pt x="1108" y="559"/>
                  <a:pt x="1110" y="559"/>
                  <a:pt x="1113" y="559"/>
                </a:cubicBezTo>
                <a:cubicBezTo>
                  <a:pt x="1114" y="559"/>
                  <a:pt x="1117" y="560"/>
                  <a:pt x="1120" y="561"/>
                </a:cubicBezTo>
                <a:cubicBezTo>
                  <a:pt x="1118" y="557"/>
                  <a:pt x="1117" y="555"/>
                  <a:pt x="1117" y="555"/>
                </a:cubicBezTo>
                <a:cubicBezTo>
                  <a:pt x="1117" y="553"/>
                  <a:pt x="1118" y="551"/>
                  <a:pt x="1120" y="551"/>
                </a:cubicBezTo>
                <a:cubicBezTo>
                  <a:pt x="1121" y="551"/>
                  <a:pt x="1123" y="551"/>
                  <a:pt x="1125" y="552"/>
                </a:cubicBezTo>
                <a:cubicBezTo>
                  <a:pt x="1129" y="552"/>
                  <a:pt x="1130" y="553"/>
                  <a:pt x="1131" y="553"/>
                </a:cubicBezTo>
                <a:cubicBezTo>
                  <a:pt x="1131" y="553"/>
                  <a:pt x="1134" y="554"/>
                  <a:pt x="1139" y="557"/>
                </a:cubicBezTo>
                <a:cubicBezTo>
                  <a:pt x="1138" y="555"/>
                  <a:pt x="1134" y="552"/>
                  <a:pt x="1126" y="548"/>
                </a:cubicBezTo>
                <a:cubicBezTo>
                  <a:pt x="1125" y="547"/>
                  <a:pt x="1122" y="545"/>
                  <a:pt x="1120" y="543"/>
                </a:cubicBezTo>
                <a:cubicBezTo>
                  <a:pt x="1118" y="540"/>
                  <a:pt x="1117" y="539"/>
                  <a:pt x="1116" y="539"/>
                </a:cubicBezTo>
                <a:cubicBezTo>
                  <a:pt x="1115" y="538"/>
                  <a:pt x="1110" y="541"/>
                  <a:pt x="1104" y="545"/>
                </a:cubicBezTo>
                <a:cubicBezTo>
                  <a:pt x="1097" y="550"/>
                  <a:pt x="1093" y="552"/>
                  <a:pt x="1091" y="552"/>
                </a:cubicBezTo>
                <a:cubicBezTo>
                  <a:pt x="1089" y="551"/>
                  <a:pt x="1088" y="550"/>
                  <a:pt x="1087" y="547"/>
                </a:cubicBezTo>
                <a:cubicBezTo>
                  <a:pt x="1087" y="544"/>
                  <a:pt x="1086" y="542"/>
                  <a:pt x="1085" y="542"/>
                </a:cubicBezTo>
                <a:cubicBezTo>
                  <a:pt x="1084" y="542"/>
                  <a:pt x="1081" y="544"/>
                  <a:pt x="1075" y="547"/>
                </a:cubicBezTo>
                <a:cubicBezTo>
                  <a:pt x="1070" y="550"/>
                  <a:pt x="1066" y="551"/>
                  <a:pt x="1064" y="551"/>
                </a:cubicBezTo>
                <a:lnTo>
                  <a:pt x="1064" y="551"/>
                </a:lnTo>
                <a:cubicBezTo>
                  <a:pt x="1062" y="551"/>
                  <a:pt x="1059" y="548"/>
                  <a:pt x="1056" y="544"/>
                </a:cubicBezTo>
                <a:cubicBezTo>
                  <a:pt x="1055" y="543"/>
                  <a:pt x="1054" y="541"/>
                  <a:pt x="1053" y="540"/>
                </a:cubicBezTo>
                <a:cubicBezTo>
                  <a:pt x="1051" y="537"/>
                  <a:pt x="1050" y="536"/>
                  <a:pt x="1049" y="535"/>
                </a:cubicBezTo>
                <a:cubicBezTo>
                  <a:pt x="1052" y="533"/>
                  <a:pt x="1055" y="532"/>
                  <a:pt x="1058" y="532"/>
                </a:cubicBezTo>
                <a:lnTo>
                  <a:pt x="1059" y="530"/>
                </a:lnTo>
                <a:cubicBezTo>
                  <a:pt x="1057" y="529"/>
                  <a:pt x="1056" y="527"/>
                  <a:pt x="1056" y="524"/>
                </a:cubicBezTo>
                <a:cubicBezTo>
                  <a:pt x="1056" y="523"/>
                  <a:pt x="1057" y="522"/>
                  <a:pt x="1057" y="521"/>
                </a:cubicBezTo>
                <a:cubicBezTo>
                  <a:pt x="1059" y="517"/>
                  <a:pt x="1062" y="513"/>
                  <a:pt x="1067" y="510"/>
                </a:cubicBezTo>
                <a:cubicBezTo>
                  <a:pt x="1073" y="506"/>
                  <a:pt x="1079" y="504"/>
                  <a:pt x="1084" y="504"/>
                </a:cubicBezTo>
                <a:cubicBezTo>
                  <a:pt x="1085" y="504"/>
                  <a:pt x="1086" y="505"/>
                  <a:pt x="1087" y="506"/>
                </a:cubicBezTo>
                <a:cubicBezTo>
                  <a:pt x="1089" y="507"/>
                  <a:pt x="1091" y="509"/>
                  <a:pt x="1093" y="509"/>
                </a:cubicBezTo>
                <a:cubicBezTo>
                  <a:pt x="1094" y="505"/>
                  <a:pt x="1095" y="503"/>
                  <a:pt x="1096" y="502"/>
                </a:cubicBezTo>
                <a:cubicBezTo>
                  <a:pt x="1097" y="501"/>
                  <a:pt x="1097" y="501"/>
                  <a:pt x="1098" y="501"/>
                </a:cubicBezTo>
                <a:cubicBezTo>
                  <a:pt x="1100" y="500"/>
                  <a:pt x="1101" y="500"/>
                  <a:pt x="1103" y="501"/>
                </a:cubicBezTo>
                <a:cubicBezTo>
                  <a:pt x="1106" y="501"/>
                  <a:pt x="1111" y="502"/>
                  <a:pt x="1116" y="504"/>
                </a:cubicBezTo>
                <a:cubicBezTo>
                  <a:pt x="1119" y="505"/>
                  <a:pt x="1121" y="505"/>
                  <a:pt x="1123" y="506"/>
                </a:cubicBezTo>
                <a:cubicBezTo>
                  <a:pt x="1121" y="504"/>
                  <a:pt x="1119" y="501"/>
                  <a:pt x="1115" y="498"/>
                </a:cubicBezTo>
                <a:cubicBezTo>
                  <a:pt x="1112" y="494"/>
                  <a:pt x="1110" y="490"/>
                  <a:pt x="1111" y="487"/>
                </a:cubicBezTo>
                <a:cubicBezTo>
                  <a:pt x="1111" y="485"/>
                  <a:pt x="1112" y="484"/>
                  <a:pt x="1113" y="482"/>
                </a:cubicBezTo>
                <a:cubicBezTo>
                  <a:pt x="1115" y="481"/>
                  <a:pt x="1116" y="481"/>
                  <a:pt x="1118" y="481"/>
                </a:cubicBezTo>
                <a:cubicBezTo>
                  <a:pt x="1120" y="481"/>
                  <a:pt x="1121" y="482"/>
                  <a:pt x="1123" y="483"/>
                </a:cubicBezTo>
                <a:cubicBezTo>
                  <a:pt x="1125" y="484"/>
                  <a:pt x="1127" y="485"/>
                  <a:pt x="1128" y="485"/>
                </a:cubicBezTo>
                <a:lnTo>
                  <a:pt x="1131" y="485"/>
                </a:lnTo>
                <a:cubicBezTo>
                  <a:pt x="1126" y="481"/>
                  <a:pt x="1123" y="478"/>
                  <a:pt x="1122" y="476"/>
                </a:cubicBezTo>
                <a:cubicBezTo>
                  <a:pt x="1122" y="475"/>
                  <a:pt x="1124" y="474"/>
                  <a:pt x="1127" y="472"/>
                </a:cubicBezTo>
                <a:cubicBezTo>
                  <a:pt x="1131" y="470"/>
                  <a:pt x="1133" y="469"/>
                  <a:pt x="1133" y="469"/>
                </a:cubicBezTo>
                <a:cubicBezTo>
                  <a:pt x="1135" y="470"/>
                  <a:pt x="1137" y="470"/>
                  <a:pt x="1139" y="472"/>
                </a:cubicBezTo>
                <a:lnTo>
                  <a:pt x="1140" y="472"/>
                </a:lnTo>
                <a:cubicBezTo>
                  <a:pt x="1139" y="468"/>
                  <a:pt x="1137" y="465"/>
                  <a:pt x="1134" y="465"/>
                </a:cubicBezTo>
                <a:cubicBezTo>
                  <a:pt x="1130" y="465"/>
                  <a:pt x="1127" y="465"/>
                  <a:pt x="1125" y="465"/>
                </a:cubicBezTo>
                <a:cubicBezTo>
                  <a:pt x="1120" y="464"/>
                  <a:pt x="1117" y="460"/>
                  <a:pt x="1118" y="452"/>
                </a:cubicBezTo>
                <a:cubicBezTo>
                  <a:pt x="1118" y="448"/>
                  <a:pt x="1119" y="446"/>
                  <a:pt x="1119" y="445"/>
                </a:cubicBezTo>
                <a:cubicBezTo>
                  <a:pt x="1120" y="444"/>
                  <a:pt x="1120" y="444"/>
                  <a:pt x="1121" y="443"/>
                </a:cubicBezTo>
                <a:cubicBezTo>
                  <a:pt x="1123" y="442"/>
                  <a:pt x="1124" y="441"/>
                  <a:pt x="1126" y="440"/>
                </a:cubicBezTo>
                <a:cubicBezTo>
                  <a:pt x="1129" y="439"/>
                  <a:pt x="1130" y="437"/>
                  <a:pt x="1131" y="434"/>
                </a:cubicBezTo>
                <a:cubicBezTo>
                  <a:pt x="1131" y="433"/>
                  <a:pt x="1131" y="430"/>
                  <a:pt x="1131" y="427"/>
                </a:cubicBezTo>
                <a:cubicBezTo>
                  <a:pt x="1131" y="427"/>
                  <a:pt x="1136" y="426"/>
                  <a:pt x="1146" y="423"/>
                </a:cubicBezTo>
                <a:cubicBezTo>
                  <a:pt x="1152" y="421"/>
                  <a:pt x="1157" y="421"/>
                  <a:pt x="1160" y="422"/>
                </a:cubicBezTo>
                <a:cubicBezTo>
                  <a:pt x="1159" y="420"/>
                  <a:pt x="1158" y="416"/>
                  <a:pt x="1157" y="408"/>
                </a:cubicBezTo>
                <a:cubicBezTo>
                  <a:pt x="1157" y="407"/>
                  <a:pt x="1155" y="405"/>
                  <a:pt x="1153" y="403"/>
                </a:cubicBezTo>
                <a:cubicBezTo>
                  <a:pt x="1152" y="402"/>
                  <a:pt x="1151" y="401"/>
                  <a:pt x="1151" y="400"/>
                </a:cubicBezTo>
                <a:cubicBezTo>
                  <a:pt x="1151" y="398"/>
                  <a:pt x="1150" y="397"/>
                  <a:pt x="1151" y="396"/>
                </a:cubicBezTo>
                <a:cubicBezTo>
                  <a:pt x="1151" y="390"/>
                  <a:pt x="1155" y="385"/>
                  <a:pt x="1161" y="380"/>
                </a:cubicBezTo>
                <a:cubicBezTo>
                  <a:pt x="1161" y="379"/>
                  <a:pt x="1162" y="375"/>
                  <a:pt x="1163" y="369"/>
                </a:cubicBezTo>
                <a:cubicBezTo>
                  <a:pt x="1164" y="364"/>
                  <a:pt x="1165" y="360"/>
                  <a:pt x="1166" y="357"/>
                </a:cubicBezTo>
                <a:lnTo>
                  <a:pt x="1174" y="358"/>
                </a:lnTo>
                <a:cubicBezTo>
                  <a:pt x="1172" y="363"/>
                  <a:pt x="1173" y="366"/>
                  <a:pt x="1177" y="369"/>
                </a:cubicBezTo>
                <a:cubicBezTo>
                  <a:pt x="1182" y="373"/>
                  <a:pt x="1185" y="377"/>
                  <a:pt x="1186" y="379"/>
                </a:cubicBezTo>
                <a:cubicBezTo>
                  <a:pt x="1187" y="383"/>
                  <a:pt x="1187" y="388"/>
                  <a:pt x="1187" y="393"/>
                </a:cubicBezTo>
                <a:cubicBezTo>
                  <a:pt x="1187" y="399"/>
                  <a:pt x="1187" y="404"/>
                  <a:pt x="1187" y="408"/>
                </a:cubicBezTo>
                <a:lnTo>
                  <a:pt x="1187" y="408"/>
                </a:lnTo>
                <a:cubicBezTo>
                  <a:pt x="1188" y="405"/>
                  <a:pt x="1189" y="400"/>
                  <a:pt x="1191" y="393"/>
                </a:cubicBezTo>
                <a:lnTo>
                  <a:pt x="1191" y="389"/>
                </a:lnTo>
                <a:lnTo>
                  <a:pt x="1196" y="390"/>
                </a:lnTo>
                <a:cubicBezTo>
                  <a:pt x="1197" y="391"/>
                  <a:pt x="1198" y="392"/>
                  <a:pt x="1199" y="394"/>
                </a:cubicBezTo>
                <a:cubicBezTo>
                  <a:pt x="1200" y="394"/>
                  <a:pt x="1200" y="394"/>
                  <a:pt x="1200" y="395"/>
                </a:cubicBezTo>
                <a:cubicBezTo>
                  <a:pt x="1201" y="393"/>
                  <a:pt x="1202" y="392"/>
                  <a:pt x="1202" y="390"/>
                </a:cubicBezTo>
                <a:cubicBezTo>
                  <a:pt x="1203" y="389"/>
                  <a:pt x="1204" y="388"/>
                  <a:pt x="1206" y="388"/>
                </a:cubicBezTo>
                <a:cubicBezTo>
                  <a:pt x="1207" y="388"/>
                  <a:pt x="1209" y="389"/>
                  <a:pt x="1211" y="391"/>
                </a:cubicBezTo>
                <a:cubicBezTo>
                  <a:pt x="1213" y="392"/>
                  <a:pt x="1214" y="393"/>
                  <a:pt x="1215" y="393"/>
                </a:cubicBezTo>
                <a:cubicBezTo>
                  <a:pt x="1217" y="393"/>
                  <a:pt x="1218" y="393"/>
                  <a:pt x="1220" y="392"/>
                </a:cubicBezTo>
                <a:cubicBezTo>
                  <a:pt x="1213" y="388"/>
                  <a:pt x="1206" y="383"/>
                  <a:pt x="1199" y="379"/>
                </a:cubicBezTo>
                <a:cubicBezTo>
                  <a:pt x="1188" y="370"/>
                  <a:pt x="1182" y="363"/>
                  <a:pt x="1181" y="357"/>
                </a:cubicBezTo>
                <a:cubicBezTo>
                  <a:pt x="1181" y="356"/>
                  <a:pt x="1181" y="355"/>
                  <a:pt x="1181" y="354"/>
                </a:cubicBezTo>
                <a:cubicBezTo>
                  <a:pt x="1196" y="347"/>
                  <a:pt x="1204" y="343"/>
                  <a:pt x="1206" y="342"/>
                </a:cubicBezTo>
                <a:lnTo>
                  <a:pt x="1207" y="342"/>
                </a:lnTo>
                <a:cubicBezTo>
                  <a:pt x="1208" y="342"/>
                  <a:pt x="1211" y="347"/>
                  <a:pt x="1214" y="356"/>
                </a:cubicBezTo>
                <a:cubicBezTo>
                  <a:pt x="1215" y="358"/>
                  <a:pt x="1215" y="359"/>
                  <a:pt x="1216" y="360"/>
                </a:cubicBezTo>
                <a:cubicBezTo>
                  <a:pt x="1220" y="369"/>
                  <a:pt x="1223" y="374"/>
                  <a:pt x="1224" y="377"/>
                </a:cubicBezTo>
                <a:cubicBezTo>
                  <a:pt x="1226" y="378"/>
                  <a:pt x="1229" y="379"/>
                  <a:pt x="1234" y="379"/>
                </a:cubicBezTo>
                <a:cubicBezTo>
                  <a:pt x="1239" y="379"/>
                  <a:pt x="1242" y="381"/>
                  <a:pt x="1243" y="384"/>
                </a:cubicBezTo>
                <a:cubicBezTo>
                  <a:pt x="1244" y="388"/>
                  <a:pt x="1245" y="392"/>
                  <a:pt x="1245" y="394"/>
                </a:cubicBezTo>
                <a:cubicBezTo>
                  <a:pt x="1247" y="397"/>
                  <a:pt x="1248" y="399"/>
                  <a:pt x="1250" y="401"/>
                </a:cubicBezTo>
                <a:lnTo>
                  <a:pt x="1255" y="402"/>
                </a:lnTo>
                <a:cubicBezTo>
                  <a:pt x="1252" y="398"/>
                  <a:pt x="1250" y="393"/>
                  <a:pt x="1249" y="389"/>
                </a:cubicBezTo>
                <a:cubicBezTo>
                  <a:pt x="1249" y="387"/>
                  <a:pt x="1248" y="384"/>
                  <a:pt x="1247" y="381"/>
                </a:cubicBezTo>
                <a:cubicBezTo>
                  <a:pt x="1246" y="378"/>
                  <a:pt x="1242" y="375"/>
                  <a:pt x="1234" y="374"/>
                </a:cubicBezTo>
                <a:cubicBezTo>
                  <a:pt x="1229" y="374"/>
                  <a:pt x="1225" y="371"/>
                  <a:pt x="1222" y="366"/>
                </a:cubicBezTo>
                <a:cubicBezTo>
                  <a:pt x="1220" y="363"/>
                  <a:pt x="1219" y="361"/>
                  <a:pt x="1218" y="358"/>
                </a:cubicBezTo>
                <a:cubicBezTo>
                  <a:pt x="1217" y="356"/>
                  <a:pt x="1217" y="354"/>
                  <a:pt x="1217" y="352"/>
                </a:cubicBezTo>
                <a:cubicBezTo>
                  <a:pt x="1217" y="351"/>
                  <a:pt x="1218" y="349"/>
                  <a:pt x="1220" y="348"/>
                </a:cubicBezTo>
                <a:cubicBezTo>
                  <a:pt x="1223" y="346"/>
                  <a:pt x="1225" y="343"/>
                  <a:pt x="1226" y="341"/>
                </a:cubicBezTo>
                <a:cubicBezTo>
                  <a:pt x="1221" y="341"/>
                  <a:pt x="1218" y="340"/>
                  <a:pt x="1216" y="338"/>
                </a:cubicBezTo>
                <a:cubicBezTo>
                  <a:pt x="1215" y="337"/>
                  <a:pt x="1215" y="335"/>
                  <a:pt x="1215" y="333"/>
                </a:cubicBezTo>
                <a:cubicBezTo>
                  <a:pt x="1215" y="332"/>
                  <a:pt x="1215" y="331"/>
                  <a:pt x="1215" y="329"/>
                </a:cubicBezTo>
                <a:cubicBezTo>
                  <a:pt x="1215" y="325"/>
                  <a:pt x="1218" y="319"/>
                  <a:pt x="1224" y="312"/>
                </a:cubicBezTo>
                <a:cubicBezTo>
                  <a:pt x="1226" y="309"/>
                  <a:pt x="1229" y="306"/>
                  <a:pt x="1231" y="303"/>
                </a:cubicBezTo>
                <a:cubicBezTo>
                  <a:pt x="1232" y="302"/>
                  <a:pt x="1234" y="300"/>
                  <a:pt x="1236" y="299"/>
                </a:cubicBezTo>
                <a:cubicBezTo>
                  <a:pt x="1239" y="298"/>
                  <a:pt x="1242" y="297"/>
                  <a:pt x="1245" y="296"/>
                </a:cubicBezTo>
                <a:cubicBezTo>
                  <a:pt x="1253" y="294"/>
                  <a:pt x="1258" y="292"/>
                  <a:pt x="1261" y="290"/>
                </a:cubicBezTo>
                <a:lnTo>
                  <a:pt x="1265" y="291"/>
                </a:lnTo>
                <a:lnTo>
                  <a:pt x="1265" y="291"/>
                </a:lnTo>
                <a:cubicBezTo>
                  <a:pt x="1265" y="295"/>
                  <a:pt x="1263" y="298"/>
                  <a:pt x="1262" y="300"/>
                </a:cubicBezTo>
                <a:cubicBezTo>
                  <a:pt x="1261" y="302"/>
                  <a:pt x="1260" y="304"/>
                  <a:pt x="1260" y="306"/>
                </a:cubicBezTo>
                <a:cubicBezTo>
                  <a:pt x="1260" y="311"/>
                  <a:pt x="1261" y="316"/>
                  <a:pt x="1264" y="321"/>
                </a:cubicBezTo>
                <a:cubicBezTo>
                  <a:pt x="1267" y="327"/>
                  <a:pt x="1268" y="330"/>
                  <a:pt x="1268" y="333"/>
                </a:cubicBezTo>
                <a:cubicBezTo>
                  <a:pt x="1268" y="334"/>
                  <a:pt x="1267" y="336"/>
                  <a:pt x="1265" y="338"/>
                </a:cubicBezTo>
                <a:cubicBezTo>
                  <a:pt x="1263" y="341"/>
                  <a:pt x="1262" y="342"/>
                  <a:pt x="1262" y="343"/>
                </a:cubicBezTo>
                <a:cubicBezTo>
                  <a:pt x="1263" y="349"/>
                  <a:pt x="1264" y="355"/>
                  <a:pt x="1263" y="362"/>
                </a:cubicBezTo>
                <a:cubicBezTo>
                  <a:pt x="1267" y="355"/>
                  <a:pt x="1268" y="351"/>
                  <a:pt x="1269" y="349"/>
                </a:cubicBezTo>
                <a:cubicBezTo>
                  <a:pt x="1269" y="348"/>
                  <a:pt x="1268" y="345"/>
                  <a:pt x="1268" y="342"/>
                </a:cubicBezTo>
                <a:cubicBezTo>
                  <a:pt x="1268" y="342"/>
                  <a:pt x="1269" y="339"/>
                  <a:pt x="1271" y="334"/>
                </a:cubicBezTo>
                <a:cubicBezTo>
                  <a:pt x="1271" y="333"/>
                  <a:pt x="1271" y="333"/>
                  <a:pt x="1272" y="332"/>
                </a:cubicBezTo>
                <a:lnTo>
                  <a:pt x="1282" y="333"/>
                </a:lnTo>
                <a:cubicBezTo>
                  <a:pt x="1283" y="334"/>
                  <a:pt x="1284" y="334"/>
                  <a:pt x="1286" y="335"/>
                </a:cubicBezTo>
                <a:cubicBezTo>
                  <a:pt x="1281" y="330"/>
                  <a:pt x="1278" y="327"/>
                  <a:pt x="1275" y="324"/>
                </a:cubicBezTo>
                <a:cubicBezTo>
                  <a:pt x="1270" y="320"/>
                  <a:pt x="1268" y="315"/>
                  <a:pt x="1269" y="312"/>
                </a:cubicBezTo>
                <a:cubicBezTo>
                  <a:pt x="1270" y="301"/>
                  <a:pt x="1272" y="295"/>
                  <a:pt x="1274" y="292"/>
                </a:cubicBezTo>
                <a:cubicBezTo>
                  <a:pt x="1281" y="286"/>
                  <a:pt x="1286" y="279"/>
                  <a:pt x="1290" y="272"/>
                </a:cubicBezTo>
                <a:lnTo>
                  <a:pt x="1291" y="271"/>
                </a:lnTo>
                <a:cubicBezTo>
                  <a:pt x="1293" y="273"/>
                  <a:pt x="1295" y="275"/>
                  <a:pt x="1298" y="276"/>
                </a:cubicBezTo>
                <a:cubicBezTo>
                  <a:pt x="1297" y="275"/>
                  <a:pt x="1297" y="273"/>
                  <a:pt x="1297" y="270"/>
                </a:cubicBezTo>
                <a:cubicBezTo>
                  <a:pt x="1298" y="266"/>
                  <a:pt x="1300" y="264"/>
                  <a:pt x="1302" y="265"/>
                </a:cubicBezTo>
                <a:cubicBezTo>
                  <a:pt x="1306" y="265"/>
                  <a:pt x="1308" y="268"/>
                  <a:pt x="1310" y="272"/>
                </a:cubicBezTo>
                <a:cubicBezTo>
                  <a:pt x="1310" y="276"/>
                  <a:pt x="1311" y="280"/>
                  <a:pt x="1310" y="283"/>
                </a:cubicBezTo>
                <a:cubicBezTo>
                  <a:pt x="1310" y="286"/>
                  <a:pt x="1309" y="291"/>
                  <a:pt x="1306" y="298"/>
                </a:cubicBezTo>
                <a:cubicBezTo>
                  <a:pt x="1304" y="305"/>
                  <a:pt x="1302" y="310"/>
                  <a:pt x="1302" y="312"/>
                </a:cubicBezTo>
                <a:cubicBezTo>
                  <a:pt x="1302" y="314"/>
                  <a:pt x="1303" y="317"/>
                  <a:pt x="1304" y="324"/>
                </a:cubicBezTo>
                <a:cubicBezTo>
                  <a:pt x="1306" y="329"/>
                  <a:pt x="1307" y="332"/>
                  <a:pt x="1307" y="332"/>
                </a:cubicBezTo>
                <a:cubicBezTo>
                  <a:pt x="1307" y="333"/>
                  <a:pt x="1306" y="333"/>
                  <a:pt x="1306" y="334"/>
                </a:cubicBezTo>
                <a:cubicBezTo>
                  <a:pt x="1302" y="343"/>
                  <a:pt x="1300" y="349"/>
                  <a:pt x="1300" y="353"/>
                </a:cubicBezTo>
                <a:cubicBezTo>
                  <a:pt x="1299" y="360"/>
                  <a:pt x="1297" y="365"/>
                  <a:pt x="1294" y="370"/>
                </a:cubicBezTo>
                <a:cubicBezTo>
                  <a:pt x="1290" y="376"/>
                  <a:pt x="1287" y="382"/>
                  <a:pt x="1285" y="386"/>
                </a:cubicBezTo>
                <a:lnTo>
                  <a:pt x="1284" y="387"/>
                </a:lnTo>
                <a:cubicBezTo>
                  <a:pt x="1288" y="384"/>
                  <a:pt x="1292" y="380"/>
                  <a:pt x="1298" y="374"/>
                </a:cubicBezTo>
                <a:cubicBezTo>
                  <a:pt x="1301" y="370"/>
                  <a:pt x="1304" y="365"/>
                  <a:pt x="1304" y="360"/>
                </a:cubicBezTo>
                <a:cubicBezTo>
                  <a:pt x="1306" y="358"/>
                  <a:pt x="1307" y="353"/>
                  <a:pt x="1309" y="344"/>
                </a:cubicBezTo>
                <a:cubicBezTo>
                  <a:pt x="1309" y="340"/>
                  <a:pt x="1310" y="337"/>
                  <a:pt x="1311" y="336"/>
                </a:cubicBezTo>
                <a:cubicBezTo>
                  <a:pt x="1312" y="334"/>
                  <a:pt x="1313" y="333"/>
                  <a:pt x="1314" y="333"/>
                </a:cubicBezTo>
                <a:cubicBezTo>
                  <a:pt x="1315" y="333"/>
                  <a:pt x="1319" y="336"/>
                  <a:pt x="1327" y="341"/>
                </a:cubicBezTo>
                <a:cubicBezTo>
                  <a:pt x="1322" y="335"/>
                  <a:pt x="1318" y="330"/>
                  <a:pt x="1317" y="327"/>
                </a:cubicBezTo>
                <a:cubicBezTo>
                  <a:pt x="1314" y="322"/>
                  <a:pt x="1314" y="316"/>
                  <a:pt x="1315" y="310"/>
                </a:cubicBezTo>
                <a:cubicBezTo>
                  <a:pt x="1315" y="305"/>
                  <a:pt x="1317" y="301"/>
                  <a:pt x="1320" y="298"/>
                </a:cubicBezTo>
                <a:cubicBezTo>
                  <a:pt x="1321" y="296"/>
                  <a:pt x="1325" y="294"/>
                  <a:pt x="1330" y="293"/>
                </a:cubicBezTo>
                <a:cubicBezTo>
                  <a:pt x="1331" y="292"/>
                  <a:pt x="1331" y="288"/>
                  <a:pt x="1333" y="281"/>
                </a:cubicBezTo>
                <a:cubicBezTo>
                  <a:pt x="1333" y="280"/>
                  <a:pt x="1333" y="279"/>
                  <a:pt x="1333" y="278"/>
                </a:cubicBezTo>
                <a:cubicBezTo>
                  <a:pt x="1335" y="273"/>
                  <a:pt x="1337" y="271"/>
                  <a:pt x="1339" y="271"/>
                </a:cubicBezTo>
                <a:cubicBezTo>
                  <a:pt x="1342" y="271"/>
                  <a:pt x="1343" y="276"/>
                  <a:pt x="1342" y="286"/>
                </a:cubicBezTo>
                <a:cubicBezTo>
                  <a:pt x="1342" y="288"/>
                  <a:pt x="1344" y="290"/>
                  <a:pt x="1348" y="293"/>
                </a:cubicBezTo>
                <a:cubicBezTo>
                  <a:pt x="1348" y="292"/>
                  <a:pt x="1349" y="291"/>
                  <a:pt x="1349" y="291"/>
                </a:cubicBezTo>
                <a:cubicBezTo>
                  <a:pt x="1349" y="290"/>
                  <a:pt x="1349" y="287"/>
                  <a:pt x="1348" y="284"/>
                </a:cubicBezTo>
                <a:cubicBezTo>
                  <a:pt x="1348" y="282"/>
                  <a:pt x="1349" y="280"/>
                  <a:pt x="1350" y="277"/>
                </a:cubicBezTo>
                <a:cubicBezTo>
                  <a:pt x="1352" y="274"/>
                  <a:pt x="1354" y="272"/>
                  <a:pt x="1355" y="273"/>
                </a:cubicBezTo>
                <a:cubicBezTo>
                  <a:pt x="1357" y="273"/>
                  <a:pt x="1357" y="273"/>
                  <a:pt x="1358" y="274"/>
                </a:cubicBezTo>
                <a:cubicBezTo>
                  <a:pt x="1359" y="277"/>
                  <a:pt x="1360" y="278"/>
                  <a:pt x="1361" y="278"/>
                </a:cubicBezTo>
                <a:lnTo>
                  <a:pt x="1361" y="273"/>
                </a:lnTo>
                <a:cubicBezTo>
                  <a:pt x="1360" y="269"/>
                  <a:pt x="1359" y="264"/>
                  <a:pt x="1360" y="258"/>
                </a:cubicBezTo>
                <a:cubicBezTo>
                  <a:pt x="1360" y="257"/>
                  <a:pt x="1360" y="256"/>
                  <a:pt x="1360" y="255"/>
                </a:cubicBezTo>
                <a:cubicBezTo>
                  <a:pt x="1360" y="254"/>
                  <a:pt x="1361" y="253"/>
                  <a:pt x="1363" y="251"/>
                </a:cubicBezTo>
                <a:cubicBezTo>
                  <a:pt x="1364" y="250"/>
                  <a:pt x="1364" y="250"/>
                  <a:pt x="1365" y="249"/>
                </a:cubicBezTo>
                <a:cubicBezTo>
                  <a:pt x="1366" y="249"/>
                  <a:pt x="1369" y="249"/>
                  <a:pt x="1371" y="249"/>
                </a:cubicBezTo>
                <a:cubicBezTo>
                  <a:pt x="1377" y="250"/>
                  <a:pt x="1381" y="253"/>
                  <a:pt x="1384" y="258"/>
                </a:cubicBezTo>
                <a:cubicBezTo>
                  <a:pt x="1387" y="264"/>
                  <a:pt x="1391" y="268"/>
                  <a:pt x="1396" y="269"/>
                </a:cubicBezTo>
                <a:cubicBezTo>
                  <a:pt x="1400" y="270"/>
                  <a:pt x="1405" y="273"/>
                  <a:pt x="1409" y="277"/>
                </a:cubicBezTo>
                <a:cubicBezTo>
                  <a:pt x="1416" y="285"/>
                  <a:pt x="1420" y="289"/>
                  <a:pt x="1421" y="290"/>
                </a:cubicBezTo>
                <a:lnTo>
                  <a:pt x="1421" y="290"/>
                </a:lnTo>
                <a:cubicBezTo>
                  <a:pt x="1420" y="287"/>
                  <a:pt x="1416" y="282"/>
                  <a:pt x="1409" y="274"/>
                </a:cubicBezTo>
                <a:cubicBezTo>
                  <a:pt x="1407" y="271"/>
                  <a:pt x="1405" y="268"/>
                  <a:pt x="1403" y="265"/>
                </a:cubicBezTo>
                <a:cubicBezTo>
                  <a:pt x="1401" y="261"/>
                  <a:pt x="1400" y="258"/>
                  <a:pt x="1400" y="255"/>
                </a:cubicBezTo>
                <a:lnTo>
                  <a:pt x="1400" y="251"/>
                </a:lnTo>
                <a:cubicBezTo>
                  <a:pt x="1401" y="251"/>
                  <a:pt x="1402" y="251"/>
                  <a:pt x="1404" y="251"/>
                </a:cubicBezTo>
                <a:cubicBezTo>
                  <a:pt x="1409" y="251"/>
                  <a:pt x="1412" y="255"/>
                  <a:pt x="1414" y="261"/>
                </a:cubicBezTo>
                <a:lnTo>
                  <a:pt x="1414" y="261"/>
                </a:lnTo>
                <a:cubicBezTo>
                  <a:pt x="1412" y="253"/>
                  <a:pt x="1411" y="247"/>
                  <a:pt x="1413" y="242"/>
                </a:cubicBezTo>
                <a:cubicBezTo>
                  <a:pt x="1412" y="242"/>
                  <a:pt x="1411" y="242"/>
                  <a:pt x="1411" y="242"/>
                </a:cubicBezTo>
                <a:cubicBezTo>
                  <a:pt x="1410" y="242"/>
                  <a:pt x="1408" y="242"/>
                  <a:pt x="1407" y="244"/>
                </a:cubicBezTo>
                <a:cubicBezTo>
                  <a:pt x="1405" y="245"/>
                  <a:pt x="1404" y="245"/>
                  <a:pt x="1402" y="245"/>
                </a:cubicBezTo>
                <a:cubicBezTo>
                  <a:pt x="1400" y="243"/>
                  <a:pt x="1399" y="241"/>
                  <a:pt x="1399" y="241"/>
                </a:cubicBezTo>
                <a:cubicBezTo>
                  <a:pt x="1399" y="240"/>
                  <a:pt x="1401" y="238"/>
                  <a:pt x="1405" y="234"/>
                </a:cubicBezTo>
                <a:cubicBezTo>
                  <a:pt x="1409" y="230"/>
                  <a:pt x="1411" y="227"/>
                  <a:pt x="1412" y="226"/>
                </a:cubicBezTo>
                <a:cubicBezTo>
                  <a:pt x="1410" y="225"/>
                  <a:pt x="1409" y="225"/>
                  <a:pt x="1408" y="225"/>
                </a:cubicBezTo>
                <a:cubicBezTo>
                  <a:pt x="1406" y="227"/>
                  <a:pt x="1403" y="229"/>
                  <a:pt x="1397" y="233"/>
                </a:cubicBezTo>
                <a:cubicBezTo>
                  <a:pt x="1391" y="236"/>
                  <a:pt x="1388" y="238"/>
                  <a:pt x="1386" y="238"/>
                </a:cubicBezTo>
                <a:cubicBezTo>
                  <a:pt x="1385" y="238"/>
                  <a:pt x="1384" y="236"/>
                  <a:pt x="1383" y="234"/>
                </a:cubicBezTo>
                <a:cubicBezTo>
                  <a:pt x="1381" y="231"/>
                  <a:pt x="1380" y="229"/>
                  <a:pt x="1380" y="228"/>
                </a:cubicBezTo>
                <a:cubicBezTo>
                  <a:pt x="1374" y="228"/>
                  <a:pt x="1371" y="227"/>
                  <a:pt x="1370" y="225"/>
                </a:cubicBezTo>
                <a:cubicBezTo>
                  <a:pt x="1367" y="220"/>
                  <a:pt x="1364" y="218"/>
                  <a:pt x="1362" y="217"/>
                </a:cubicBezTo>
                <a:cubicBezTo>
                  <a:pt x="1359" y="216"/>
                  <a:pt x="1357" y="215"/>
                  <a:pt x="1356" y="214"/>
                </a:cubicBezTo>
                <a:cubicBezTo>
                  <a:pt x="1354" y="214"/>
                  <a:pt x="1353" y="212"/>
                  <a:pt x="1353" y="210"/>
                </a:cubicBezTo>
                <a:cubicBezTo>
                  <a:pt x="1353" y="208"/>
                  <a:pt x="1356" y="206"/>
                  <a:pt x="1360" y="204"/>
                </a:cubicBezTo>
                <a:cubicBezTo>
                  <a:pt x="1361" y="204"/>
                  <a:pt x="1364" y="206"/>
                  <a:pt x="1368" y="210"/>
                </a:cubicBezTo>
                <a:lnTo>
                  <a:pt x="1369" y="211"/>
                </a:lnTo>
                <a:cubicBezTo>
                  <a:pt x="1370" y="207"/>
                  <a:pt x="1371" y="202"/>
                  <a:pt x="1372" y="195"/>
                </a:cubicBezTo>
                <a:lnTo>
                  <a:pt x="1374" y="195"/>
                </a:lnTo>
                <a:cubicBezTo>
                  <a:pt x="1374" y="195"/>
                  <a:pt x="1376" y="198"/>
                  <a:pt x="1380" y="205"/>
                </a:cubicBezTo>
                <a:cubicBezTo>
                  <a:pt x="1385" y="212"/>
                  <a:pt x="1389" y="216"/>
                  <a:pt x="1394" y="217"/>
                </a:cubicBezTo>
                <a:cubicBezTo>
                  <a:pt x="1394" y="214"/>
                  <a:pt x="1394" y="208"/>
                  <a:pt x="1393" y="199"/>
                </a:cubicBezTo>
                <a:cubicBezTo>
                  <a:pt x="1393" y="198"/>
                  <a:pt x="1394" y="195"/>
                  <a:pt x="1396" y="190"/>
                </a:cubicBezTo>
                <a:lnTo>
                  <a:pt x="1404" y="190"/>
                </a:lnTo>
                <a:cubicBezTo>
                  <a:pt x="1407" y="193"/>
                  <a:pt x="1409" y="197"/>
                  <a:pt x="1410" y="202"/>
                </a:cubicBezTo>
                <a:lnTo>
                  <a:pt x="1411" y="202"/>
                </a:lnTo>
                <a:cubicBezTo>
                  <a:pt x="1411" y="201"/>
                  <a:pt x="1411" y="199"/>
                  <a:pt x="1412" y="198"/>
                </a:cubicBezTo>
                <a:cubicBezTo>
                  <a:pt x="1414" y="195"/>
                  <a:pt x="1415" y="194"/>
                  <a:pt x="1416" y="194"/>
                </a:cubicBezTo>
                <a:cubicBezTo>
                  <a:pt x="1421" y="195"/>
                  <a:pt x="1423" y="198"/>
                  <a:pt x="1424" y="205"/>
                </a:cubicBezTo>
                <a:cubicBezTo>
                  <a:pt x="1424" y="206"/>
                  <a:pt x="1424" y="206"/>
                  <a:pt x="1423" y="206"/>
                </a:cubicBezTo>
                <a:cubicBezTo>
                  <a:pt x="1423" y="214"/>
                  <a:pt x="1423" y="220"/>
                  <a:pt x="1423" y="223"/>
                </a:cubicBezTo>
                <a:cubicBezTo>
                  <a:pt x="1431" y="220"/>
                  <a:pt x="1436" y="219"/>
                  <a:pt x="1438" y="219"/>
                </a:cubicBezTo>
                <a:cubicBezTo>
                  <a:pt x="1431" y="216"/>
                  <a:pt x="1428" y="211"/>
                  <a:pt x="1429" y="205"/>
                </a:cubicBezTo>
                <a:cubicBezTo>
                  <a:pt x="1429" y="199"/>
                  <a:pt x="1431" y="196"/>
                  <a:pt x="1435" y="197"/>
                </a:cubicBezTo>
                <a:cubicBezTo>
                  <a:pt x="1436" y="197"/>
                  <a:pt x="1438" y="197"/>
                  <a:pt x="1440" y="198"/>
                </a:cubicBezTo>
                <a:cubicBezTo>
                  <a:pt x="1444" y="200"/>
                  <a:pt x="1449" y="202"/>
                  <a:pt x="1455" y="205"/>
                </a:cubicBezTo>
                <a:cubicBezTo>
                  <a:pt x="1459" y="206"/>
                  <a:pt x="1461" y="207"/>
                  <a:pt x="1462" y="208"/>
                </a:cubicBezTo>
                <a:cubicBezTo>
                  <a:pt x="1464" y="210"/>
                  <a:pt x="1465" y="212"/>
                  <a:pt x="1465" y="215"/>
                </a:cubicBezTo>
                <a:cubicBezTo>
                  <a:pt x="1465" y="215"/>
                  <a:pt x="1465" y="216"/>
                  <a:pt x="1464" y="217"/>
                </a:cubicBezTo>
                <a:cubicBezTo>
                  <a:pt x="1462" y="220"/>
                  <a:pt x="1457" y="223"/>
                  <a:pt x="1450" y="228"/>
                </a:cubicBezTo>
                <a:cubicBezTo>
                  <a:pt x="1441" y="233"/>
                  <a:pt x="1436" y="236"/>
                  <a:pt x="1434" y="237"/>
                </a:cubicBezTo>
                <a:cubicBezTo>
                  <a:pt x="1443" y="234"/>
                  <a:pt x="1456" y="229"/>
                  <a:pt x="1471" y="222"/>
                </a:cubicBezTo>
                <a:cubicBezTo>
                  <a:pt x="1471" y="223"/>
                  <a:pt x="1472" y="226"/>
                  <a:pt x="1473" y="234"/>
                </a:cubicBezTo>
                <a:cubicBezTo>
                  <a:pt x="1472" y="234"/>
                  <a:pt x="1475" y="235"/>
                  <a:pt x="1479" y="235"/>
                </a:cubicBezTo>
                <a:cubicBezTo>
                  <a:pt x="1480" y="235"/>
                  <a:pt x="1483" y="236"/>
                  <a:pt x="1487" y="237"/>
                </a:cubicBezTo>
                <a:cubicBezTo>
                  <a:pt x="1487" y="240"/>
                  <a:pt x="1487" y="245"/>
                  <a:pt x="1486" y="252"/>
                </a:cubicBezTo>
                <a:cubicBezTo>
                  <a:pt x="1488" y="251"/>
                  <a:pt x="1491" y="249"/>
                  <a:pt x="1497" y="245"/>
                </a:cubicBezTo>
                <a:cubicBezTo>
                  <a:pt x="1502" y="242"/>
                  <a:pt x="1506" y="240"/>
                  <a:pt x="1510" y="241"/>
                </a:cubicBezTo>
                <a:cubicBezTo>
                  <a:pt x="1510" y="239"/>
                  <a:pt x="1510" y="239"/>
                  <a:pt x="1511" y="239"/>
                </a:cubicBezTo>
                <a:cubicBezTo>
                  <a:pt x="1510" y="237"/>
                  <a:pt x="1508" y="236"/>
                  <a:pt x="1507" y="235"/>
                </a:cubicBezTo>
                <a:cubicBezTo>
                  <a:pt x="1505" y="236"/>
                  <a:pt x="1504" y="236"/>
                  <a:pt x="1504" y="236"/>
                </a:cubicBezTo>
                <a:cubicBezTo>
                  <a:pt x="1498" y="235"/>
                  <a:pt x="1494" y="234"/>
                  <a:pt x="1491" y="232"/>
                </a:cubicBezTo>
                <a:cubicBezTo>
                  <a:pt x="1489" y="230"/>
                  <a:pt x="1487" y="227"/>
                  <a:pt x="1488" y="224"/>
                </a:cubicBezTo>
                <a:cubicBezTo>
                  <a:pt x="1488" y="220"/>
                  <a:pt x="1491" y="215"/>
                  <a:pt x="1497" y="208"/>
                </a:cubicBezTo>
                <a:lnTo>
                  <a:pt x="1497" y="204"/>
                </a:lnTo>
                <a:cubicBezTo>
                  <a:pt x="1496" y="203"/>
                  <a:pt x="1495" y="201"/>
                  <a:pt x="1493" y="200"/>
                </a:cubicBezTo>
                <a:cubicBezTo>
                  <a:pt x="1491" y="199"/>
                  <a:pt x="1490" y="198"/>
                  <a:pt x="1491" y="197"/>
                </a:cubicBezTo>
                <a:cubicBezTo>
                  <a:pt x="1491" y="192"/>
                  <a:pt x="1497" y="188"/>
                  <a:pt x="1507" y="185"/>
                </a:cubicBezTo>
                <a:cubicBezTo>
                  <a:pt x="1507" y="184"/>
                  <a:pt x="1506" y="182"/>
                  <a:pt x="1503" y="181"/>
                </a:cubicBezTo>
                <a:cubicBezTo>
                  <a:pt x="1501" y="179"/>
                  <a:pt x="1500" y="177"/>
                  <a:pt x="1500" y="176"/>
                </a:cubicBezTo>
                <a:cubicBezTo>
                  <a:pt x="1500" y="175"/>
                  <a:pt x="1503" y="171"/>
                  <a:pt x="1508" y="163"/>
                </a:cubicBezTo>
                <a:cubicBezTo>
                  <a:pt x="1514" y="155"/>
                  <a:pt x="1517" y="150"/>
                  <a:pt x="1519" y="148"/>
                </a:cubicBezTo>
                <a:cubicBezTo>
                  <a:pt x="1521" y="147"/>
                  <a:pt x="1523" y="146"/>
                  <a:pt x="1526" y="145"/>
                </a:cubicBezTo>
                <a:cubicBezTo>
                  <a:pt x="1528" y="144"/>
                  <a:pt x="1531" y="144"/>
                  <a:pt x="1534" y="144"/>
                </a:cubicBezTo>
                <a:cubicBezTo>
                  <a:pt x="1539" y="144"/>
                  <a:pt x="1545" y="144"/>
                  <a:pt x="1554" y="144"/>
                </a:cubicBezTo>
                <a:cubicBezTo>
                  <a:pt x="1549" y="142"/>
                  <a:pt x="1546" y="139"/>
                  <a:pt x="1544" y="138"/>
                </a:cubicBezTo>
                <a:cubicBezTo>
                  <a:pt x="1540" y="135"/>
                  <a:pt x="1538" y="133"/>
                  <a:pt x="1538" y="130"/>
                </a:cubicBezTo>
                <a:cubicBezTo>
                  <a:pt x="1538" y="130"/>
                  <a:pt x="1539" y="127"/>
                  <a:pt x="1542" y="121"/>
                </a:cubicBezTo>
                <a:cubicBezTo>
                  <a:pt x="1544" y="116"/>
                  <a:pt x="1547" y="110"/>
                  <a:pt x="1551" y="102"/>
                </a:cubicBezTo>
                <a:cubicBezTo>
                  <a:pt x="1556" y="105"/>
                  <a:pt x="1562" y="107"/>
                  <a:pt x="1569" y="109"/>
                </a:cubicBezTo>
                <a:lnTo>
                  <a:pt x="1570" y="109"/>
                </a:lnTo>
                <a:cubicBezTo>
                  <a:pt x="1570" y="109"/>
                  <a:pt x="1568" y="106"/>
                  <a:pt x="1564" y="99"/>
                </a:cubicBezTo>
                <a:cubicBezTo>
                  <a:pt x="1561" y="96"/>
                  <a:pt x="1558" y="94"/>
                  <a:pt x="1553" y="92"/>
                </a:cubicBezTo>
                <a:cubicBezTo>
                  <a:pt x="1549" y="91"/>
                  <a:pt x="1546" y="89"/>
                  <a:pt x="1543" y="86"/>
                </a:cubicBezTo>
                <a:cubicBezTo>
                  <a:pt x="1539" y="83"/>
                  <a:pt x="1537" y="79"/>
                  <a:pt x="1538" y="75"/>
                </a:cubicBezTo>
                <a:cubicBezTo>
                  <a:pt x="1538" y="73"/>
                  <a:pt x="1538" y="73"/>
                  <a:pt x="1539" y="72"/>
                </a:cubicBezTo>
                <a:lnTo>
                  <a:pt x="1545" y="73"/>
                </a:lnTo>
                <a:cubicBezTo>
                  <a:pt x="1547" y="74"/>
                  <a:pt x="1552" y="78"/>
                  <a:pt x="1560" y="83"/>
                </a:cubicBezTo>
                <a:cubicBezTo>
                  <a:pt x="1559" y="80"/>
                  <a:pt x="1558" y="78"/>
                  <a:pt x="1558" y="74"/>
                </a:cubicBezTo>
                <a:cubicBezTo>
                  <a:pt x="1559" y="72"/>
                  <a:pt x="1561" y="70"/>
                  <a:pt x="1567" y="68"/>
                </a:cubicBezTo>
                <a:cubicBezTo>
                  <a:pt x="1566" y="67"/>
                  <a:pt x="1565" y="65"/>
                  <a:pt x="1562" y="62"/>
                </a:cubicBezTo>
                <a:cubicBezTo>
                  <a:pt x="1560" y="60"/>
                  <a:pt x="1558" y="58"/>
                  <a:pt x="1558" y="56"/>
                </a:cubicBezTo>
                <a:cubicBezTo>
                  <a:pt x="1560" y="55"/>
                  <a:pt x="1561" y="53"/>
                  <a:pt x="1561" y="50"/>
                </a:cubicBezTo>
                <a:cubicBezTo>
                  <a:pt x="1561" y="47"/>
                  <a:pt x="1562" y="46"/>
                  <a:pt x="1565" y="46"/>
                </a:cubicBezTo>
                <a:cubicBezTo>
                  <a:pt x="1566" y="46"/>
                  <a:pt x="1566" y="46"/>
                  <a:pt x="1567" y="47"/>
                </a:cubicBezTo>
                <a:cubicBezTo>
                  <a:pt x="1568" y="47"/>
                  <a:pt x="1569" y="48"/>
                  <a:pt x="1570" y="49"/>
                </a:cubicBezTo>
                <a:cubicBezTo>
                  <a:pt x="1573" y="51"/>
                  <a:pt x="1575" y="52"/>
                  <a:pt x="1575" y="53"/>
                </a:cubicBezTo>
                <a:cubicBezTo>
                  <a:pt x="1576" y="53"/>
                  <a:pt x="1577" y="52"/>
                  <a:pt x="1579" y="51"/>
                </a:cubicBezTo>
                <a:cubicBezTo>
                  <a:pt x="1581" y="50"/>
                  <a:pt x="1582" y="50"/>
                  <a:pt x="1584" y="50"/>
                </a:cubicBezTo>
                <a:cubicBezTo>
                  <a:pt x="1585" y="56"/>
                  <a:pt x="1585" y="58"/>
                  <a:pt x="1585" y="59"/>
                </a:cubicBezTo>
                <a:cubicBezTo>
                  <a:pt x="1585" y="59"/>
                  <a:pt x="1584" y="60"/>
                  <a:pt x="1582" y="62"/>
                </a:cubicBezTo>
                <a:lnTo>
                  <a:pt x="1581" y="65"/>
                </a:lnTo>
                <a:cubicBezTo>
                  <a:pt x="1582" y="65"/>
                  <a:pt x="1584" y="66"/>
                  <a:pt x="1587" y="67"/>
                </a:cubicBezTo>
                <a:cubicBezTo>
                  <a:pt x="1589" y="67"/>
                  <a:pt x="1591" y="66"/>
                  <a:pt x="1591" y="64"/>
                </a:cubicBezTo>
                <a:cubicBezTo>
                  <a:pt x="1592" y="62"/>
                  <a:pt x="1593" y="60"/>
                  <a:pt x="1595" y="61"/>
                </a:cubicBezTo>
                <a:cubicBezTo>
                  <a:pt x="1597" y="61"/>
                  <a:pt x="1599" y="64"/>
                  <a:pt x="1601" y="69"/>
                </a:cubicBezTo>
                <a:cubicBezTo>
                  <a:pt x="1602" y="72"/>
                  <a:pt x="1603" y="75"/>
                  <a:pt x="1604" y="78"/>
                </a:cubicBezTo>
                <a:cubicBezTo>
                  <a:pt x="1611" y="69"/>
                  <a:pt x="1615" y="64"/>
                  <a:pt x="1616" y="64"/>
                </a:cubicBezTo>
                <a:cubicBezTo>
                  <a:pt x="1616" y="64"/>
                  <a:pt x="1617" y="64"/>
                  <a:pt x="1617" y="63"/>
                </a:cubicBezTo>
                <a:cubicBezTo>
                  <a:pt x="1620" y="61"/>
                  <a:pt x="1623" y="59"/>
                  <a:pt x="1626" y="58"/>
                </a:cubicBezTo>
                <a:cubicBezTo>
                  <a:pt x="1629" y="56"/>
                  <a:pt x="1632" y="56"/>
                  <a:pt x="1635" y="56"/>
                </a:cubicBezTo>
                <a:cubicBezTo>
                  <a:pt x="1638" y="57"/>
                  <a:pt x="1639" y="60"/>
                  <a:pt x="1639" y="65"/>
                </a:cubicBezTo>
                <a:cubicBezTo>
                  <a:pt x="1639" y="65"/>
                  <a:pt x="1636" y="70"/>
                  <a:pt x="1630" y="80"/>
                </a:cubicBezTo>
                <a:cubicBezTo>
                  <a:pt x="1630" y="81"/>
                  <a:pt x="1631" y="83"/>
                  <a:pt x="1631" y="84"/>
                </a:cubicBezTo>
                <a:cubicBezTo>
                  <a:pt x="1632" y="85"/>
                  <a:pt x="1633" y="85"/>
                  <a:pt x="1633" y="86"/>
                </a:cubicBezTo>
                <a:cubicBezTo>
                  <a:pt x="1622" y="91"/>
                  <a:pt x="1616" y="99"/>
                  <a:pt x="1616" y="108"/>
                </a:cubicBezTo>
                <a:cubicBezTo>
                  <a:pt x="1616" y="111"/>
                  <a:pt x="1613" y="116"/>
                  <a:pt x="1608" y="123"/>
                </a:cubicBezTo>
                <a:lnTo>
                  <a:pt x="1601" y="132"/>
                </a:lnTo>
                <a:cubicBezTo>
                  <a:pt x="1601" y="132"/>
                  <a:pt x="1601" y="133"/>
                  <a:pt x="1602" y="133"/>
                </a:cubicBezTo>
                <a:cubicBezTo>
                  <a:pt x="1602" y="133"/>
                  <a:pt x="1602" y="134"/>
                  <a:pt x="1602" y="134"/>
                </a:cubicBezTo>
                <a:cubicBezTo>
                  <a:pt x="1602" y="136"/>
                  <a:pt x="1601" y="137"/>
                  <a:pt x="1599" y="137"/>
                </a:cubicBezTo>
                <a:cubicBezTo>
                  <a:pt x="1599" y="139"/>
                  <a:pt x="1599" y="140"/>
                  <a:pt x="1598" y="140"/>
                </a:cubicBezTo>
                <a:cubicBezTo>
                  <a:pt x="1599" y="140"/>
                  <a:pt x="1599" y="140"/>
                  <a:pt x="1601" y="141"/>
                </a:cubicBezTo>
                <a:cubicBezTo>
                  <a:pt x="1602" y="141"/>
                  <a:pt x="1603" y="140"/>
                  <a:pt x="1604" y="139"/>
                </a:cubicBezTo>
                <a:lnTo>
                  <a:pt x="1609" y="140"/>
                </a:lnTo>
                <a:cubicBezTo>
                  <a:pt x="1608" y="141"/>
                  <a:pt x="1608" y="142"/>
                  <a:pt x="1608" y="143"/>
                </a:cubicBezTo>
                <a:cubicBezTo>
                  <a:pt x="1609" y="149"/>
                  <a:pt x="1610" y="152"/>
                  <a:pt x="1610" y="153"/>
                </a:cubicBezTo>
                <a:cubicBezTo>
                  <a:pt x="1610" y="153"/>
                  <a:pt x="1609" y="154"/>
                  <a:pt x="1608" y="155"/>
                </a:cubicBezTo>
                <a:cubicBezTo>
                  <a:pt x="1606" y="156"/>
                  <a:pt x="1606" y="156"/>
                  <a:pt x="1606" y="157"/>
                </a:cubicBezTo>
                <a:cubicBezTo>
                  <a:pt x="1606" y="166"/>
                  <a:pt x="1607" y="172"/>
                  <a:pt x="1607" y="174"/>
                </a:cubicBezTo>
                <a:cubicBezTo>
                  <a:pt x="1602" y="183"/>
                  <a:pt x="1599" y="190"/>
                  <a:pt x="1599" y="194"/>
                </a:cubicBezTo>
                <a:cubicBezTo>
                  <a:pt x="1598" y="197"/>
                  <a:pt x="1599" y="204"/>
                  <a:pt x="1600" y="212"/>
                </a:cubicBezTo>
                <a:cubicBezTo>
                  <a:pt x="1601" y="213"/>
                  <a:pt x="1602" y="213"/>
                  <a:pt x="1602" y="214"/>
                </a:cubicBezTo>
                <a:cubicBezTo>
                  <a:pt x="1602" y="210"/>
                  <a:pt x="1603" y="206"/>
                  <a:pt x="1605" y="202"/>
                </a:cubicBezTo>
                <a:cubicBezTo>
                  <a:pt x="1607" y="203"/>
                  <a:pt x="1609" y="205"/>
                  <a:pt x="1610" y="209"/>
                </a:cubicBezTo>
                <a:cubicBezTo>
                  <a:pt x="1611" y="212"/>
                  <a:pt x="1612" y="214"/>
                  <a:pt x="1613" y="215"/>
                </a:cubicBezTo>
                <a:cubicBezTo>
                  <a:pt x="1615" y="210"/>
                  <a:pt x="1617" y="201"/>
                  <a:pt x="1620" y="190"/>
                </a:cubicBezTo>
                <a:cubicBezTo>
                  <a:pt x="1623" y="180"/>
                  <a:pt x="1627" y="173"/>
                  <a:pt x="1632" y="170"/>
                </a:cubicBezTo>
                <a:cubicBezTo>
                  <a:pt x="1630" y="169"/>
                  <a:pt x="1629" y="168"/>
                  <a:pt x="1628" y="166"/>
                </a:cubicBezTo>
                <a:cubicBezTo>
                  <a:pt x="1627" y="164"/>
                  <a:pt x="1627" y="163"/>
                  <a:pt x="1627" y="161"/>
                </a:cubicBezTo>
                <a:cubicBezTo>
                  <a:pt x="1628" y="158"/>
                  <a:pt x="1630" y="150"/>
                  <a:pt x="1635" y="138"/>
                </a:cubicBezTo>
                <a:cubicBezTo>
                  <a:pt x="1640" y="127"/>
                  <a:pt x="1643" y="121"/>
                  <a:pt x="1644" y="118"/>
                </a:cubicBezTo>
                <a:cubicBezTo>
                  <a:pt x="1645" y="117"/>
                  <a:pt x="1647" y="115"/>
                  <a:pt x="1652" y="112"/>
                </a:cubicBezTo>
                <a:cubicBezTo>
                  <a:pt x="1655" y="109"/>
                  <a:pt x="1657" y="105"/>
                  <a:pt x="1656" y="100"/>
                </a:cubicBezTo>
                <a:cubicBezTo>
                  <a:pt x="1656" y="94"/>
                  <a:pt x="1657" y="86"/>
                  <a:pt x="1660" y="75"/>
                </a:cubicBezTo>
                <a:cubicBezTo>
                  <a:pt x="1660" y="75"/>
                  <a:pt x="1661" y="72"/>
                  <a:pt x="1664" y="68"/>
                </a:cubicBezTo>
                <a:cubicBezTo>
                  <a:pt x="1667" y="63"/>
                  <a:pt x="1670" y="59"/>
                  <a:pt x="1673" y="56"/>
                </a:cubicBezTo>
                <a:cubicBezTo>
                  <a:pt x="1677" y="51"/>
                  <a:pt x="1681" y="45"/>
                  <a:pt x="1685" y="39"/>
                </a:cubicBezTo>
                <a:cubicBezTo>
                  <a:pt x="1688" y="39"/>
                  <a:pt x="1690" y="41"/>
                  <a:pt x="1690" y="45"/>
                </a:cubicBezTo>
                <a:cubicBezTo>
                  <a:pt x="1690" y="49"/>
                  <a:pt x="1690" y="53"/>
                  <a:pt x="1691" y="55"/>
                </a:cubicBezTo>
                <a:cubicBezTo>
                  <a:pt x="1693" y="60"/>
                  <a:pt x="1694" y="63"/>
                  <a:pt x="1694" y="64"/>
                </a:cubicBezTo>
                <a:cubicBezTo>
                  <a:pt x="1694" y="66"/>
                  <a:pt x="1694" y="68"/>
                  <a:pt x="1694" y="73"/>
                </a:cubicBezTo>
                <a:cubicBezTo>
                  <a:pt x="1693" y="79"/>
                  <a:pt x="1692" y="83"/>
                  <a:pt x="1690" y="84"/>
                </a:cubicBezTo>
                <a:cubicBezTo>
                  <a:pt x="1686" y="88"/>
                  <a:pt x="1682" y="92"/>
                  <a:pt x="1679" y="98"/>
                </a:cubicBezTo>
                <a:cubicBezTo>
                  <a:pt x="1681" y="98"/>
                  <a:pt x="1684" y="97"/>
                  <a:pt x="1689" y="96"/>
                </a:cubicBezTo>
                <a:cubicBezTo>
                  <a:pt x="1691" y="96"/>
                  <a:pt x="1694" y="107"/>
                  <a:pt x="1695" y="129"/>
                </a:cubicBezTo>
                <a:cubicBezTo>
                  <a:pt x="1693" y="134"/>
                  <a:pt x="1692" y="137"/>
                  <a:pt x="1692" y="138"/>
                </a:cubicBezTo>
                <a:cubicBezTo>
                  <a:pt x="1692" y="144"/>
                  <a:pt x="1693" y="147"/>
                  <a:pt x="1696" y="148"/>
                </a:cubicBezTo>
                <a:cubicBezTo>
                  <a:pt x="1697" y="148"/>
                  <a:pt x="1698" y="147"/>
                  <a:pt x="1701" y="146"/>
                </a:cubicBezTo>
                <a:cubicBezTo>
                  <a:pt x="1700" y="144"/>
                  <a:pt x="1699" y="142"/>
                  <a:pt x="1700" y="139"/>
                </a:cubicBezTo>
                <a:cubicBezTo>
                  <a:pt x="1700" y="138"/>
                  <a:pt x="1701" y="136"/>
                  <a:pt x="1702" y="134"/>
                </a:cubicBezTo>
                <a:cubicBezTo>
                  <a:pt x="1705" y="129"/>
                  <a:pt x="1712" y="126"/>
                  <a:pt x="1724" y="124"/>
                </a:cubicBezTo>
                <a:lnTo>
                  <a:pt x="1724" y="123"/>
                </a:lnTo>
                <a:cubicBezTo>
                  <a:pt x="1724" y="122"/>
                  <a:pt x="1723" y="120"/>
                  <a:pt x="1721" y="116"/>
                </a:cubicBezTo>
                <a:cubicBezTo>
                  <a:pt x="1718" y="113"/>
                  <a:pt x="1717" y="109"/>
                  <a:pt x="1718" y="105"/>
                </a:cubicBezTo>
                <a:cubicBezTo>
                  <a:pt x="1718" y="101"/>
                  <a:pt x="1719" y="100"/>
                  <a:pt x="1720" y="100"/>
                </a:cubicBezTo>
                <a:cubicBezTo>
                  <a:pt x="1721" y="100"/>
                  <a:pt x="1724" y="100"/>
                  <a:pt x="1730" y="101"/>
                </a:cubicBezTo>
                <a:cubicBezTo>
                  <a:pt x="1727" y="98"/>
                  <a:pt x="1726" y="96"/>
                  <a:pt x="1725" y="96"/>
                </a:cubicBezTo>
                <a:cubicBezTo>
                  <a:pt x="1724" y="94"/>
                  <a:pt x="1724" y="92"/>
                  <a:pt x="1724" y="89"/>
                </a:cubicBezTo>
                <a:cubicBezTo>
                  <a:pt x="1724" y="88"/>
                  <a:pt x="1725" y="86"/>
                  <a:pt x="1726" y="84"/>
                </a:cubicBezTo>
                <a:cubicBezTo>
                  <a:pt x="1726" y="83"/>
                  <a:pt x="1726" y="81"/>
                  <a:pt x="1724" y="78"/>
                </a:cubicBezTo>
                <a:cubicBezTo>
                  <a:pt x="1723" y="75"/>
                  <a:pt x="1722" y="73"/>
                  <a:pt x="1721" y="72"/>
                </a:cubicBezTo>
                <a:cubicBezTo>
                  <a:pt x="1722" y="71"/>
                  <a:pt x="1724" y="69"/>
                  <a:pt x="1728" y="68"/>
                </a:cubicBezTo>
                <a:cubicBezTo>
                  <a:pt x="1731" y="67"/>
                  <a:pt x="1732" y="65"/>
                  <a:pt x="1733" y="63"/>
                </a:cubicBezTo>
                <a:cubicBezTo>
                  <a:pt x="1733" y="59"/>
                  <a:pt x="1735" y="57"/>
                  <a:pt x="1738" y="57"/>
                </a:cubicBezTo>
                <a:cubicBezTo>
                  <a:pt x="1739" y="57"/>
                  <a:pt x="1742" y="57"/>
                  <a:pt x="1747" y="57"/>
                </a:cubicBezTo>
                <a:lnTo>
                  <a:pt x="1748" y="57"/>
                </a:lnTo>
                <a:cubicBezTo>
                  <a:pt x="1746" y="55"/>
                  <a:pt x="1745" y="54"/>
                  <a:pt x="1744" y="53"/>
                </a:cubicBezTo>
                <a:cubicBezTo>
                  <a:pt x="1743" y="51"/>
                  <a:pt x="1743" y="49"/>
                  <a:pt x="1745" y="47"/>
                </a:cubicBezTo>
                <a:lnTo>
                  <a:pt x="1736" y="46"/>
                </a:lnTo>
                <a:cubicBezTo>
                  <a:pt x="1733" y="45"/>
                  <a:pt x="1729" y="44"/>
                  <a:pt x="1726" y="42"/>
                </a:cubicBezTo>
                <a:cubicBezTo>
                  <a:pt x="1722" y="39"/>
                  <a:pt x="1720" y="36"/>
                  <a:pt x="1719" y="32"/>
                </a:cubicBezTo>
                <a:lnTo>
                  <a:pt x="1726" y="33"/>
                </a:lnTo>
                <a:lnTo>
                  <a:pt x="1727" y="32"/>
                </a:lnTo>
                <a:cubicBezTo>
                  <a:pt x="1725" y="27"/>
                  <a:pt x="1724" y="24"/>
                  <a:pt x="1723" y="23"/>
                </a:cubicBezTo>
                <a:lnTo>
                  <a:pt x="1724" y="17"/>
                </a:lnTo>
                <a:lnTo>
                  <a:pt x="1726" y="17"/>
                </a:lnTo>
                <a:cubicBezTo>
                  <a:pt x="1727" y="17"/>
                  <a:pt x="1729" y="18"/>
                  <a:pt x="1732" y="21"/>
                </a:cubicBezTo>
                <a:cubicBezTo>
                  <a:pt x="1735" y="23"/>
                  <a:pt x="1737" y="25"/>
                  <a:pt x="1737" y="26"/>
                </a:cubicBezTo>
                <a:cubicBezTo>
                  <a:pt x="1740" y="26"/>
                  <a:pt x="1741" y="24"/>
                  <a:pt x="1742" y="21"/>
                </a:cubicBezTo>
                <a:cubicBezTo>
                  <a:pt x="1742" y="19"/>
                  <a:pt x="1741" y="17"/>
                  <a:pt x="1740" y="14"/>
                </a:cubicBezTo>
                <a:cubicBezTo>
                  <a:pt x="1739" y="11"/>
                  <a:pt x="1738" y="9"/>
                  <a:pt x="1738" y="8"/>
                </a:cubicBezTo>
                <a:cubicBezTo>
                  <a:pt x="1739" y="7"/>
                  <a:pt x="1739" y="5"/>
                  <a:pt x="1741" y="3"/>
                </a:cubicBezTo>
                <a:cubicBezTo>
                  <a:pt x="1742" y="1"/>
                  <a:pt x="1744" y="0"/>
                  <a:pt x="1746" y="0"/>
                </a:cubicBezTo>
                <a:cubicBezTo>
                  <a:pt x="1746" y="0"/>
                  <a:pt x="1746" y="2"/>
                  <a:pt x="1746" y="5"/>
                </a:cubicBezTo>
                <a:cubicBezTo>
                  <a:pt x="1746" y="8"/>
                  <a:pt x="1747" y="8"/>
                  <a:pt x="1749" y="9"/>
                </a:cubicBezTo>
                <a:cubicBezTo>
                  <a:pt x="1752" y="9"/>
                  <a:pt x="1760" y="7"/>
                  <a:pt x="1774" y="1"/>
                </a:cubicBezTo>
                <a:lnTo>
                  <a:pt x="1783" y="2"/>
                </a:lnTo>
                <a:lnTo>
                  <a:pt x="1783" y="3"/>
                </a:lnTo>
                <a:cubicBezTo>
                  <a:pt x="1783" y="4"/>
                  <a:pt x="1783" y="6"/>
                  <a:pt x="1782" y="8"/>
                </a:cubicBezTo>
                <a:cubicBezTo>
                  <a:pt x="1781" y="10"/>
                  <a:pt x="1780" y="12"/>
                  <a:pt x="1780" y="14"/>
                </a:cubicBezTo>
                <a:cubicBezTo>
                  <a:pt x="1780" y="15"/>
                  <a:pt x="1781" y="17"/>
                  <a:pt x="1780" y="19"/>
                </a:cubicBezTo>
                <a:cubicBezTo>
                  <a:pt x="1781" y="18"/>
                  <a:pt x="1787" y="17"/>
                  <a:pt x="1797" y="14"/>
                </a:cubicBezTo>
                <a:cubicBezTo>
                  <a:pt x="1799" y="15"/>
                  <a:pt x="1800" y="17"/>
                  <a:pt x="1802" y="21"/>
                </a:cubicBezTo>
                <a:cubicBezTo>
                  <a:pt x="1804" y="25"/>
                  <a:pt x="1805" y="28"/>
                  <a:pt x="1805" y="29"/>
                </a:cubicBezTo>
                <a:cubicBezTo>
                  <a:pt x="1805" y="30"/>
                  <a:pt x="1803" y="32"/>
                  <a:pt x="1801" y="35"/>
                </a:cubicBezTo>
                <a:cubicBezTo>
                  <a:pt x="1799" y="38"/>
                  <a:pt x="1797" y="41"/>
                  <a:pt x="1797" y="42"/>
                </a:cubicBezTo>
                <a:cubicBezTo>
                  <a:pt x="1796" y="49"/>
                  <a:pt x="1793" y="52"/>
                  <a:pt x="1788" y="52"/>
                </a:cubicBezTo>
                <a:cubicBezTo>
                  <a:pt x="1777" y="51"/>
                  <a:pt x="1768" y="53"/>
                  <a:pt x="1760" y="59"/>
                </a:cubicBezTo>
                <a:cubicBezTo>
                  <a:pt x="1762" y="60"/>
                  <a:pt x="1765" y="60"/>
                  <a:pt x="1770" y="60"/>
                </a:cubicBezTo>
                <a:cubicBezTo>
                  <a:pt x="1773" y="60"/>
                  <a:pt x="1777" y="63"/>
                  <a:pt x="1783" y="69"/>
                </a:cubicBezTo>
                <a:cubicBezTo>
                  <a:pt x="1781" y="73"/>
                  <a:pt x="1778" y="76"/>
                  <a:pt x="1773" y="80"/>
                </a:cubicBezTo>
                <a:cubicBezTo>
                  <a:pt x="1768" y="85"/>
                  <a:pt x="1763" y="89"/>
                  <a:pt x="1760" y="92"/>
                </a:cubicBezTo>
                <a:lnTo>
                  <a:pt x="1762" y="93"/>
                </a:lnTo>
                <a:cubicBezTo>
                  <a:pt x="1762" y="93"/>
                  <a:pt x="1768" y="90"/>
                  <a:pt x="1777" y="84"/>
                </a:cubicBezTo>
                <a:cubicBezTo>
                  <a:pt x="1781" y="81"/>
                  <a:pt x="1784" y="79"/>
                  <a:pt x="1788" y="77"/>
                </a:cubicBezTo>
                <a:cubicBezTo>
                  <a:pt x="1789" y="76"/>
                  <a:pt x="1790" y="75"/>
                  <a:pt x="1791" y="75"/>
                </a:cubicBezTo>
                <a:cubicBezTo>
                  <a:pt x="1793" y="75"/>
                  <a:pt x="1795" y="79"/>
                  <a:pt x="1795" y="86"/>
                </a:cubicBezTo>
                <a:cubicBezTo>
                  <a:pt x="1795" y="88"/>
                  <a:pt x="1792" y="93"/>
                  <a:pt x="1787" y="99"/>
                </a:cubicBezTo>
                <a:cubicBezTo>
                  <a:pt x="1782" y="105"/>
                  <a:pt x="1778" y="110"/>
                  <a:pt x="1776" y="112"/>
                </a:cubicBezTo>
                <a:lnTo>
                  <a:pt x="1775" y="120"/>
                </a:lnTo>
                <a:cubicBezTo>
                  <a:pt x="1776" y="120"/>
                  <a:pt x="1776" y="120"/>
                  <a:pt x="1776" y="121"/>
                </a:cubicBezTo>
                <a:cubicBezTo>
                  <a:pt x="1776" y="120"/>
                  <a:pt x="1779" y="119"/>
                  <a:pt x="1783" y="116"/>
                </a:cubicBezTo>
                <a:cubicBezTo>
                  <a:pt x="1786" y="114"/>
                  <a:pt x="1789" y="112"/>
                  <a:pt x="1792" y="111"/>
                </a:cubicBezTo>
                <a:lnTo>
                  <a:pt x="1791" y="118"/>
                </a:lnTo>
                <a:cubicBezTo>
                  <a:pt x="1793" y="117"/>
                  <a:pt x="1794" y="116"/>
                  <a:pt x="1797" y="113"/>
                </a:cubicBezTo>
                <a:cubicBezTo>
                  <a:pt x="1799" y="110"/>
                  <a:pt x="1802" y="109"/>
                  <a:pt x="1805" y="110"/>
                </a:cubicBezTo>
                <a:cubicBezTo>
                  <a:pt x="1804" y="112"/>
                  <a:pt x="1803" y="114"/>
                  <a:pt x="1803" y="116"/>
                </a:cubicBezTo>
                <a:cubicBezTo>
                  <a:pt x="1804" y="118"/>
                  <a:pt x="1804" y="120"/>
                  <a:pt x="1804" y="121"/>
                </a:cubicBezTo>
                <a:cubicBezTo>
                  <a:pt x="1801" y="127"/>
                  <a:pt x="1800" y="130"/>
                  <a:pt x="1800" y="131"/>
                </a:cubicBezTo>
                <a:lnTo>
                  <a:pt x="1802" y="140"/>
                </a:lnTo>
                <a:cubicBezTo>
                  <a:pt x="1803" y="133"/>
                  <a:pt x="1806" y="124"/>
                  <a:pt x="1811" y="111"/>
                </a:cubicBezTo>
                <a:lnTo>
                  <a:pt x="1820" y="112"/>
                </a:lnTo>
                <a:cubicBezTo>
                  <a:pt x="1820" y="112"/>
                  <a:pt x="1818" y="108"/>
                  <a:pt x="1814" y="100"/>
                </a:cubicBezTo>
                <a:cubicBezTo>
                  <a:pt x="1811" y="93"/>
                  <a:pt x="1809" y="89"/>
                  <a:pt x="1809" y="88"/>
                </a:cubicBezTo>
                <a:cubicBezTo>
                  <a:pt x="1809" y="87"/>
                  <a:pt x="1810" y="84"/>
                  <a:pt x="1811" y="78"/>
                </a:cubicBezTo>
                <a:cubicBezTo>
                  <a:pt x="1812" y="77"/>
                  <a:pt x="1812" y="72"/>
                  <a:pt x="1812" y="63"/>
                </a:cubicBezTo>
                <a:cubicBezTo>
                  <a:pt x="1812" y="58"/>
                  <a:pt x="1815" y="52"/>
                  <a:pt x="1819" y="44"/>
                </a:cubicBezTo>
                <a:cubicBezTo>
                  <a:pt x="1824" y="35"/>
                  <a:pt x="1829" y="31"/>
                  <a:pt x="1833" y="31"/>
                </a:cubicBezTo>
                <a:cubicBezTo>
                  <a:pt x="1836" y="31"/>
                  <a:pt x="1842" y="34"/>
                  <a:pt x="1850" y="37"/>
                </a:cubicBezTo>
                <a:cubicBezTo>
                  <a:pt x="1859" y="42"/>
                  <a:pt x="1863" y="45"/>
                  <a:pt x="1863" y="46"/>
                </a:cubicBezTo>
                <a:cubicBezTo>
                  <a:pt x="1863" y="47"/>
                  <a:pt x="1862" y="49"/>
                  <a:pt x="1860" y="51"/>
                </a:cubicBezTo>
                <a:cubicBezTo>
                  <a:pt x="1858" y="54"/>
                  <a:pt x="1857" y="56"/>
                  <a:pt x="1857" y="57"/>
                </a:cubicBezTo>
                <a:cubicBezTo>
                  <a:pt x="1857" y="57"/>
                  <a:pt x="1859" y="57"/>
                  <a:pt x="1861" y="56"/>
                </a:cubicBezTo>
                <a:cubicBezTo>
                  <a:pt x="1863" y="57"/>
                  <a:pt x="1864" y="58"/>
                  <a:pt x="1865" y="60"/>
                </a:cubicBezTo>
                <a:cubicBezTo>
                  <a:pt x="1864" y="62"/>
                  <a:pt x="1864" y="64"/>
                  <a:pt x="1865" y="65"/>
                </a:cubicBezTo>
                <a:cubicBezTo>
                  <a:pt x="1872" y="56"/>
                  <a:pt x="1881" y="51"/>
                  <a:pt x="1890" y="49"/>
                </a:cubicBezTo>
                <a:cubicBezTo>
                  <a:pt x="1891" y="60"/>
                  <a:pt x="1892" y="68"/>
                  <a:pt x="1892" y="72"/>
                </a:cubicBezTo>
                <a:cubicBezTo>
                  <a:pt x="1894" y="69"/>
                  <a:pt x="1896" y="64"/>
                  <a:pt x="1899" y="58"/>
                </a:cubicBezTo>
                <a:cubicBezTo>
                  <a:pt x="1901" y="54"/>
                  <a:pt x="1904" y="52"/>
                  <a:pt x="1909" y="52"/>
                </a:cubicBezTo>
                <a:cubicBezTo>
                  <a:pt x="1913" y="53"/>
                  <a:pt x="1915" y="55"/>
                  <a:pt x="1914" y="60"/>
                </a:cubicBezTo>
                <a:lnTo>
                  <a:pt x="1914" y="63"/>
                </a:lnTo>
                <a:cubicBezTo>
                  <a:pt x="1916" y="64"/>
                  <a:pt x="1919" y="65"/>
                  <a:pt x="1923" y="68"/>
                </a:cubicBezTo>
                <a:cubicBezTo>
                  <a:pt x="1927" y="70"/>
                  <a:pt x="1928" y="72"/>
                  <a:pt x="1928" y="73"/>
                </a:cubicBezTo>
                <a:cubicBezTo>
                  <a:pt x="1928" y="75"/>
                  <a:pt x="1926" y="78"/>
                  <a:pt x="1922" y="80"/>
                </a:cubicBezTo>
                <a:cubicBezTo>
                  <a:pt x="1919" y="83"/>
                  <a:pt x="1917" y="84"/>
                  <a:pt x="1917" y="84"/>
                </a:cubicBezTo>
                <a:lnTo>
                  <a:pt x="1917" y="86"/>
                </a:lnTo>
                <a:cubicBezTo>
                  <a:pt x="1917" y="86"/>
                  <a:pt x="1918" y="86"/>
                  <a:pt x="1919" y="87"/>
                </a:cubicBezTo>
                <a:cubicBezTo>
                  <a:pt x="1920" y="87"/>
                  <a:pt x="1923" y="85"/>
                  <a:pt x="1928" y="82"/>
                </a:cubicBezTo>
                <a:cubicBezTo>
                  <a:pt x="1932" y="79"/>
                  <a:pt x="1935" y="78"/>
                  <a:pt x="1937" y="78"/>
                </a:cubicBezTo>
                <a:cubicBezTo>
                  <a:pt x="1941" y="78"/>
                  <a:pt x="1949" y="84"/>
                  <a:pt x="1961" y="96"/>
                </a:cubicBezTo>
                <a:cubicBezTo>
                  <a:pt x="1961" y="96"/>
                  <a:pt x="1964" y="95"/>
                  <a:pt x="1968" y="93"/>
                </a:cubicBezTo>
                <a:cubicBezTo>
                  <a:pt x="1971" y="93"/>
                  <a:pt x="1975" y="96"/>
                  <a:pt x="1979" y="101"/>
                </a:cubicBezTo>
                <a:cubicBezTo>
                  <a:pt x="1984" y="107"/>
                  <a:pt x="1987" y="112"/>
                  <a:pt x="1986" y="116"/>
                </a:cubicBezTo>
                <a:cubicBezTo>
                  <a:pt x="1986" y="118"/>
                  <a:pt x="1980" y="122"/>
                  <a:pt x="1968" y="128"/>
                </a:cubicBezTo>
                <a:cubicBezTo>
                  <a:pt x="1955" y="135"/>
                  <a:pt x="1948" y="141"/>
                  <a:pt x="1947" y="145"/>
                </a:cubicBezTo>
                <a:cubicBezTo>
                  <a:pt x="1945" y="153"/>
                  <a:pt x="1944" y="157"/>
                  <a:pt x="1943" y="158"/>
                </a:cubicBezTo>
                <a:cubicBezTo>
                  <a:pt x="1941" y="163"/>
                  <a:pt x="1938" y="166"/>
                  <a:pt x="1933" y="169"/>
                </a:cubicBezTo>
                <a:cubicBezTo>
                  <a:pt x="1927" y="172"/>
                  <a:pt x="1923" y="174"/>
                  <a:pt x="1920" y="175"/>
                </a:cubicBezTo>
                <a:cubicBezTo>
                  <a:pt x="1915" y="177"/>
                  <a:pt x="1910" y="178"/>
                  <a:pt x="1907" y="178"/>
                </a:cubicBezTo>
                <a:cubicBezTo>
                  <a:pt x="1885" y="173"/>
                  <a:pt x="1871" y="171"/>
                  <a:pt x="1866" y="171"/>
                </a:cubicBezTo>
                <a:lnTo>
                  <a:pt x="1846" y="170"/>
                </a:lnTo>
                <a:cubicBezTo>
                  <a:pt x="1843" y="168"/>
                  <a:pt x="1841" y="167"/>
                  <a:pt x="1839" y="167"/>
                </a:cubicBezTo>
                <a:cubicBezTo>
                  <a:pt x="1837" y="167"/>
                  <a:pt x="1835" y="168"/>
                  <a:pt x="1833" y="172"/>
                </a:cubicBezTo>
                <a:lnTo>
                  <a:pt x="1839" y="172"/>
                </a:lnTo>
                <a:cubicBezTo>
                  <a:pt x="1840" y="172"/>
                  <a:pt x="1840" y="173"/>
                  <a:pt x="1840" y="174"/>
                </a:cubicBezTo>
                <a:cubicBezTo>
                  <a:pt x="1839" y="175"/>
                  <a:pt x="1837" y="177"/>
                  <a:pt x="1836" y="179"/>
                </a:cubicBezTo>
                <a:lnTo>
                  <a:pt x="1836" y="182"/>
                </a:lnTo>
                <a:cubicBezTo>
                  <a:pt x="1836" y="182"/>
                  <a:pt x="1836" y="182"/>
                  <a:pt x="1836" y="182"/>
                </a:cubicBezTo>
                <a:cubicBezTo>
                  <a:pt x="1839" y="182"/>
                  <a:pt x="1843" y="182"/>
                  <a:pt x="1850" y="183"/>
                </a:cubicBezTo>
                <a:cubicBezTo>
                  <a:pt x="1865" y="184"/>
                  <a:pt x="1874" y="187"/>
                  <a:pt x="1876" y="190"/>
                </a:cubicBezTo>
                <a:cubicBezTo>
                  <a:pt x="1878" y="192"/>
                  <a:pt x="1881" y="193"/>
                  <a:pt x="1888" y="193"/>
                </a:cubicBezTo>
                <a:cubicBezTo>
                  <a:pt x="1896" y="194"/>
                  <a:pt x="1900" y="194"/>
                  <a:pt x="1902" y="195"/>
                </a:cubicBezTo>
                <a:cubicBezTo>
                  <a:pt x="1901" y="195"/>
                  <a:pt x="1900" y="198"/>
                  <a:pt x="1900" y="201"/>
                </a:cubicBezTo>
                <a:cubicBezTo>
                  <a:pt x="1900" y="205"/>
                  <a:pt x="1899" y="208"/>
                  <a:pt x="1899" y="208"/>
                </a:cubicBezTo>
                <a:cubicBezTo>
                  <a:pt x="1896" y="213"/>
                  <a:pt x="1894" y="217"/>
                  <a:pt x="1893" y="219"/>
                </a:cubicBezTo>
                <a:lnTo>
                  <a:pt x="1893" y="219"/>
                </a:lnTo>
                <a:cubicBezTo>
                  <a:pt x="1895" y="218"/>
                  <a:pt x="1897" y="215"/>
                  <a:pt x="1901" y="211"/>
                </a:cubicBezTo>
                <a:cubicBezTo>
                  <a:pt x="1904" y="208"/>
                  <a:pt x="1907" y="206"/>
                  <a:pt x="1910" y="207"/>
                </a:cubicBezTo>
                <a:cubicBezTo>
                  <a:pt x="1912" y="207"/>
                  <a:pt x="1914" y="210"/>
                  <a:pt x="1915" y="214"/>
                </a:cubicBezTo>
                <a:cubicBezTo>
                  <a:pt x="1916" y="218"/>
                  <a:pt x="1916" y="222"/>
                  <a:pt x="1916" y="226"/>
                </a:cubicBezTo>
                <a:cubicBezTo>
                  <a:pt x="1915" y="232"/>
                  <a:pt x="1913" y="237"/>
                  <a:pt x="1910" y="241"/>
                </a:cubicBezTo>
                <a:lnTo>
                  <a:pt x="1910" y="245"/>
                </a:lnTo>
                <a:cubicBezTo>
                  <a:pt x="1917" y="239"/>
                  <a:pt x="1920" y="235"/>
                  <a:pt x="1920" y="235"/>
                </a:cubicBezTo>
                <a:cubicBezTo>
                  <a:pt x="1923" y="233"/>
                  <a:pt x="1927" y="232"/>
                  <a:pt x="1930" y="231"/>
                </a:cubicBezTo>
                <a:cubicBezTo>
                  <a:pt x="1931" y="231"/>
                  <a:pt x="1931" y="231"/>
                  <a:pt x="1931" y="231"/>
                </a:cubicBezTo>
                <a:cubicBezTo>
                  <a:pt x="1932" y="232"/>
                  <a:pt x="1933" y="233"/>
                  <a:pt x="1933" y="235"/>
                </a:cubicBezTo>
                <a:cubicBezTo>
                  <a:pt x="1933" y="237"/>
                  <a:pt x="1934" y="239"/>
                  <a:pt x="1934" y="239"/>
                </a:cubicBezTo>
                <a:cubicBezTo>
                  <a:pt x="1936" y="239"/>
                  <a:pt x="1937" y="239"/>
                  <a:pt x="1938" y="237"/>
                </a:cubicBezTo>
                <a:cubicBezTo>
                  <a:pt x="1939" y="234"/>
                  <a:pt x="1940" y="233"/>
                  <a:pt x="1940" y="233"/>
                </a:cubicBezTo>
                <a:cubicBezTo>
                  <a:pt x="1941" y="233"/>
                  <a:pt x="1943" y="235"/>
                  <a:pt x="1948" y="239"/>
                </a:cubicBezTo>
                <a:cubicBezTo>
                  <a:pt x="1949" y="238"/>
                  <a:pt x="1950" y="237"/>
                  <a:pt x="1950" y="236"/>
                </a:cubicBezTo>
                <a:cubicBezTo>
                  <a:pt x="1950" y="236"/>
                  <a:pt x="1948" y="228"/>
                  <a:pt x="1945" y="213"/>
                </a:cubicBezTo>
                <a:cubicBezTo>
                  <a:pt x="1944" y="210"/>
                  <a:pt x="1943" y="207"/>
                  <a:pt x="1942" y="203"/>
                </a:cubicBezTo>
                <a:cubicBezTo>
                  <a:pt x="1943" y="203"/>
                  <a:pt x="1944" y="203"/>
                  <a:pt x="1945" y="203"/>
                </a:cubicBezTo>
                <a:cubicBezTo>
                  <a:pt x="1953" y="204"/>
                  <a:pt x="1958" y="208"/>
                  <a:pt x="1962" y="215"/>
                </a:cubicBezTo>
                <a:cubicBezTo>
                  <a:pt x="1963" y="220"/>
                  <a:pt x="1966" y="226"/>
                  <a:pt x="1968" y="235"/>
                </a:cubicBezTo>
                <a:cubicBezTo>
                  <a:pt x="1967" y="227"/>
                  <a:pt x="1967" y="222"/>
                  <a:pt x="1967" y="219"/>
                </a:cubicBezTo>
                <a:cubicBezTo>
                  <a:pt x="1967" y="216"/>
                  <a:pt x="1968" y="214"/>
                  <a:pt x="1968" y="214"/>
                </a:cubicBezTo>
                <a:cubicBezTo>
                  <a:pt x="1969" y="214"/>
                  <a:pt x="1971" y="214"/>
                  <a:pt x="1977" y="214"/>
                </a:cubicBezTo>
                <a:cubicBezTo>
                  <a:pt x="1979" y="214"/>
                  <a:pt x="1983" y="215"/>
                  <a:pt x="1988" y="215"/>
                </a:cubicBezTo>
                <a:cubicBezTo>
                  <a:pt x="1988" y="215"/>
                  <a:pt x="1988" y="215"/>
                  <a:pt x="1989" y="215"/>
                </a:cubicBezTo>
                <a:cubicBezTo>
                  <a:pt x="1993" y="230"/>
                  <a:pt x="1996" y="243"/>
                  <a:pt x="1995" y="252"/>
                </a:cubicBezTo>
                <a:cubicBezTo>
                  <a:pt x="1994" y="258"/>
                  <a:pt x="1993" y="261"/>
                  <a:pt x="1990" y="262"/>
                </a:cubicBezTo>
                <a:cubicBezTo>
                  <a:pt x="1989" y="263"/>
                  <a:pt x="1985" y="263"/>
                  <a:pt x="1978" y="262"/>
                </a:cubicBezTo>
                <a:cubicBezTo>
                  <a:pt x="1974" y="262"/>
                  <a:pt x="1969" y="260"/>
                  <a:pt x="1964" y="256"/>
                </a:cubicBezTo>
                <a:cubicBezTo>
                  <a:pt x="1959" y="253"/>
                  <a:pt x="1954" y="250"/>
                  <a:pt x="1951" y="249"/>
                </a:cubicBezTo>
                <a:cubicBezTo>
                  <a:pt x="1950" y="249"/>
                  <a:pt x="1950" y="250"/>
                  <a:pt x="1950" y="251"/>
                </a:cubicBezTo>
                <a:cubicBezTo>
                  <a:pt x="1951" y="263"/>
                  <a:pt x="1952" y="269"/>
                  <a:pt x="1951" y="270"/>
                </a:cubicBezTo>
                <a:cubicBezTo>
                  <a:pt x="1950" y="286"/>
                  <a:pt x="1942" y="299"/>
                  <a:pt x="1928" y="308"/>
                </a:cubicBezTo>
                <a:cubicBezTo>
                  <a:pt x="1921" y="312"/>
                  <a:pt x="1916" y="315"/>
                  <a:pt x="1913" y="317"/>
                </a:cubicBezTo>
                <a:cubicBezTo>
                  <a:pt x="1909" y="320"/>
                  <a:pt x="1906" y="324"/>
                  <a:pt x="1906" y="328"/>
                </a:cubicBezTo>
                <a:cubicBezTo>
                  <a:pt x="1907" y="338"/>
                  <a:pt x="1907" y="345"/>
                  <a:pt x="1907" y="348"/>
                </a:cubicBezTo>
                <a:cubicBezTo>
                  <a:pt x="1906" y="358"/>
                  <a:pt x="1905" y="366"/>
                  <a:pt x="1904" y="371"/>
                </a:cubicBezTo>
                <a:cubicBezTo>
                  <a:pt x="1903" y="374"/>
                  <a:pt x="1901" y="376"/>
                  <a:pt x="1897" y="378"/>
                </a:cubicBezTo>
                <a:cubicBezTo>
                  <a:pt x="1893" y="379"/>
                  <a:pt x="1891" y="380"/>
                  <a:pt x="1889" y="381"/>
                </a:cubicBezTo>
                <a:cubicBezTo>
                  <a:pt x="1889" y="381"/>
                  <a:pt x="1889" y="380"/>
                  <a:pt x="1889" y="380"/>
                </a:cubicBezTo>
                <a:cubicBezTo>
                  <a:pt x="1884" y="375"/>
                  <a:pt x="1881" y="371"/>
                  <a:pt x="1879" y="370"/>
                </a:cubicBezTo>
                <a:cubicBezTo>
                  <a:pt x="1877" y="367"/>
                  <a:pt x="1876" y="365"/>
                  <a:pt x="1876" y="362"/>
                </a:cubicBezTo>
                <a:cubicBezTo>
                  <a:pt x="1875" y="359"/>
                  <a:pt x="1876" y="354"/>
                  <a:pt x="1876" y="347"/>
                </a:cubicBezTo>
                <a:cubicBezTo>
                  <a:pt x="1877" y="342"/>
                  <a:pt x="1878" y="338"/>
                  <a:pt x="1881" y="334"/>
                </a:cubicBezTo>
                <a:cubicBezTo>
                  <a:pt x="1883" y="332"/>
                  <a:pt x="1886" y="328"/>
                  <a:pt x="1891" y="322"/>
                </a:cubicBezTo>
                <a:cubicBezTo>
                  <a:pt x="1893" y="320"/>
                  <a:pt x="1894" y="315"/>
                  <a:pt x="1895" y="306"/>
                </a:cubicBezTo>
                <a:cubicBezTo>
                  <a:pt x="1896" y="301"/>
                  <a:pt x="1897" y="298"/>
                  <a:pt x="1898" y="296"/>
                </a:cubicBezTo>
                <a:cubicBezTo>
                  <a:pt x="1899" y="294"/>
                  <a:pt x="1899" y="292"/>
                  <a:pt x="1900" y="290"/>
                </a:cubicBezTo>
                <a:cubicBezTo>
                  <a:pt x="1900" y="287"/>
                  <a:pt x="1896" y="281"/>
                  <a:pt x="1889" y="272"/>
                </a:cubicBezTo>
                <a:cubicBezTo>
                  <a:pt x="1888" y="272"/>
                  <a:pt x="1888" y="268"/>
                  <a:pt x="1886" y="261"/>
                </a:cubicBezTo>
                <a:cubicBezTo>
                  <a:pt x="1885" y="255"/>
                  <a:pt x="1883" y="252"/>
                  <a:pt x="1881" y="251"/>
                </a:cubicBezTo>
                <a:cubicBezTo>
                  <a:pt x="1866" y="245"/>
                  <a:pt x="1850" y="242"/>
                  <a:pt x="1834" y="241"/>
                </a:cubicBezTo>
                <a:cubicBezTo>
                  <a:pt x="1833" y="240"/>
                  <a:pt x="1831" y="237"/>
                  <a:pt x="1829" y="232"/>
                </a:cubicBezTo>
                <a:cubicBezTo>
                  <a:pt x="1827" y="229"/>
                  <a:pt x="1824" y="227"/>
                  <a:pt x="1820" y="227"/>
                </a:cubicBezTo>
                <a:cubicBezTo>
                  <a:pt x="1812" y="227"/>
                  <a:pt x="1806" y="223"/>
                  <a:pt x="1803" y="217"/>
                </a:cubicBezTo>
                <a:cubicBezTo>
                  <a:pt x="1800" y="213"/>
                  <a:pt x="1796" y="206"/>
                  <a:pt x="1789" y="198"/>
                </a:cubicBezTo>
                <a:cubicBezTo>
                  <a:pt x="1788" y="196"/>
                  <a:pt x="1786" y="194"/>
                  <a:pt x="1785" y="193"/>
                </a:cubicBezTo>
                <a:lnTo>
                  <a:pt x="1783" y="192"/>
                </a:lnTo>
                <a:cubicBezTo>
                  <a:pt x="1780" y="192"/>
                  <a:pt x="1776" y="193"/>
                  <a:pt x="1774" y="193"/>
                </a:cubicBezTo>
                <a:cubicBezTo>
                  <a:pt x="1770" y="193"/>
                  <a:pt x="1768" y="195"/>
                  <a:pt x="1767" y="197"/>
                </a:cubicBezTo>
                <a:cubicBezTo>
                  <a:pt x="1768" y="199"/>
                  <a:pt x="1768" y="201"/>
                  <a:pt x="1768" y="202"/>
                </a:cubicBezTo>
                <a:cubicBezTo>
                  <a:pt x="1768" y="204"/>
                  <a:pt x="1765" y="206"/>
                  <a:pt x="1760" y="209"/>
                </a:cubicBezTo>
                <a:cubicBezTo>
                  <a:pt x="1755" y="211"/>
                  <a:pt x="1753" y="214"/>
                  <a:pt x="1754" y="219"/>
                </a:cubicBezTo>
                <a:cubicBezTo>
                  <a:pt x="1755" y="224"/>
                  <a:pt x="1753" y="227"/>
                  <a:pt x="1747" y="227"/>
                </a:cubicBezTo>
                <a:cubicBezTo>
                  <a:pt x="1740" y="226"/>
                  <a:pt x="1736" y="225"/>
                  <a:pt x="1733" y="225"/>
                </a:cubicBezTo>
                <a:cubicBezTo>
                  <a:pt x="1727" y="224"/>
                  <a:pt x="1723" y="224"/>
                  <a:pt x="1721" y="225"/>
                </a:cubicBezTo>
                <a:cubicBezTo>
                  <a:pt x="1721" y="226"/>
                  <a:pt x="1720" y="227"/>
                  <a:pt x="1719" y="230"/>
                </a:cubicBezTo>
                <a:cubicBezTo>
                  <a:pt x="1718" y="232"/>
                  <a:pt x="1716" y="233"/>
                  <a:pt x="1715" y="233"/>
                </a:cubicBezTo>
                <a:cubicBezTo>
                  <a:pt x="1709" y="232"/>
                  <a:pt x="1705" y="233"/>
                  <a:pt x="1703" y="233"/>
                </a:cubicBezTo>
                <a:cubicBezTo>
                  <a:pt x="1701" y="235"/>
                  <a:pt x="1700" y="238"/>
                  <a:pt x="1700" y="242"/>
                </a:cubicBezTo>
                <a:cubicBezTo>
                  <a:pt x="1699" y="244"/>
                  <a:pt x="1700" y="245"/>
                  <a:pt x="1700" y="245"/>
                </a:cubicBezTo>
                <a:cubicBezTo>
                  <a:pt x="1701" y="246"/>
                  <a:pt x="1701" y="247"/>
                  <a:pt x="1701" y="248"/>
                </a:cubicBezTo>
                <a:cubicBezTo>
                  <a:pt x="1700" y="252"/>
                  <a:pt x="1700" y="253"/>
                  <a:pt x="1698" y="254"/>
                </a:cubicBezTo>
                <a:cubicBezTo>
                  <a:pt x="1696" y="254"/>
                  <a:pt x="1695" y="256"/>
                  <a:pt x="1693" y="259"/>
                </a:cubicBezTo>
                <a:cubicBezTo>
                  <a:pt x="1692" y="260"/>
                  <a:pt x="1692" y="262"/>
                  <a:pt x="1691" y="266"/>
                </a:cubicBezTo>
                <a:cubicBezTo>
                  <a:pt x="1691" y="269"/>
                  <a:pt x="1690" y="271"/>
                  <a:pt x="1690" y="272"/>
                </a:cubicBezTo>
                <a:cubicBezTo>
                  <a:pt x="1680" y="280"/>
                  <a:pt x="1675" y="286"/>
                  <a:pt x="1675" y="290"/>
                </a:cubicBezTo>
                <a:cubicBezTo>
                  <a:pt x="1675" y="292"/>
                  <a:pt x="1675" y="294"/>
                  <a:pt x="1677" y="297"/>
                </a:cubicBezTo>
                <a:cubicBezTo>
                  <a:pt x="1678" y="299"/>
                  <a:pt x="1679" y="303"/>
                  <a:pt x="1678" y="307"/>
                </a:cubicBezTo>
                <a:cubicBezTo>
                  <a:pt x="1678" y="311"/>
                  <a:pt x="1677" y="316"/>
                  <a:pt x="1675" y="322"/>
                </a:cubicBezTo>
                <a:cubicBezTo>
                  <a:pt x="1673" y="328"/>
                  <a:pt x="1672" y="332"/>
                  <a:pt x="1671" y="337"/>
                </a:cubicBezTo>
                <a:cubicBezTo>
                  <a:pt x="1671" y="342"/>
                  <a:pt x="1672" y="345"/>
                  <a:pt x="1672" y="346"/>
                </a:cubicBezTo>
                <a:cubicBezTo>
                  <a:pt x="1670" y="355"/>
                  <a:pt x="1669" y="360"/>
                  <a:pt x="1669" y="361"/>
                </a:cubicBezTo>
                <a:cubicBezTo>
                  <a:pt x="1668" y="367"/>
                  <a:pt x="1668" y="372"/>
                  <a:pt x="1669" y="375"/>
                </a:cubicBezTo>
                <a:cubicBezTo>
                  <a:pt x="1673" y="382"/>
                  <a:pt x="1675" y="386"/>
                  <a:pt x="1675" y="388"/>
                </a:cubicBezTo>
                <a:cubicBezTo>
                  <a:pt x="1674" y="395"/>
                  <a:pt x="1675" y="401"/>
                  <a:pt x="1677" y="405"/>
                </a:cubicBezTo>
                <a:cubicBezTo>
                  <a:pt x="1679" y="409"/>
                  <a:pt x="1680" y="412"/>
                  <a:pt x="1680" y="414"/>
                </a:cubicBezTo>
                <a:cubicBezTo>
                  <a:pt x="1679" y="419"/>
                  <a:pt x="1677" y="425"/>
                  <a:pt x="1673" y="430"/>
                </a:cubicBezTo>
                <a:cubicBezTo>
                  <a:pt x="1670" y="433"/>
                  <a:pt x="1668" y="435"/>
                  <a:pt x="1666" y="435"/>
                </a:cubicBezTo>
                <a:cubicBezTo>
                  <a:pt x="1663" y="435"/>
                  <a:pt x="1661" y="434"/>
                  <a:pt x="1658" y="434"/>
                </a:cubicBezTo>
                <a:cubicBezTo>
                  <a:pt x="1655" y="434"/>
                  <a:pt x="1651" y="436"/>
                  <a:pt x="1646" y="442"/>
                </a:cubicBezTo>
                <a:cubicBezTo>
                  <a:pt x="1642" y="448"/>
                  <a:pt x="1640" y="452"/>
                  <a:pt x="1640" y="455"/>
                </a:cubicBezTo>
                <a:cubicBezTo>
                  <a:pt x="1639" y="461"/>
                  <a:pt x="1640" y="468"/>
                  <a:pt x="1641" y="473"/>
                </a:cubicBezTo>
                <a:cubicBezTo>
                  <a:pt x="1643" y="479"/>
                  <a:pt x="1643" y="483"/>
                  <a:pt x="1643" y="484"/>
                </a:cubicBezTo>
                <a:cubicBezTo>
                  <a:pt x="1643" y="485"/>
                  <a:pt x="1642" y="485"/>
                  <a:pt x="1638" y="486"/>
                </a:cubicBezTo>
                <a:cubicBezTo>
                  <a:pt x="1634" y="487"/>
                  <a:pt x="1632" y="488"/>
                  <a:pt x="1631" y="488"/>
                </a:cubicBezTo>
                <a:cubicBezTo>
                  <a:pt x="1630" y="489"/>
                  <a:pt x="1629" y="491"/>
                  <a:pt x="1628" y="494"/>
                </a:cubicBezTo>
                <a:cubicBezTo>
                  <a:pt x="1627" y="498"/>
                  <a:pt x="1626" y="501"/>
                  <a:pt x="1626" y="501"/>
                </a:cubicBezTo>
                <a:cubicBezTo>
                  <a:pt x="1624" y="500"/>
                  <a:pt x="1622" y="497"/>
                  <a:pt x="1620" y="493"/>
                </a:cubicBezTo>
                <a:cubicBezTo>
                  <a:pt x="1617" y="489"/>
                  <a:pt x="1616" y="487"/>
                  <a:pt x="1614" y="486"/>
                </a:cubicBezTo>
                <a:cubicBezTo>
                  <a:pt x="1612" y="485"/>
                  <a:pt x="1608" y="484"/>
                  <a:pt x="1604" y="484"/>
                </a:cubicBezTo>
                <a:cubicBezTo>
                  <a:pt x="1598" y="483"/>
                  <a:pt x="1594" y="482"/>
                  <a:pt x="1594" y="482"/>
                </a:cubicBezTo>
                <a:cubicBezTo>
                  <a:pt x="1589" y="481"/>
                  <a:pt x="1583" y="478"/>
                  <a:pt x="1577" y="472"/>
                </a:cubicBezTo>
                <a:cubicBezTo>
                  <a:pt x="1576" y="471"/>
                  <a:pt x="1573" y="468"/>
                  <a:pt x="1567" y="465"/>
                </a:cubicBezTo>
                <a:cubicBezTo>
                  <a:pt x="1564" y="463"/>
                  <a:pt x="1560" y="461"/>
                  <a:pt x="1556" y="461"/>
                </a:cubicBezTo>
                <a:lnTo>
                  <a:pt x="1551" y="461"/>
                </a:lnTo>
                <a:lnTo>
                  <a:pt x="1552" y="461"/>
                </a:lnTo>
                <a:cubicBezTo>
                  <a:pt x="1551" y="461"/>
                  <a:pt x="1551" y="461"/>
                  <a:pt x="1550" y="461"/>
                </a:cubicBezTo>
                <a:cubicBezTo>
                  <a:pt x="1548" y="464"/>
                  <a:pt x="1547" y="465"/>
                  <a:pt x="1546" y="467"/>
                </a:cubicBezTo>
                <a:cubicBezTo>
                  <a:pt x="1545" y="470"/>
                  <a:pt x="1545" y="473"/>
                  <a:pt x="1544" y="476"/>
                </a:cubicBezTo>
                <a:cubicBezTo>
                  <a:pt x="1543" y="480"/>
                  <a:pt x="1541" y="482"/>
                  <a:pt x="1539" y="482"/>
                </a:cubicBezTo>
                <a:cubicBezTo>
                  <a:pt x="1531" y="484"/>
                  <a:pt x="1525" y="486"/>
                  <a:pt x="1522" y="489"/>
                </a:cubicBezTo>
                <a:cubicBezTo>
                  <a:pt x="1514" y="496"/>
                  <a:pt x="1508" y="499"/>
                  <a:pt x="1505" y="499"/>
                </a:cubicBezTo>
                <a:cubicBezTo>
                  <a:pt x="1504" y="498"/>
                  <a:pt x="1502" y="497"/>
                  <a:pt x="1500" y="495"/>
                </a:cubicBezTo>
                <a:cubicBezTo>
                  <a:pt x="1497" y="493"/>
                  <a:pt x="1496" y="492"/>
                  <a:pt x="1494" y="491"/>
                </a:cubicBezTo>
                <a:cubicBezTo>
                  <a:pt x="1489" y="492"/>
                  <a:pt x="1486" y="492"/>
                  <a:pt x="1485" y="492"/>
                </a:cubicBezTo>
                <a:cubicBezTo>
                  <a:pt x="1481" y="491"/>
                  <a:pt x="1478" y="490"/>
                  <a:pt x="1475" y="488"/>
                </a:cubicBezTo>
                <a:cubicBezTo>
                  <a:pt x="1472" y="485"/>
                  <a:pt x="1469" y="483"/>
                  <a:pt x="1466" y="483"/>
                </a:cubicBezTo>
                <a:cubicBezTo>
                  <a:pt x="1464" y="483"/>
                  <a:pt x="1461" y="484"/>
                  <a:pt x="1459" y="485"/>
                </a:cubicBezTo>
                <a:cubicBezTo>
                  <a:pt x="1456" y="486"/>
                  <a:pt x="1454" y="487"/>
                  <a:pt x="1453" y="486"/>
                </a:cubicBezTo>
                <a:cubicBezTo>
                  <a:pt x="1444" y="462"/>
                  <a:pt x="1434" y="445"/>
                  <a:pt x="1424" y="436"/>
                </a:cubicBezTo>
                <a:cubicBezTo>
                  <a:pt x="1423" y="435"/>
                  <a:pt x="1419" y="426"/>
                  <a:pt x="1412" y="409"/>
                </a:cubicBezTo>
                <a:cubicBezTo>
                  <a:pt x="1406" y="394"/>
                  <a:pt x="1400" y="386"/>
                  <a:pt x="1395" y="386"/>
                </a:cubicBezTo>
                <a:cubicBezTo>
                  <a:pt x="1389" y="386"/>
                  <a:pt x="1385" y="386"/>
                  <a:pt x="1384" y="386"/>
                </a:cubicBezTo>
                <a:cubicBezTo>
                  <a:pt x="1377" y="384"/>
                  <a:pt x="1372" y="383"/>
                  <a:pt x="1371" y="383"/>
                </a:cubicBezTo>
                <a:cubicBezTo>
                  <a:pt x="1369" y="383"/>
                  <a:pt x="1366" y="385"/>
                  <a:pt x="1362" y="388"/>
                </a:cubicBezTo>
                <a:cubicBezTo>
                  <a:pt x="1358" y="392"/>
                  <a:pt x="1356" y="395"/>
                  <a:pt x="1356" y="397"/>
                </a:cubicBezTo>
                <a:cubicBezTo>
                  <a:pt x="1355" y="401"/>
                  <a:pt x="1356" y="406"/>
                  <a:pt x="1359" y="412"/>
                </a:cubicBezTo>
                <a:cubicBezTo>
                  <a:pt x="1362" y="418"/>
                  <a:pt x="1364" y="421"/>
                  <a:pt x="1363" y="421"/>
                </a:cubicBezTo>
                <a:cubicBezTo>
                  <a:pt x="1363" y="422"/>
                  <a:pt x="1362" y="423"/>
                  <a:pt x="1358" y="425"/>
                </a:cubicBezTo>
                <a:cubicBezTo>
                  <a:pt x="1354" y="427"/>
                  <a:pt x="1352" y="428"/>
                  <a:pt x="1351" y="428"/>
                </a:cubicBezTo>
                <a:cubicBezTo>
                  <a:pt x="1349" y="428"/>
                  <a:pt x="1347" y="426"/>
                  <a:pt x="1344" y="424"/>
                </a:cubicBezTo>
                <a:cubicBezTo>
                  <a:pt x="1341" y="422"/>
                  <a:pt x="1339" y="421"/>
                  <a:pt x="1338" y="420"/>
                </a:cubicBezTo>
                <a:cubicBezTo>
                  <a:pt x="1336" y="423"/>
                  <a:pt x="1334" y="425"/>
                  <a:pt x="1332" y="427"/>
                </a:cubicBezTo>
                <a:cubicBezTo>
                  <a:pt x="1331" y="429"/>
                  <a:pt x="1330" y="430"/>
                  <a:pt x="1329" y="431"/>
                </a:cubicBezTo>
                <a:cubicBezTo>
                  <a:pt x="1327" y="433"/>
                  <a:pt x="1325" y="434"/>
                  <a:pt x="1323" y="434"/>
                </a:cubicBezTo>
                <a:cubicBezTo>
                  <a:pt x="1311" y="435"/>
                  <a:pt x="1303" y="436"/>
                  <a:pt x="1298" y="436"/>
                </a:cubicBezTo>
                <a:lnTo>
                  <a:pt x="1298" y="438"/>
                </a:lnTo>
                <a:cubicBezTo>
                  <a:pt x="1298" y="438"/>
                  <a:pt x="1300" y="440"/>
                  <a:pt x="1304" y="445"/>
                </a:cubicBezTo>
                <a:cubicBezTo>
                  <a:pt x="1308" y="451"/>
                  <a:pt x="1310" y="455"/>
                  <a:pt x="1310" y="459"/>
                </a:cubicBezTo>
                <a:cubicBezTo>
                  <a:pt x="1311" y="468"/>
                  <a:pt x="1312" y="473"/>
                  <a:pt x="1312" y="475"/>
                </a:cubicBezTo>
                <a:cubicBezTo>
                  <a:pt x="1312" y="476"/>
                  <a:pt x="1312" y="480"/>
                  <a:pt x="1311" y="486"/>
                </a:cubicBezTo>
                <a:cubicBezTo>
                  <a:pt x="1309" y="499"/>
                  <a:pt x="1308" y="508"/>
                  <a:pt x="1306" y="512"/>
                </a:cubicBezTo>
                <a:cubicBezTo>
                  <a:pt x="1298" y="520"/>
                  <a:pt x="1294" y="526"/>
                  <a:pt x="1293" y="529"/>
                </a:cubicBezTo>
                <a:cubicBezTo>
                  <a:pt x="1293" y="531"/>
                  <a:pt x="1295" y="533"/>
                  <a:pt x="1299" y="535"/>
                </a:cubicBezTo>
                <a:cubicBezTo>
                  <a:pt x="1303" y="537"/>
                  <a:pt x="1305" y="539"/>
                  <a:pt x="1305" y="541"/>
                </a:cubicBezTo>
                <a:cubicBezTo>
                  <a:pt x="1305" y="543"/>
                  <a:pt x="1303" y="547"/>
                  <a:pt x="1299" y="552"/>
                </a:cubicBezTo>
                <a:cubicBezTo>
                  <a:pt x="1294" y="558"/>
                  <a:pt x="1291" y="561"/>
                  <a:pt x="1290" y="563"/>
                </a:cubicBezTo>
                <a:cubicBezTo>
                  <a:pt x="1285" y="562"/>
                  <a:pt x="1272" y="557"/>
                  <a:pt x="1251" y="549"/>
                </a:cubicBezTo>
                <a:cubicBezTo>
                  <a:pt x="1231" y="542"/>
                  <a:pt x="1220" y="538"/>
                  <a:pt x="1218" y="537"/>
                </a:cubicBezTo>
                <a:cubicBezTo>
                  <a:pt x="1218" y="537"/>
                  <a:pt x="1216" y="538"/>
                  <a:pt x="1213" y="539"/>
                </a:cubicBezTo>
                <a:cubicBezTo>
                  <a:pt x="1209" y="540"/>
                  <a:pt x="1206" y="540"/>
                  <a:pt x="1203" y="540"/>
                </a:cubicBezTo>
                <a:cubicBezTo>
                  <a:pt x="1199" y="540"/>
                  <a:pt x="1195" y="537"/>
                  <a:pt x="1192" y="532"/>
                </a:cubicBezTo>
                <a:cubicBezTo>
                  <a:pt x="1189" y="527"/>
                  <a:pt x="1186" y="524"/>
                  <a:pt x="1183" y="524"/>
                </a:cubicBezTo>
                <a:lnTo>
                  <a:pt x="1168" y="532"/>
                </a:lnTo>
                <a:cubicBezTo>
                  <a:pt x="1165" y="533"/>
                  <a:pt x="1163" y="538"/>
                  <a:pt x="1163" y="547"/>
                </a:cubicBezTo>
                <a:cubicBezTo>
                  <a:pt x="1161" y="559"/>
                  <a:pt x="1162" y="569"/>
                  <a:pt x="1165" y="578"/>
                </a:cubicBezTo>
                <a:cubicBezTo>
                  <a:pt x="1168" y="587"/>
                  <a:pt x="1170" y="594"/>
                  <a:pt x="1169" y="599"/>
                </a:cubicBezTo>
                <a:cubicBezTo>
                  <a:pt x="1159" y="615"/>
                  <a:pt x="1153" y="629"/>
                  <a:pt x="1152" y="639"/>
                </a:cubicBezTo>
                <a:cubicBezTo>
                  <a:pt x="1151" y="639"/>
                  <a:pt x="1151" y="639"/>
                  <a:pt x="1150" y="639"/>
                </a:cubicBezTo>
                <a:cubicBezTo>
                  <a:pt x="1147" y="636"/>
                  <a:pt x="1143" y="633"/>
                  <a:pt x="1140" y="630"/>
                </a:cubicBezTo>
                <a:cubicBezTo>
                  <a:pt x="1132" y="625"/>
                  <a:pt x="1125" y="621"/>
                  <a:pt x="1118" y="621"/>
                </a:cubicBezTo>
                <a:cubicBezTo>
                  <a:pt x="1110" y="621"/>
                  <a:pt x="1105" y="622"/>
                  <a:pt x="1104" y="622"/>
                </a:cubicBezTo>
                <a:cubicBezTo>
                  <a:pt x="1104" y="622"/>
                  <a:pt x="1104" y="622"/>
                  <a:pt x="1103" y="622"/>
                </a:cubicBezTo>
                <a:cubicBezTo>
                  <a:pt x="1101" y="624"/>
                  <a:pt x="1097" y="626"/>
                  <a:pt x="1093" y="628"/>
                </a:cubicBezTo>
                <a:cubicBezTo>
                  <a:pt x="1087" y="632"/>
                  <a:pt x="1083" y="635"/>
                  <a:pt x="1081" y="637"/>
                </a:cubicBezTo>
                <a:cubicBezTo>
                  <a:pt x="1072" y="645"/>
                  <a:pt x="1066" y="657"/>
                  <a:pt x="1062" y="674"/>
                </a:cubicBezTo>
                <a:cubicBezTo>
                  <a:pt x="1058" y="693"/>
                  <a:pt x="1053" y="706"/>
                  <a:pt x="1049" y="715"/>
                </a:cubicBezTo>
                <a:cubicBezTo>
                  <a:pt x="1047" y="719"/>
                  <a:pt x="1042" y="722"/>
                  <a:pt x="1034" y="725"/>
                </a:cubicBezTo>
                <a:cubicBezTo>
                  <a:pt x="1027" y="728"/>
                  <a:pt x="1023" y="731"/>
                  <a:pt x="1023" y="737"/>
                </a:cubicBezTo>
                <a:cubicBezTo>
                  <a:pt x="1022" y="740"/>
                  <a:pt x="1023" y="744"/>
                  <a:pt x="1026" y="748"/>
                </a:cubicBezTo>
                <a:cubicBezTo>
                  <a:pt x="1027" y="750"/>
                  <a:pt x="1030" y="754"/>
                  <a:pt x="1035" y="760"/>
                </a:cubicBezTo>
                <a:cubicBezTo>
                  <a:pt x="1043" y="772"/>
                  <a:pt x="1047" y="782"/>
                  <a:pt x="1046" y="793"/>
                </a:cubicBezTo>
                <a:cubicBezTo>
                  <a:pt x="1045" y="802"/>
                  <a:pt x="1043" y="809"/>
                  <a:pt x="1040" y="814"/>
                </a:cubicBezTo>
                <a:cubicBezTo>
                  <a:pt x="1038" y="817"/>
                  <a:pt x="1035" y="820"/>
                  <a:pt x="1030" y="824"/>
                </a:cubicBezTo>
                <a:cubicBezTo>
                  <a:pt x="1025" y="827"/>
                  <a:pt x="1021" y="831"/>
                  <a:pt x="1019" y="833"/>
                </a:cubicBezTo>
                <a:cubicBezTo>
                  <a:pt x="1014" y="839"/>
                  <a:pt x="1010" y="846"/>
                  <a:pt x="1006" y="855"/>
                </a:cubicBezTo>
                <a:cubicBezTo>
                  <a:pt x="1005" y="860"/>
                  <a:pt x="998" y="871"/>
                  <a:pt x="985" y="890"/>
                </a:cubicBezTo>
                <a:cubicBezTo>
                  <a:pt x="973" y="908"/>
                  <a:pt x="967" y="919"/>
                  <a:pt x="966" y="924"/>
                </a:cubicBezTo>
                <a:cubicBezTo>
                  <a:pt x="966" y="928"/>
                  <a:pt x="967" y="934"/>
                  <a:pt x="968" y="941"/>
                </a:cubicBezTo>
                <a:cubicBezTo>
                  <a:pt x="970" y="948"/>
                  <a:pt x="970" y="952"/>
                  <a:pt x="970" y="953"/>
                </a:cubicBezTo>
                <a:cubicBezTo>
                  <a:pt x="970" y="956"/>
                  <a:pt x="965" y="961"/>
                  <a:pt x="955" y="967"/>
                </a:cubicBezTo>
                <a:cubicBezTo>
                  <a:pt x="947" y="973"/>
                  <a:pt x="941" y="976"/>
                  <a:pt x="937" y="978"/>
                </a:cubicBezTo>
                <a:cubicBezTo>
                  <a:pt x="934" y="979"/>
                  <a:pt x="930" y="979"/>
                  <a:pt x="926" y="979"/>
                </a:cubicBezTo>
                <a:cubicBezTo>
                  <a:pt x="920" y="979"/>
                  <a:pt x="916" y="978"/>
                  <a:pt x="914" y="978"/>
                </a:cubicBezTo>
                <a:cubicBezTo>
                  <a:pt x="905" y="978"/>
                  <a:pt x="900" y="981"/>
                  <a:pt x="899" y="989"/>
                </a:cubicBezTo>
                <a:cubicBezTo>
                  <a:pt x="898" y="995"/>
                  <a:pt x="900" y="1004"/>
                  <a:pt x="902" y="1017"/>
                </a:cubicBezTo>
                <a:cubicBezTo>
                  <a:pt x="905" y="1029"/>
                  <a:pt x="906" y="1037"/>
                  <a:pt x="906" y="1038"/>
                </a:cubicBezTo>
                <a:cubicBezTo>
                  <a:pt x="898" y="1059"/>
                  <a:pt x="894" y="1072"/>
                  <a:pt x="894" y="1077"/>
                </a:cubicBezTo>
                <a:cubicBezTo>
                  <a:pt x="893" y="1083"/>
                  <a:pt x="893" y="1091"/>
                  <a:pt x="894" y="1103"/>
                </a:cubicBezTo>
                <a:cubicBezTo>
                  <a:pt x="895" y="1114"/>
                  <a:pt x="895" y="1123"/>
                  <a:pt x="894" y="1128"/>
                </a:cubicBezTo>
                <a:cubicBezTo>
                  <a:pt x="893" y="1135"/>
                  <a:pt x="891" y="1140"/>
                  <a:pt x="888" y="1143"/>
                </a:cubicBezTo>
                <a:cubicBezTo>
                  <a:pt x="884" y="1147"/>
                  <a:pt x="880" y="1154"/>
                  <a:pt x="877" y="1162"/>
                </a:cubicBezTo>
                <a:cubicBezTo>
                  <a:pt x="874" y="1172"/>
                  <a:pt x="868" y="1183"/>
                  <a:pt x="858" y="1195"/>
                </a:cubicBezTo>
                <a:cubicBezTo>
                  <a:pt x="854" y="1201"/>
                  <a:pt x="847" y="1211"/>
                  <a:pt x="839" y="1225"/>
                </a:cubicBezTo>
                <a:cubicBezTo>
                  <a:pt x="831" y="1238"/>
                  <a:pt x="825" y="1247"/>
                  <a:pt x="821" y="1252"/>
                </a:cubicBezTo>
                <a:cubicBezTo>
                  <a:pt x="821" y="1252"/>
                  <a:pt x="821" y="1253"/>
                  <a:pt x="821" y="1253"/>
                </a:cubicBezTo>
                <a:cubicBezTo>
                  <a:pt x="820" y="1261"/>
                  <a:pt x="823" y="1268"/>
                  <a:pt x="832" y="1273"/>
                </a:cubicBezTo>
                <a:cubicBezTo>
                  <a:pt x="833" y="1274"/>
                  <a:pt x="836" y="1276"/>
                  <a:pt x="842" y="1279"/>
                </a:cubicBezTo>
                <a:cubicBezTo>
                  <a:pt x="847" y="1281"/>
                  <a:pt x="850" y="1283"/>
                  <a:pt x="852" y="1285"/>
                </a:cubicBezTo>
                <a:cubicBezTo>
                  <a:pt x="858" y="1290"/>
                  <a:pt x="860" y="1298"/>
                  <a:pt x="859" y="1309"/>
                </a:cubicBezTo>
                <a:cubicBezTo>
                  <a:pt x="859" y="1312"/>
                  <a:pt x="859" y="1320"/>
                  <a:pt x="861" y="1335"/>
                </a:cubicBezTo>
                <a:cubicBezTo>
                  <a:pt x="860" y="1339"/>
                  <a:pt x="856" y="1344"/>
                  <a:pt x="847" y="1351"/>
                </a:cubicBezTo>
                <a:cubicBezTo>
                  <a:pt x="845" y="1355"/>
                  <a:pt x="844" y="1358"/>
                  <a:pt x="843" y="1360"/>
                </a:cubicBezTo>
                <a:cubicBezTo>
                  <a:pt x="841" y="1363"/>
                  <a:pt x="838" y="1364"/>
                  <a:pt x="834" y="1363"/>
                </a:cubicBezTo>
                <a:cubicBezTo>
                  <a:pt x="824" y="1362"/>
                  <a:pt x="813" y="1359"/>
                  <a:pt x="802" y="1355"/>
                </a:cubicBezTo>
                <a:cubicBezTo>
                  <a:pt x="791" y="1351"/>
                  <a:pt x="784" y="1349"/>
                  <a:pt x="781" y="1348"/>
                </a:cubicBezTo>
                <a:cubicBezTo>
                  <a:pt x="766" y="1347"/>
                  <a:pt x="749" y="1359"/>
                  <a:pt x="732" y="1386"/>
                </a:cubicBezTo>
                <a:cubicBezTo>
                  <a:pt x="727" y="1393"/>
                  <a:pt x="714" y="1408"/>
                  <a:pt x="694" y="1431"/>
                </a:cubicBezTo>
                <a:cubicBezTo>
                  <a:pt x="693" y="1433"/>
                  <a:pt x="694" y="1436"/>
                  <a:pt x="695" y="1439"/>
                </a:cubicBezTo>
                <a:cubicBezTo>
                  <a:pt x="696" y="1443"/>
                  <a:pt x="696" y="1445"/>
                  <a:pt x="696" y="1447"/>
                </a:cubicBezTo>
                <a:cubicBezTo>
                  <a:pt x="695" y="1454"/>
                  <a:pt x="692" y="1462"/>
                  <a:pt x="685" y="1471"/>
                </a:cubicBezTo>
                <a:cubicBezTo>
                  <a:pt x="678" y="1481"/>
                  <a:pt x="674" y="1488"/>
                  <a:pt x="674" y="1491"/>
                </a:cubicBezTo>
                <a:cubicBezTo>
                  <a:pt x="673" y="1496"/>
                  <a:pt x="676" y="1506"/>
                  <a:pt x="683" y="1519"/>
                </a:cubicBezTo>
                <a:cubicBezTo>
                  <a:pt x="686" y="1526"/>
                  <a:pt x="689" y="1531"/>
                  <a:pt x="691" y="1535"/>
                </a:cubicBezTo>
                <a:cubicBezTo>
                  <a:pt x="689" y="1540"/>
                  <a:pt x="684" y="1547"/>
                  <a:pt x="678" y="1557"/>
                </a:cubicBezTo>
                <a:cubicBezTo>
                  <a:pt x="677" y="1565"/>
                  <a:pt x="678" y="1572"/>
                  <a:pt x="679" y="1577"/>
                </a:cubicBezTo>
                <a:cubicBezTo>
                  <a:pt x="681" y="1583"/>
                  <a:pt x="681" y="1588"/>
                  <a:pt x="681" y="1592"/>
                </a:cubicBezTo>
                <a:cubicBezTo>
                  <a:pt x="681" y="1596"/>
                  <a:pt x="679" y="1605"/>
                  <a:pt x="676" y="1617"/>
                </a:cubicBezTo>
                <a:cubicBezTo>
                  <a:pt x="675" y="1619"/>
                  <a:pt x="678" y="1628"/>
                  <a:pt x="683" y="1644"/>
                </a:cubicBezTo>
                <a:cubicBezTo>
                  <a:pt x="688" y="1659"/>
                  <a:pt x="690" y="1670"/>
                  <a:pt x="689" y="1678"/>
                </a:cubicBezTo>
                <a:cubicBezTo>
                  <a:pt x="689" y="1682"/>
                  <a:pt x="689" y="1687"/>
                  <a:pt x="690" y="1694"/>
                </a:cubicBezTo>
                <a:cubicBezTo>
                  <a:pt x="689" y="1699"/>
                  <a:pt x="686" y="1713"/>
                  <a:pt x="680" y="1735"/>
                </a:cubicBezTo>
                <a:cubicBezTo>
                  <a:pt x="680" y="1736"/>
                  <a:pt x="678" y="1750"/>
                  <a:pt x="672" y="1775"/>
                </a:cubicBezTo>
                <a:cubicBezTo>
                  <a:pt x="672" y="1777"/>
                  <a:pt x="674" y="1781"/>
                  <a:pt x="677" y="1787"/>
                </a:cubicBezTo>
                <a:cubicBezTo>
                  <a:pt x="679" y="1790"/>
                  <a:pt x="681" y="1793"/>
                  <a:pt x="683" y="1796"/>
                </a:cubicBezTo>
                <a:cubicBezTo>
                  <a:pt x="685" y="1800"/>
                  <a:pt x="688" y="1801"/>
                  <a:pt x="692" y="1802"/>
                </a:cubicBezTo>
                <a:cubicBezTo>
                  <a:pt x="695" y="1803"/>
                  <a:pt x="698" y="1803"/>
                  <a:pt x="704" y="1804"/>
                </a:cubicBezTo>
                <a:cubicBezTo>
                  <a:pt x="707" y="1805"/>
                  <a:pt x="709" y="1807"/>
                  <a:pt x="712" y="1813"/>
                </a:cubicBezTo>
                <a:cubicBezTo>
                  <a:pt x="714" y="1815"/>
                  <a:pt x="716" y="1819"/>
                  <a:pt x="718" y="1824"/>
                </a:cubicBezTo>
                <a:cubicBezTo>
                  <a:pt x="721" y="1829"/>
                  <a:pt x="724" y="1835"/>
                  <a:pt x="728" y="1842"/>
                </a:cubicBezTo>
                <a:cubicBezTo>
                  <a:pt x="727" y="1845"/>
                  <a:pt x="726" y="1848"/>
                  <a:pt x="725" y="1853"/>
                </a:cubicBezTo>
                <a:cubicBezTo>
                  <a:pt x="723" y="1860"/>
                  <a:pt x="722" y="1866"/>
                  <a:pt x="720" y="1869"/>
                </a:cubicBezTo>
                <a:cubicBezTo>
                  <a:pt x="715" y="1878"/>
                  <a:pt x="711" y="1888"/>
                  <a:pt x="709" y="1899"/>
                </a:cubicBezTo>
                <a:cubicBezTo>
                  <a:pt x="704" y="1899"/>
                  <a:pt x="697" y="1899"/>
                  <a:pt x="688" y="1900"/>
                </a:cubicBezTo>
                <a:cubicBezTo>
                  <a:pt x="676" y="1901"/>
                  <a:pt x="669" y="1904"/>
                  <a:pt x="669" y="1907"/>
                </a:cubicBezTo>
                <a:cubicBezTo>
                  <a:pt x="669" y="1909"/>
                  <a:pt x="669" y="1913"/>
                  <a:pt x="669" y="1920"/>
                </a:cubicBezTo>
                <a:cubicBezTo>
                  <a:pt x="669" y="1927"/>
                  <a:pt x="670" y="1932"/>
                  <a:pt x="670" y="1934"/>
                </a:cubicBezTo>
                <a:cubicBezTo>
                  <a:pt x="672" y="1942"/>
                  <a:pt x="675" y="1949"/>
                  <a:pt x="680" y="1955"/>
                </a:cubicBezTo>
                <a:cubicBezTo>
                  <a:pt x="682" y="1958"/>
                  <a:pt x="685" y="1966"/>
                  <a:pt x="689" y="1979"/>
                </a:cubicBezTo>
                <a:cubicBezTo>
                  <a:pt x="693" y="1992"/>
                  <a:pt x="694" y="2001"/>
                  <a:pt x="694" y="2005"/>
                </a:cubicBezTo>
                <a:cubicBezTo>
                  <a:pt x="693" y="2013"/>
                  <a:pt x="691" y="2019"/>
                  <a:pt x="687" y="2023"/>
                </a:cubicBezTo>
                <a:cubicBezTo>
                  <a:pt x="683" y="2026"/>
                  <a:pt x="681" y="2030"/>
                  <a:pt x="680" y="2035"/>
                </a:cubicBezTo>
                <a:cubicBezTo>
                  <a:pt x="680" y="2040"/>
                  <a:pt x="680" y="2047"/>
                  <a:pt x="680" y="2058"/>
                </a:cubicBezTo>
                <a:cubicBezTo>
                  <a:pt x="679" y="2066"/>
                  <a:pt x="677" y="2072"/>
                  <a:pt x="673" y="2076"/>
                </a:cubicBezTo>
                <a:cubicBezTo>
                  <a:pt x="667" y="2081"/>
                  <a:pt x="661" y="2087"/>
                  <a:pt x="655" y="2092"/>
                </a:cubicBezTo>
                <a:cubicBezTo>
                  <a:pt x="648" y="2100"/>
                  <a:pt x="642" y="2103"/>
                  <a:pt x="638" y="2103"/>
                </a:cubicBezTo>
                <a:cubicBezTo>
                  <a:pt x="625" y="2103"/>
                  <a:pt x="619" y="2106"/>
                  <a:pt x="619" y="2110"/>
                </a:cubicBezTo>
                <a:cubicBezTo>
                  <a:pt x="618" y="2112"/>
                  <a:pt x="619" y="2115"/>
                  <a:pt x="620" y="2120"/>
                </a:cubicBezTo>
                <a:cubicBezTo>
                  <a:pt x="621" y="2124"/>
                  <a:pt x="622" y="2128"/>
                  <a:pt x="622" y="2130"/>
                </a:cubicBezTo>
                <a:cubicBezTo>
                  <a:pt x="621" y="2137"/>
                  <a:pt x="617" y="2142"/>
                  <a:pt x="611" y="2145"/>
                </a:cubicBezTo>
                <a:cubicBezTo>
                  <a:pt x="604" y="2149"/>
                  <a:pt x="601" y="2152"/>
                  <a:pt x="601" y="2156"/>
                </a:cubicBezTo>
                <a:cubicBezTo>
                  <a:pt x="600" y="2165"/>
                  <a:pt x="601" y="2176"/>
                  <a:pt x="604" y="2187"/>
                </a:cubicBezTo>
                <a:cubicBezTo>
                  <a:pt x="605" y="2187"/>
                  <a:pt x="605" y="2188"/>
                  <a:pt x="605" y="2189"/>
                </a:cubicBezTo>
                <a:cubicBezTo>
                  <a:pt x="605" y="2192"/>
                  <a:pt x="605" y="2196"/>
                  <a:pt x="606" y="2201"/>
                </a:cubicBezTo>
                <a:cubicBezTo>
                  <a:pt x="607" y="2208"/>
                  <a:pt x="607" y="2213"/>
                  <a:pt x="607" y="2216"/>
                </a:cubicBezTo>
                <a:cubicBezTo>
                  <a:pt x="606" y="2221"/>
                  <a:pt x="605" y="2224"/>
                  <a:pt x="603" y="2225"/>
                </a:cubicBezTo>
                <a:cubicBezTo>
                  <a:pt x="600" y="2227"/>
                  <a:pt x="599" y="2229"/>
                  <a:pt x="599" y="2232"/>
                </a:cubicBezTo>
                <a:cubicBezTo>
                  <a:pt x="598" y="2233"/>
                  <a:pt x="598" y="2238"/>
                  <a:pt x="599" y="2246"/>
                </a:cubicBezTo>
                <a:cubicBezTo>
                  <a:pt x="598" y="2250"/>
                  <a:pt x="597" y="2254"/>
                  <a:pt x="596" y="2255"/>
                </a:cubicBezTo>
                <a:cubicBezTo>
                  <a:pt x="595" y="2257"/>
                  <a:pt x="594" y="2261"/>
                  <a:pt x="593" y="2269"/>
                </a:cubicBezTo>
                <a:cubicBezTo>
                  <a:pt x="593" y="2272"/>
                  <a:pt x="591" y="2275"/>
                  <a:pt x="586" y="2277"/>
                </a:cubicBezTo>
                <a:cubicBezTo>
                  <a:pt x="581" y="2279"/>
                  <a:pt x="577" y="2280"/>
                  <a:pt x="575" y="2281"/>
                </a:cubicBezTo>
                <a:cubicBezTo>
                  <a:pt x="574" y="2278"/>
                  <a:pt x="572" y="2274"/>
                  <a:pt x="571" y="2268"/>
                </a:cubicBezTo>
                <a:cubicBezTo>
                  <a:pt x="569" y="2261"/>
                  <a:pt x="568" y="2256"/>
                  <a:pt x="567" y="2253"/>
                </a:cubicBezTo>
                <a:cubicBezTo>
                  <a:pt x="565" y="2245"/>
                  <a:pt x="560" y="2240"/>
                  <a:pt x="553" y="2240"/>
                </a:cubicBezTo>
                <a:cubicBezTo>
                  <a:pt x="553" y="2239"/>
                  <a:pt x="554" y="2238"/>
                  <a:pt x="554" y="2237"/>
                </a:cubicBezTo>
                <a:cubicBezTo>
                  <a:pt x="554" y="2235"/>
                  <a:pt x="554" y="2232"/>
                  <a:pt x="552" y="2229"/>
                </a:cubicBezTo>
                <a:cubicBezTo>
                  <a:pt x="551" y="2226"/>
                  <a:pt x="549" y="2224"/>
                  <a:pt x="547" y="2224"/>
                </a:cubicBezTo>
                <a:cubicBezTo>
                  <a:pt x="545" y="2224"/>
                  <a:pt x="543" y="2225"/>
                  <a:pt x="543" y="2226"/>
                </a:cubicBezTo>
                <a:cubicBezTo>
                  <a:pt x="543" y="2227"/>
                  <a:pt x="543" y="2229"/>
                  <a:pt x="542" y="2235"/>
                </a:cubicBezTo>
                <a:lnTo>
                  <a:pt x="542" y="2235"/>
                </a:lnTo>
                <a:cubicBezTo>
                  <a:pt x="540" y="2234"/>
                  <a:pt x="538" y="2231"/>
                  <a:pt x="534" y="2227"/>
                </a:cubicBezTo>
                <a:cubicBezTo>
                  <a:pt x="531" y="2223"/>
                  <a:pt x="529" y="2221"/>
                  <a:pt x="528" y="2220"/>
                </a:cubicBezTo>
                <a:cubicBezTo>
                  <a:pt x="527" y="2220"/>
                  <a:pt x="526" y="2221"/>
                  <a:pt x="526" y="2223"/>
                </a:cubicBezTo>
                <a:cubicBezTo>
                  <a:pt x="521" y="2222"/>
                  <a:pt x="518" y="2220"/>
                  <a:pt x="516" y="2218"/>
                </a:cubicBezTo>
                <a:cubicBezTo>
                  <a:pt x="514" y="2216"/>
                  <a:pt x="513" y="2213"/>
                  <a:pt x="514" y="2209"/>
                </a:cubicBezTo>
                <a:cubicBezTo>
                  <a:pt x="514" y="2201"/>
                  <a:pt x="513" y="2197"/>
                  <a:pt x="511" y="2196"/>
                </a:cubicBezTo>
                <a:cubicBezTo>
                  <a:pt x="509" y="2196"/>
                  <a:pt x="508" y="2196"/>
                  <a:pt x="508" y="2195"/>
                </a:cubicBezTo>
                <a:cubicBezTo>
                  <a:pt x="507" y="2194"/>
                  <a:pt x="507" y="2192"/>
                  <a:pt x="508" y="2188"/>
                </a:cubicBezTo>
                <a:cubicBezTo>
                  <a:pt x="506" y="2176"/>
                  <a:pt x="505" y="2170"/>
                  <a:pt x="505" y="2169"/>
                </a:cubicBezTo>
                <a:cubicBezTo>
                  <a:pt x="507" y="2163"/>
                  <a:pt x="508" y="2159"/>
                  <a:pt x="508" y="2157"/>
                </a:cubicBezTo>
                <a:cubicBezTo>
                  <a:pt x="508" y="2156"/>
                  <a:pt x="508" y="2155"/>
                  <a:pt x="508" y="2154"/>
                </a:cubicBezTo>
                <a:cubicBezTo>
                  <a:pt x="508" y="2150"/>
                  <a:pt x="508" y="2148"/>
                  <a:pt x="508" y="2147"/>
                </a:cubicBezTo>
                <a:cubicBezTo>
                  <a:pt x="508" y="2146"/>
                  <a:pt x="508" y="2144"/>
                  <a:pt x="507" y="2140"/>
                </a:cubicBezTo>
                <a:cubicBezTo>
                  <a:pt x="507" y="2139"/>
                  <a:pt x="507" y="2137"/>
                  <a:pt x="507" y="2135"/>
                </a:cubicBezTo>
                <a:cubicBezTo>
                  <a:pt x="506" y="2133"/>
                  <a:pt x="506" y="2130"/>
                  <a:pt x="506" y="2129"/>
                </a:cubicBezTo>
                <a:cubicBezTo>
                  <a:pt x="505" y="2125"/>
                  <a:pt x="505" y="2120"/>
                  <a:pt x="505" y="2116"/>
                </a:cubicBezTo>
                <a:cubicBezTo>
                  <a:pt x="506" y="2109"/>
                  <a:pt x="508" y="2106"/>
                  <a:pt x="512" y="2106"/>
                </a:cubicBezTo>
                <a:cubicBezTo>
                  <a:pt x="513" y="2106"/>
                  <a:pt x="514" y="2108"/>
                  <a:pt x="515" y="2110"/>
                </a:cubicBezTo>
                <a:cubicBezTo>
                  <a:pt x="516" y="2113"/>
                  <a:pt x="518" y="2114"/>
                  <a:pt x="519" y="2114"/>
                </a:cubicBezTo>
                <a:cubicBezTo>
                  <a:pt x="520" y="2114"/>
                  <a:pt x="521" y="2113"/>
                  <a:pt x="522" y="2109"/>
                </a:cubicBezTo>
                <a:cubicBezTo>
                  <a:pt x="522" y="2104"/>
                  <a:pt x="522" y="2100"/>
                  <a:pt x="520" y="2096"/>
                </a:cubicBezTo>
                <a:cubicBezTo>
                  <a:pt x="519" y="2091"/>
                  <a:pt x="516" y="2089"/>
                  <a:pt x="513" y="2089"/>
                </a:cubicBezTo>
                <a:cubicBezTo>
                  <a:pt x="510" y="2088"/>
                  <a:pt x="506" y="2090"/>
                  <a:pt x="502" y="2095"/>
                </a:cubicBezTo>
                <a:cubicBezTo>
                  <a:pt x="498" y="2099"/>
                  <a:pt x="496" y="2103"/>
                  <a:pt x="496" y="2107"/>
                </a:cubicBezTo>
                <a:cubicBezTo>
                  <a:pt x="496" y="2110"/>
                  <a:pt x="497" y="2117"/>
                  <a:pt x="501" y="2129"/>
                </a:cubicBezTo>
                <a:cubicBezTo>
                  <a:pt x="505" y="2141"/>
                  <a:pt x="506" y="2149"/>
                  <a:pt x="506" y="2154"/>
                </a:cubicBezTo>
                <a:cubicBezTo>
                  <a:pt x="506" y="2155"/>
                  <a:pt x="505" y="2156"/>
                  <a:pt x="503" y="2158"/>
                </a:cubicBezTo>
                <a:cubicBezTo>
                  <a:pt x="501" y="2160"/>
                  <a:pt x="499" y="2160"/>
                  <a:pt x="498" y="2160"/>
                </a:cubicBezTo>
                <a:cubicBezTo>
                  <a:pt x="495" y="2159"/>
                  <a:pt x="493" y="2157"/>
                  <a:pt x="492" y="2157"/>
                </a:cubicBezTo>
                <a:cubicBezTo>
                  <a:pt x="492" y="2156"/>
                  <a:pt x="493" y="2156"/>
                  <a:pt x="494" y="2156"/>
                </a:cubicBezTo>
                <a:cubicBezTo>
                  <a:pt x="493" y="2155"/>
                  <a:pt x="493" y="2154"/>
                  <a:pt x="493" y="2153"/>
                </a:cubicBezTo>
                <a:cubicBezTo>
                  <a:pt x="492" y="2150"/>
                  <a:pt x="491" y="2145"/>
                  <a:pt x="489" y="2138"/>
                </a:cubicBezTo>
                <a:cubicBezTo>
                  <a:pt x="488" y="2131"/>
                  <a:pt x="485" y="2127"/>
                  <a:pt x="480" y="2125"/>
                </a:cubicBezTo>
                <a:cubicBezTo>
                  <a:pt x="480" y="2125"/>
                  <a:pt x="480" y="2125"/>
                  <a:pt x="480" y="2126"/>
                </a:cubicBezTo>
                <a:cubicBezTo>
                  <a:pt x="479" y="2128"/>
                  <a:pt x="482" y="2132"/>
                  <a:pt x="486" y="2137"/>
                </a:cubicBezTo>
                <a:cubicBezTo>
                  <a:pt x="487" y="2138"/>
                  <a:pt x="488" y="2140"/>
                  <a:pt x="488" y="2143"/>
                </a:cubicBezTo>
                <a:cubicBezTo>
                  <a:pt x="488" y="2145"/>
                  <a:pt x="488" y="2147"/>
                  <a:pt x="489" y="2150"/>
                </a:cubicBezTo>
                <a:lnTo>
                  <a:pt x="489" y="2154"/>
                </a:lnTo>
                <a:lnTo>
                  <a:pt x="471" y="2155"/>
                </a:lnTo>
                <a:cubicBezTo>
                  <a:pt x="475" y="2161"/>
                  <a:pt x="477" y="2164"/>
                  <a:pt x="477" y="2166"/>
                </a:cubicBezTo>
                <a:cubicBezTo>
                  <a:pt x="478" y="2168"/>
                  <a:pt x="479" y="2169"/>
                  <a:pt x="481" y="2170"/>
                </a:cubicBezTo>
                <a:cubicBezTo>
                  <a:pt x="482" y="2171"/>
                  <a:pt x="484" y="2172"/>
                  <a:pt x="487" y="2173"/>
                </a:cubicBezTo>
                <a:cubicBezTo>
                  <a:pt x="488" y="2176"/>
                  <a:pt x="488" y="2181"/>
                  <a:pt x="487" y="2188"/>
                </a:cubicBezTo>
                <a:cubicBezTo>
                  <a:pt x="487" y="2189"/>
                  <a:pt x="488" y="2192"/>
                  <a:pt x="488" y="2194"/>
                </a:cubicBezTo>
                <a:cubicBezTo>
                  <a:pt x="489" y="2197"/>
                  <a:pt x="490" y="2199"/>
                  <a:pt x="490" y="2200"/>
                </a:cubicBezTo>
                <a:cubicBezTo>
                  <a:pt x="490" y="2200"/>
                  <a:pt x="490" y="2200"/>
                  <a:pt x="490" y="2200"/>
                </a:cubicBezTo>
                <a:cubicBezTo>
                  <a:pt x="489" y="2202"/>
                  <a:pt x="489" y="2203"/>
                  <a:pt x="488" y="2204"/>
                </a:cubicBezTo>
                <a:cubicBezTo>
                  <a:pt x="486" y="2209"/>
                  <a:pt x="485" y="2212"/>
                  <a:pt x="484" y="2212"/>
                </a:cubicBezTo>
                <a:cubicBezTo>
                  <a:pt x="484" y="2216"/>
                  <a:pt x="483" y="2219"/>
                  <a:pt x="481" y="2221"/>
                </a:cubicBezTo>
                <a:cubicBezTo>
                  <a:pt x="481" y="2221"/>
                  <a:pt x="480" y="2220"/>
                  <a:pt x="479" y="2218"/>
                </a:cubicBezTo>
                <a:cubicBezTo>
                  <a:pt x="477" y="2217"/>
                  <a:pt x="476" y="2216"/>
                  <a:pt x="476" y="2216"/>
                </a:cubicBezTo>
                <a:cubicBezTo>
                  <a:pt x="472" y="2224"/>
                  <a:pt x="470" y="2228"/>
                  <a:pt x="470" y="2228"/>
                </a:cubicBezTo>
                <a:cubicBezTo>
                  <a:pt x="469" y="2231"/>
                  <a:pt x="467" y="2233"/>
                  <a:pt x="466" y="2235"/>
                </a:cubicBezTo>
                <a:cubicBezTo>
                  <a:pt x="465" y="2236"/>
                  <a:pt x="464" y="2238"/>
                  <a:pt x="462" y="2241"/>
                </a:cubicBezTo>
                <a:cubicBezTo>
                  <a:pt x="460" y="2244"/>
                  <a:pt x="458" y="2246"/>
                  <a:pt x="456" y="2246"/>
                </a:cubicBezTo>
                <a:cubicBezTo>
                  <a:pt x="454" y="2247"/>
                  <a:pt x="450" y="2247"/>
                  <a:pt x="445" y="2246"/>
                </a:cubicBezTo>
                <a:cubicBezTo>
                  <a:pt x="442" y="2242"/>
                  <a:pt x="440" y="2242"/>
                  <a:pt x="440" y="2243"/>
                </a:cubicBezTo>
                <a:cubicBezTo>
                  <a:pt x="440" y="2244"/>
                  <a:pt x="440" y="2246"/>
                  <a:pt x="441" y="2248"/>
                </a:cubicBezTo>
                <a:cubicBezTo>
                  <a:pt x="441" y="2251"/>
                  <a:pt x="438" y="2253"/>
                  <a:pt x="434" y="2254"/>
                </a:cubicBezTo>
                <a:cubicBezTo>
                  <a:pt x="417" y="2238"/>
                  <a:pt x="407" y="2228"/>
                  <a:pt x="403" y="2225"/>
                </a:cubicBezTo>
                <a:lnTo>
                  <a:pt x="403" y="2224"/>
                </a:lnTo>
                <a:cubicBezTo>
                  <a:pt x="402" y="2227"/>
                  <a:pt x="404" y="2231"/>
                  <a:pt x="407" y="2236"/>
                </a:cubicBezTo>
                <a:cubicBezTo>
                  <a:pt x="409" y="2238"/>
                  <a:pt x="412" y="2241"/>
                  <a:pt x="415" y="2244"/>
                </a:cubicBezTo>
                <a:cubicBezTo>
                  <a:pt x="404" y="2253"/>
                  <a:pt x="398" y="2257"/>
                  <a:pt x="396" y="2259"/>
                </a:cubicBezTo>
                <a:cubicBezTo>
                  <a:pt x="388" y="2264"/>
                  <a:pt x="381" y="2266"/>
                  <a:pt x="374" y="2266"/>
                </a:cubicBezTo>
                <a:cubicBezTo>
                  <a:pt x="376" y="2270"/>
                  <a:pt x="379" y="2274"/>
                  <a:pt x="383" y="2277"/>
                </a:cubicBezTo>
                <a:cubicBezTo>
                  <a:pt x="381" y="2281"/>
                  <a:pt x="378" y="2284"/>
                  <a:pt x="372" y="2285"/>
                </a:cubicBezTo>
                <a:cubicBezTo>
                  <a:pt x="366" y="2286"/>
                  <a:pt x="360" y="2287"/>
                  <a:pt x="357" y="2287"/>
                </a:cubicBezTo>
                <a:cubicBezTo>
                  <a:pt x="358" y="2288"/>
                  <a:pt x="359" y="2290"/>
                  <a:pt x="358" y="2293"/>
                </a:cubicBezTo>
                <a:cubicBezTo>
                  <a:pt x="358" y="2295"/>
                  <a:pt x="357" y="2298"/>
                  <a:pt x="354" y="2300"/>
                </a:cubicBezTo>
                <a:cubicBezTo>
                  <a:pt x="352" y="2303"/>
                  <a:pt x="350" y="2305"/>
                  <a:pt x="348" y="2306"/>
                </a:cubicBezTo>
                <a:cubicBezTo>
                  <a:pt x="347" y="2307"/>
                  <a:pt x="344" y="2308"/>
                  <a:pt x="340" y="2310"/>
                </a:cubicBezTo>
                <a:cubicBezTo>
                  <a:pt x="335" y="2311"/>
                  <a:pt x="333" y="2312"/>
                  <a:pt x="333" y="2313"/>
                </a:cubicBezTo>
                <a:cubicBezTo>
                  <a:pt x="333" y="2314"/>
                  <a:pt x="333" y="2315"/>
                  <a:pt x="334" y="2317"/>
                </a:cubicBezTo>
                <a:cubicBezTo>
                  <a:pt x="334" y="2318"/>
                  <a:pt x="333" y="2319"/>
                  <a:pt x="331" y="2320"/>
                </a:cubicBezTo>
                <a:cubicBezTo>
                  <a:pt x="331" y="2321"/>
                  <a:pt x="330" y="2321"/>
                  <a:pt x="330" y="2322"/>
                </a:cubicBezTo>
                <a:cubicBezTo>
                  <a:pt x="330" y="2322"/>
                  <a:pt x="329" y="2322"/>
                  <a:pt x="329" y="2322"/>
                </a:cubicBezTo>
                <a:cubicBezTo>
                  <a:pt x="326" y="2326"/>
                  <a:pt x="324" y="2328"/>
                  <a:pt x="323" y="2330"/>
                </a:cubicBezTo>
                <a:cubicBezTo>
                  <a:pt x="319" y="2334"/>
                  <a:pt x="315" y="2336"/>
                  <a:pt x="310" y="2336"/>
                </a:cubicBezTo>
                <a:cubicBezTo>
                  <a:pt x="310" y="2337"/>
                  <a:pt x="310" y="2338"/>
                  <a:pt x="310" y="2339"/>
                </a:cubicBezTo>
                <a:cubicBezTo>
                  <a:pt x="309" y="2344"/>
                  <a:pt x="308" y="2347"/>
                  <a:pt x="306" y="2349"/>
                </a:cubicBezTo>
                <a:cubicBezTo>
                  <a:pt x="306" y="2350"/>
                  <a:pt x="304" y="2350"/>
                  <a:pt x="302" y="2350"/>
                </a:cubicBezTo>
                <a:cubicBezTo>
                  <a:pt x="299" y="2351"/>
                  <a:pt x="297" y="2351"/>
                  <a:pt x="297" y="2351"/>
                </a:cubicBezTo>
                <a:cubicBezTo>
                  <a:pt x="294" y="2351"/>
                  <a:pt x="292" y="2353"/>
                  <a:pt x="290" y="2356"/>
                </a:cubicBezTo>
                <a:cubicBezTo>
                  <a:pt x="289" y="2358"/>
                  <a:pt x="288" y="2360"/>
                  <a:pt x="286" y="2364"/>
                </a:cubicBezTo>
                <a:cubicBezTo>
                  <a:pt x="283" y="2362"/>
                  <a:pt x="281" y="2361"/>
                  <a:pt x="280" y="2361"/>
                </a:cubicBezTo>
                <a:cubicBezTo>
                  <a:pt x="278" y="2361"/>
                  <a:pt x="275" y="2363"/>
                  <a:pt x="271" y="2368"/>
                </a:cubicBezTo>
                <a:cubicBezTo>
                  <a:pt x="269" y="2371"/>
                  <a:pt x="267" y="2373"/>
                  <a:pt x="266" y="2375"/>
                </a:cubicBezTo>
                <a:cubicBezTo>
                  <a:pt x="263" y="2378"/>
                  <a:pt x="260" y="2379"/>
                  <a:pt x="257" y="2380"/>
                </a:cubicBezTo>
                <a:cubicBezTo>
                  <a:pt x="255" y="2380"/>
                  <a:pt x="253" y="2381"/>
                  <a:pt x="252" y="2383"/>
                </a:cubicBezTo>
                <a:cubicBezTo>
                  <a:pt x="251" y="2385"/>
                  <a:pt x="250" y="2385"/>
                  <a:pt x="248" y="2385"/>
                </a:cubicBezTo>
                <a:cubicBezTo>
                  <a:pt x="245" y="2385"/>
                  <a:pt x="244" y="2384"/>
                  <a:pt x="243" y="2381"/>
                </a:cubicBezTo>
                <a:cubicBezTo>
                  <a:pt x="243" y="2378"/>
                  <a:pt x="242" y="2375"/>
                  <a:pt x="241" y="2373"/>
                </a:cubicBezTo>
                <a:cubicBezTo>
                  <a:pt x="240" y="2374"/>
                  <a:pt x="239" y="2377"/>
                  <a:pt x="238" y="2383"/>
                </a:cubicBezTo>
                <a:cubicBezTo>
                  <a:pt x="235" y="2382"/>
                  <a:pt x="234" y="2382"/>
                  <a:pt x="233" y="2385"/>
                </a:cubicBezTo>
                <a:cubicBezTo>
                  <a:pt x="232" y="2388"/>
                  <a:pt x="231" y="2390"/>
                  <a:pt x="230" y="2390"/>
                </a:cubicBezTo>
                <a:cubicBezTo>
                  <a:pt x="228" y="2391"/>
                  <a:pt x="224" y="2390"/>
                  <a:pt x="217" y="2389"/>
                </a:cubicBezTo>
                <a:cubicBezTo>
                  <a:pt x="211" y="2388"/>
                  <a:pt x="207" y="2389"/>
                  <a:pt x="204" y="2393"/>
                </a:cubicBezTo>
                <a:cubicBezTo>
                  <a:pt x="201" y="2396"/>
                  <a:pt x="198" y="2397"/>
                  <a:pt x="193" y="2397"/>
                </a:cubicBezTo>
                <a:cubicBezTo>
                  <a:pt x="182" y="2394"/>
                  <a:pt x="174" y="2393"/>
                  <a:pt x="169" y="2392"/>
                </a:cubicBezTo>
                <a:cubicBezTo>
                  <a:pt x="164" y="2391"/>
                  <a:pt x="161" y="2391"/>
                  <a:pt x="158" y="2390"/>
                </a:cubicBezTo>
                <a:cubicBezTo>
                  <a:pt x="154" y="2389"/>
                  <a:pt x="152" y="2386"/>
                  <a:pt x="153" y="2383"/>
                </a:cubicBezTo>
                <a:cubicBezTo>
                  <a:pt x="152" y="2385"/>
                  <a:pt x="151" y="2386"/>
                  <a:pt x="148" y="2386"/>
                </a:cubicBezTo>
                <a:cubicBezTo>
                  <a:pt x="146" y="2386"/>
                  <a:pt x="144" y="2383"/>
                  <a:pt x="142" y="2378"/>
                </a:cubicBezTo>
                <a:cubicBezTo>
                  <a:pt x="141" y="2379"/>
                  <a:pt x="140" y="2380"/>
                  <a:pt x="140" y="2381"/>
                </a:cubicBezTo>
                <a:cubicBezTo>
                  <a:pt x="139" y="2382"/>
                  <a:pt x="138" y="2382"/>
                  <a:pt x="136" y="2382"/>
                </a:cubicBezTo>
                <a:cubicBezTo>
                  <a:pt x="135" y="2382"/>
                  <a:pt x="132" y="2380"/>
                  <a:pt x="126" y="2378"/>
                </a:cubicBezTo>
                <a:cubicBezTo>
                  <a:pt x="123" y="2380"/>
                  <a:pt x="122" y="2380"/>
                  <a:pt x="120" y="2380"/>
                </a:cubicBezTo>
                <a:cubicBezTo>
                  <a:pt x="115" y="2380"/>
                  <a:pt x="112" y="2378"/>
                  <a:pt x="109" y="2374"/>
                </a:cubicBezTo>
                <a:cubicBezTo>
                  <a:pt x="107" y="2371"/>
                  <a:pt x="106" y="2368"/>
                  <a:pt x="106" y="2364"/>
                </a:cubicBezTo>
                <a:cubicBezTo>
                  <a:pt x="106" y="2360"/>
                  <a:pt x="111" y="2356"/>
                  <a:pt x="119" y="2351"/>
                </a:cubicBezTo>
                <a:cubicBezTo>
                  <a:pt x="127" y="2347"/>
                  <a:pt x="132" y="2344"/>
                  <a:pt x="134" y="2343"/>
                </a:cubicBezTo>
                <a:cubicBezTo>
                  <a:pt x="123" y="2345"/>
                  <a:pt x="117" y="2346"/>
                  <a:pt x="115" y="2346"/>
                </a:cubicBezTo>
                <a:cubicBezTo>
                  <a:pt x="113" y="2346"/>
                  <a:pt x="112" y="2346"/>
                  <a:pt x="112" y="2346"/>
                </a:cubicBezTo>
                <a:cubicBezTo>
                  <a:pt x="112" y="2345"/>
                  <a:pt x="112" y="2344"/>
                  <a:pt x="111" y="2343"/>
                </a:cubicBezTo>
                <a:cubicBezTo>
                  <a:pt x="108" y="2345"/>
                  <a:pt x="106" y="2346"/>
                  <a:pt x="105" y="2346"/>
                </a:cubicBezTo>
                <a:cubicBezTo>
                  <a:pt x="103" y="2346"/>
                  <a:pt x="101" y="2345"/>
                  <a:pt x="99" y="2343"/>
                </a:cubicBezTo>
                <a:cubicBezTo>
                  <a:pt x="96" y="2340"/>
                  <a:pt x="94" y="2339"/>
                  <a:pt x="94" y="2339"/>
                </a:cubicBezTo>
                <a:cubicBezTo>
                  <a:pt x="91" y="2338"/>
                  <a:pt x="89" y="2337"/>
                  <a:pt x="86" y="2335"/>
                </a:cubicBezTo>
                <a:cubicBezTo>
                  <a:pt x="86" y="2335"/>
                  <a:pt x="86" y="2335"/>
                  <a:pt x="85" y="2335"/>
                </a:cubicBezTo>
                <a:cubicBezTo>
                  <a:pt x="84" y="2334"/>
                  <a:pt x="83" y="2333"/>
                  <a:pt x="82" y="2332"/>
                </a:cubicBezTo>
                <a:cubicBezTo>
                  <a:pt x="80" y="2331"/>
                  <a:pt x="78" y="2329"/>
                  <a:pt x="75" y="2326"/>
                </a:cubicBezTo>
                <a:cubicBezTo>
                  <a:pt x="68" y="2323"/>
                  <a:pt x="64" y="2320"/>
                  <a:pt x="62" y="2317"/>
                </a:cubicBezTo>
                <a:cubicBezTo>
                  <a:pt x="62" y="2316"/>
                  <a:pt x="60" y="2314"/>
                  <a:pt x="57" y="2312"/>
                </a:cubicBezTo>
                <a:cubicBezTo>
                  <a:pt x="55" y="2310"/>
                  <a:pt x="53" y="2308"/>
                  <a:pt x="52" y="2306"/>
                </a:cubicBezTo>
                <a:cubicBezTo>
                  <a:pt x="49" y="2300"/>
                  <a:pt x="46" y="2297"/>
                  <a:pt x="44" y="2295"/>
                </a:cubicBezTo>
                <a:cubicBezTo>
                  <a:pt x="39" y="2293"/>
                  <a:pt x="33" y="2285"/>
                  <a:pt x="26" y="2273"/>
                </a:cubicBezTo>
                <a:cubicBezTo>
                  <a:pt x="19" y="2259"/>
                  <a:pt x="16" y="2249"/>
                  <a:pt x="17" y="2241"/>
                </a:cubicBezTo>
                <a:cubicBezTo>
                  <a:pt x="18" y="2239"/>
                  <a:pt x="19" y="2237"/>
                  <a:pt x="19" y="2235"/>
                </a:cubicBezTo>
                <a:cubicBezTo>
                  <a:pt x="19" y="2234"/>
                  <a:pt x="20" y="2231"/>
                  <a:pt x="22" y="2227"/>
                </a:cubicBezTo>
                <a:cubicBezTo>
                  <a:pt x="25" y="2223"/>
                  <a:pt x="27" y="2220"/>
                  <a:pt x="27" y="2218"/>
                </a:cubicBezTo>
                <a:cubicBezTo>
                  <a:pt x="28" y="2216"/>
                  <a:pt x="30" y="2214"/>
                  <a:pt x="32" y="2211"/>
                </a:cubicBezTo>
                <a:cubicBezTo>
                  <a:pt x="35" y="2209"/>
                  <a:pt x="38" y="2207"/>
                  <a:pt x="41" y="2208"/>
                </a:cubicBezTo>
                <a:cubicBezTo>
                  <a:pt x="43" y="2208"/>
                  <a:pt x="45" y="2209"/>
                  <a:pt x="45" y="2211"/>
                </a:cubicBezTo>
                <a:lnTo>
                  <a:pt x="47" y="2218"/>
                </a:lnTo>
                <a:lnTo>
                  <a:pt x="48" y="2219"/>
                </a:lnTo>
                <a:cubicBezTo>
                  <a:pt x="47" y="2217"/>
                  <a:pt x="49" y="2215"/>
                  <a:pt x="53" y="2213"/>
                </a:cubicBezTo>
                <a:cubicBezTo>
                  <a:pt x="56" y="2211"/>
                  <a:pt x="59" y="2209"/>
                  <a:pt x="61" y="2210"/>
                </a:cubicBezTo>
                <a:cubicBezTo>
                  <a:pt x="64" y="2210"/>
                  <a:pt x="67" y="2212"/>
                  <a:pt x="70" y="2217"/>
                </a:cubicBezTo>
                <a:cubicBezTo>
                  <a:pt x="71" y="2218"/>
                  <a:pt x="72" y="2220"/>
                  <a:pt x="74" y="2222"/>
                </a:cubicBezTo>
                <a:cubicBezTo>
                  <a:pt x="78" y="2229"/>
                  <a:pt x="83" y="2232"/>
                  <a:pt x="87" y="2232"/>
                </a:cubicBezTo>
                <a:lnTo>
                  <a:pt x="87" y="2231"/>
                </a:lnTo>
                <a:cubicBezTo>
                  <a:pt x="82" y="2225"/>
                  <a:pt x="79" y="2221"/>
                  <a:pt x="79" y="2221"/>
                </a:cubicBezTo>
                <a:cubicBezTo>
                  <a:pt x="79" y="2220"/>
                  <a:pt x="83" y="2217"/>
                  <a:pt x="89" y="2214"/>
                </a:cubicBezTo>
                <a:cubicBezTo>
                  <a:pt x="94" y="2210"/>
                  <a:pt x="98" y="2209"/>
                  <a:pt x="101" y="2208"/>
                </a:cubicBezTo>
                <a:cubicBezTo>
                  <a:pt x="101" y="2208"/>
                  <a:pt x="106" y="2207"/>
                  <a:pt x="115" y="2206"/>
                </a:cubicBezTo>
                <a:cubicBezTo>
                  <a:pt x="120" y="2206"/>
                  <a:pt x="124" y="2204"/>
                  <a:pt x="127" y="2201"/>
                </a:cubicBezTo>
                <a:cubicBezTo>
                  <a:pt x="112" y="2203"/>
                  <a:pt x="102" y="2203"/>
                  <a:pt x="97" y="2203"/>
                </a:cubicBezTo>
                <a:cubicBezTo>
                  <a:pt x="95" y="2204"/>
                  <a:pt x="91" y="2206"/>
                  <a:pt x="86" y="2211"/>
                </a:cubicBezTo>
                <a:cubicBezTo>
                  <a:pt x="81" y="2215"/>
                  <a:pt x="78" y="2217"/>
                  <a:pt x="77" y="2217"/>
                </a:cubicBezTo>
                <a:cubicBezTo>
                  <a:pt x="74" y="2217"/>
                  <a:pt x="73" y="2216"/>
                  <a:pt x="72" y="2215"/>
                </a:cubicBezTo>
                <a:cubicBezTo>
                  <a:pt x="71" y="2214"/>
                  <a:pt x="71" y="2212"/>
                  <a:pt x="71" y="2210"/>
                </a:cubicBezTo>
                <a:cubicBezTo>
                  <a:pt x="74" y="2204"/>
                  <a:pt x="77" y="2200"/>
                  <a:pt x="77" y="2200"/>
                </a:cubicBezTo>
                <a:cubicBezTo>
                  <a:pt x="75" y="2201"/>
                  <a:pt x="73" y="2201"/>
                  <a:pt x="71" y="2200"/>
                </a:cubicBezTo>
                <a:cubicBezTo>
                  <a:pt x="69" y="2199"/>
                  <a:pt x="67" y="2199"/>
                  <a:pt x="67" y="2197"/>
                </a:cubicBezTo>
                <a:cubicBezTo>
                  <a:pt x="65" y="2194"/>
                  <a:pt x="65" y="2190"/>
                  <a:pt x="65" y="2187"/>
                </a:cubicBezTo>
                <a:cubicBezTo>
                  <a:pt x="65" y="2185"/>
                  <a:pt x="69" y="2183"/>
                  <a:pt x="76" y="2181"/>
                </a:cubicBezTo>
                <a:cubicBezTo>
                  <a:pt x="82" y="2179"/>
                  <a:pt x="86" y="2179"/>
                  <a:pt x="87" y="2179"/>
                </a:cubicBezTo>
                <a:lnTo>
                  <a:pt x="88" y="2178"/>
                </a:lnTo>
                <a:cubicBezTo>
                  <a:pt x="83" y="2177"/>
                  <a:pt x="81" y="2176"/>
                  <a:pt x="81" y="2175"/>
                </a:cubicBezTo>
                <a:cubicBezTo>
                  <a:pt x="81" y="2175"/>
                  <a:pt x="82" y="2174"/>
                  <a:pt x="84" y="2172"/>
                </a:cubicBezTo>
                <a:cubicBezTo>
                  <a:pt x="85" y="2171"/>
                  <a:pt x="87" y="2169"/>
                  <a:pt x="90" y="2166"/>
                </a:cubicBezTo>
                <a:cubicBezTo>
                  <a:pt x="95" y="2162"/>
                  <a:pt x="98" y="2159"/>
                  <a:pt x="100" y="2158"/>
                </a:cubicBezTo>
                <a:cubicBezTo>
                  <a:pt x="103" y="2157"/>
                  <a:pt x="112" y="2156"/>
                  <a:pt x="126" y="2153"/>
                </a:cubicBezTo>
                <a:lnTo>
                  <a:pt x="126" y="2153"/>
                </a:lnTo>
                <a:lnTo>
                  <a:pt x="115" y="2152"/>
                </a:lnTo>
                <a:cubicBezTo>
                  <a:pt x="112" y="2152"/>
                  <a:pt x="108" y="2153"/>
                  <a:pt x="103" y="2155"/>
                </a:cubicBezTo>
                <a:cubicBezTo>
                  <a:pt x="102" y="2156"/>
                  <a:pt x="101" y="2156"/>
                  <a:pt x="99" y="2157"/>
                </a:cubicBezTo>
                <a:cubicBezTo>
                  <a:pt x="97" y="2158"/>
                  <a:pt x="94" y="2158"/>
                  <a:pt x="93" y="2159"/>
                </a:cubicBezTo>
                <a:cubicBezTo>
                  <a:pt x="92" y="2157"/>
                  <a:pt x="92" y="2156"/>
                  <a:pt x="92" y="2155"/>
                </a:cubicBezTo>
                <a:cubicBezTo>
                  <a:pt x="92" y="2154"/>
                  <a:pt x="93" y="2153"/>
                  <a:pt x="95" y="2151"/>
                </a:cubicBezTo>
                <a:cubicBezTo>
                  <a:pt x="98" y="2150"/>
                  <a:pt x="99" y="2149"/>
                  <a:pt x="99" y="2149"/>
                </a:cubicBezTo>
                <a:lnTo>
                  <a:pt x="92" y="2148"/>
                </a:lnTo>
                <a:cubicBezTo>
                  <a:pt x="89" y="2147"/>
                  <a:pt x="87" y="2145"/>
                  <a:pt x="85" y="2145"/>
                </a:cubicBezTo>
                <a:cubicBezTo>
                  <a:pt x="85" y="2144"/>
                  <a:pt x="84" y="2144"/>
                  <a:pt x="83" y="2143"/>
                </a:cubicBezTo>
                <a:lnTo>
                  <a:pt x="84" y="2139"/>
                </a:lnTo>
                <a:cubicBezTo>
                  <a:pt x="84" y="2137"/>
                  <a:pt x="86" y="2135"/>
                  <a:pt x="87" y="2134"/>
                </a:cubicBezTo>
                <a:cubicBezTo>
                  <a:pt x="90" y="2133"/>
                  <a:pt x="92" y="2132"/>
                  <a:pt x="93" y="2132"/>
                </a:cubicBezTo>
                <a:cubicBezTo>
                  <a:pt x="95" y="2131"/>
                  <a:pt x="98" y="2130"/>
                  <a:pt x="101" y="2129"/>
                </a:cubicBezTo>
                <a:cubicBezTo>
                  <a:pt x="102" y="2129"/>
                  <a:pt x="102" y="2129"/>
                  <a:pt x="102" y="2129"/>
                </a:cubicBezTo>
                <a:cubicBezTo>
                  <a:pt x="103" y="2128"/>
                  <a:pt x="103" y="2128"/>
                  <a:pt x="103" y="2128"/>
                </a:cubicBezTo>
                <a:cubicBezTo>
                  <a:pt x="105" y="2124"/>
                  <a:pt x="107" y="2122"/>
                  <a:pt x="109" y="2120"/>
                </a:cubicBezTo>
                <a:cubicBezTo>
                  <a:pt x="111" y="2118"/>
                  <a:pt x="113" y="2117"/>
                  <a:pt x="116" y="2116"/>
                </a:cubicBezTo>
                <a:cubicBezTo>
                  <a:pt x="118" y="2115"/>
                  <a:pt x="125" y="2113"/>
                  <a:pt x="136" y="2111"/>
                </a:cubicBezTo>
                <a:lnTo>
                  <a:pt x="136" y="2111"/>
                </a:lnTo>
                <a:lnTo>
                  <a:pt x="136" y="2110"/>
                </a:lnTo>
                <a:lnTo>
                  <a:pt x="131" y="2109"/>
                </a:lnTo>
                <a:cubicBezTo>
                  <a:pt x="125" y="2111"/>
                  <a:pt x="122" y="2111"/>
                  <a:pt x="122" y="2111"/>
                </a:cubicBezTo>
                <a:lnTo>
                  <a:pt x="116" y="2111"/>
                </a:lnTo>
                <a:cubicBezTo>
                  <a:pt x="115" y="2100"/>
                  <a:pt x="115" y="2095"/>
                  <a:pt x="115" y="2094"/>
                </a:cubicBezTo>
                <a:cubicBezTo>
                  <a:pt x="115" y="2094"/>
                  <a:pt x="115" y="2094"/>
                  <a:pt x="114" y="2094"/>
                </a:cubicBezTo>
                <a:cubicBezTo>
                  <a:pt x="114" y="2105"/>
                  <a:pt x="111" y="2112"/>
                  <a:pt x="105" y="2115"/>
                </a:cubicBezTo>
                <a:cubicBezTo>
                  <a:pt x="102" y="2117"/>
                  <a:pt x="97" y="2118"/>
                  <a:pt x="91" y="2118"/>
                </a:cubicBezTo>
                <a:cubicBezTo>
                  <a:pt x="88" y="2118"/>
                  <a:pt x="85" y="2118"/>
                  <a:pt x="82" y="2118"/>
                </a:cubicBezTo>
                <a:cubicBezTo>
                  <a:pt x="81" y="2118"/>
                  <a:pt x="76" y="2116"/>
                  <a:pt x="68" y="2113"/>
                </a:cubicBezTo>
                <a:cubicBezTo>
                  <a:pt x="67" y="2114"/>
                  <a:pt x="68" y="2115"/>
                  <a:pt x="68" y="2116"/>
                </a:cubicBezTo>
                <a:cubicBezTo>
                  <a:pt x="68" y="2117"/>
                  <a:pt x="67" y="2119"/>
                  <a:pt x="65" y="2120"/>
                </a:cubicBezTo>
                <a:cubicBezTo>
                  <a:pt x="64" y="2120"/>
                  <a:pt x="63" y="2121"/>
                  <a:pt x="62" y="2122"/>
                </a:cubicBezTo>
                <a:cubicBezTo>
                  <a:pt x="62" y="2123"/>
                  <a:pt x="64" y="2125"/>
                  <a:pt x="67" y="2126"/>
                </a:cubicBezTo>
                <a:lnTo>
                  <a:pt x="67" y="2126"/>
                </a:lnTo>
                <a:cubicBezTo>
                  <a:pt x="70" y="2128"/>
                  <a:pt x="71" y="2130"/>
                  <a:pt x="71" y="2133"/>
                </a:cubicBezTo>
                <a:cubicBezTo>
                  <a:pt x="70" y="2134"/>
                  <a:pt x="69" y="2135"/>
                  <a:pt x="66" y="2137"/>
                </a:cubicBezTo>
                <a:cubicBezTo>
                  <a:pt x="65" y="2137"/>
                  <a:pt x="64" y="2138"/>
                  <a:pt x="63" y="2139"/>
                </a:cubicBezTo>
                <a:cubicBezTo>
                  <a:pt x="60" y="2140"/>
                  <a:pt x="57" y="2141"/>
                  <a:pt x="55" y="2142"/>
                </a:cubicBezTo>
                <a:cubicBezTo>
                  <a:pt x="54" y="2143"/>
                  <a:pt x="52" y="2143"/>
                  <a:pt x="51" y="2144"/>
                </a:cubicBezTo>
                <a:cubicBezTo>
                  <a:pt x="50" y="2141"/>
                  <a:pt x="49" y="2136"/>
                  <a:pt x="49" y="2127"/>
                </a:cubicBezTo>
                <a:cubicBezTo>
                  <a:pt x="48" y="2118"/>
                  <a:pt x="46" y="2113"/>
                  <a:pt x="43" y="2112"/>
                </a:cubicBezTo>
                <a:cubicBezTo>
                  <a:pt x="42" y="2114"/>
                  <a:pt x="41" y="2115"/>
                  <a:pt x="40" y="2117"/>
                </a:cubicBezTo>
                <a:cubicBezTo>
                  <a:pt x="41" y="2117"/>
                  <a:pt x="41" y="2117"/>
                  <a:pt x="42" y="2117"/>
                </a:cubicBezTo>
                <a:cubicBezTo>
                  <a:pt x="44" y="2117"/>
                  <a:pt x="45" y="2120"/>
                  <a:pt x="46" y="2126"/>
                </a:cubicBezTo>
                <a:cubicBezTo>
                  <a:pt x="46" y="2132"/>
                  <a:pt x="47" y="2136"/>
                  <a:pt x="46" y="2138"/>
                </a:cubicBezTo>
                <a:cubicBezTo>
                  <a:pt x="46" y="2140"/>
                  <a:pt x="46" y="2141"/>
                  <a:pt x="45" y="2142"/>
                </a:cubicBezTo>
                <a:cubicBezTo>
                  <a:pt x="45" y="2143"/>
                  <a:pt x="44" y="2144"/>
                  <a:pt x="42" y="2145"/>
                </a:cubicBezTo>
                <a:cubicBezTo>
                  <a:pt x="40" y="2145"/>
                  <a:pt x="38" y="2146"/>
                  <a:pt x="34" y="2147"/>
                </a:cubicBezTo>
                <a:cubicBezTo>
                  <a:pt x="34" y="2146"/>
                  <a:pt x="34" y="2144"/>
                  <a:pt x="34" y="2143"/>
                </a:cubicBezTo>
                <a:cubicBezTo>
                  <a:pt x="34" y="2137"/>
                  <a:pt x="34" y="2132"/>
                  <a:pt x="34" y="2127"/>
                </a:cubicBezTo>
                <a:cubicBezTo>
                  <a:pt x="34" y="2126"/>
                  <a:pt x="34" y="2125"/>
                  <a:pt x="33" y="2125"/>
                </a:cubicBezTo>
                <a:cubicBezTo>
                  <a:pt x="29" y="2126"/>
                  <a:pt x="26" y="2127"/>
                  <a:pt x="25" y="2127"/>
                </a:cubicBezTo>
                <a:cubicBezTo>
                  <a:pt x="22" y="2126"/>
                  <a:pt x="20" y="2125"/>
                  <a:pt x="18" y="2122"/>
                </a:cubicBezTo>
                <a:cubicBezTo>
                  <a:pt x="18" y="2122"/>
                  <a:pt x="18" y="2121"/>
                  <a:pt x="17" y="2121"/>
                </a:cubicBezTo>
                <a:cubicBezTo>
                  <a:pt x="15" y="2118"/>
                  <a:pt x="15" y="2114"/>
                  <a:pt x="15" y="2111"/>
                </a:cubicBezTo>
                <a:cubicBezTo>
                  <a:pt x="15" y="2108"/>
                  <a:pt x="17" y="2105"/>
                  <a:pt x="20" y="2103"/>
                </a:cubicBezTo>
                <a:cubicBezTo>
                  <a:pt x="20" y="2103"/>
                  <a:pt x="19" y="2103"/>
                  <a:pt x="17" y="2102"/>
                </a:cubicBezTo>
                <a:cubicBezTo>
                  <a:pt x="16" y="2101"/>
                  <a:pt x="15" y="2100"/>
                  <a:pt x="16" y="2098"/>
                </a:cubicBezTo>
                <a:cubicBezTo>
                  <a:pt x="16" y="2096"/>
                  <a:pt x="18" y="2093"/>
                  <a:pt x="21" y="2088"/>
                </a:cubicBezTo>
                <a:cubicBezTo>
                  <a:pt x="22" y="2087"/>
                  <a:pt x="23" y="2086"/>
                  <a:pt x="24" y="2085"/>
                </a:cubicBezTo>
                <a:cubicBezTo>
                  <a:pt x="26" y="2083"/>
                  <a:pt x="27" y="2082"/>
                  <a:pt x="29" y="2082"/>
                </a:cubicBezTo>
                <a:cubicBezTo>
                  <a:pt x="29" y="2082"/>
                  <a:pt x="33" y="2084"/>
                  <a:pt x="38" y="2086"/>
                </a:cubicBezTo>
                <a:cubicBezTo>
                  <a:pt x="37" y="2084"/>
                  <a:pt x="36" y="2083"/>
                  <a:pt x="37" y="2081"/>
                </a:cubicBezTo>
                <a:cubicBezTo>
                  <a:pt x="37" y="2078"/>
                  <a:pt x="38" y="2075"/>
                  <a:pt x="39" y="2074"/>
                </a:cubicBezTo>
                <a:cubicBezTo>
                  <a:pt x="40" y="2072"/>
                  <a:pt x="42" y="2071"/>
                  <a:pt x="44" y="2071"/>
                </a:cubicBezTo>
                <a:cubicBezTo>
                  <a:pt x="45" y="2071"/>
                  <a:pt x="46" y="2072"/>
                  <a:pt x="47" y="2073"/>
                </a:cubicBezTo>
                <a:cubicBezTo>
                  <a:pt x="47" y="2074"/>
                  <a:pt x="47" y="2075"/>
                  <a:pt x="47" y="2076"/>
                </a:cubicBezTo>
                <a:cubicBezTo>
                  <a:pt x="47" y="2077"/>
                  <a:pt x="47" y="2078"/>
                  <a:pt x="46" y="2080"/>
                </a:cubicBezTo>
                <a:cubicBezTo>
                  <a:pt x="45" y="2081"/>
                  <a:pt x="46" y="2084"/>
                  <a:pt x="46" y="2089"/>
                </a:cubicBezTo>
                <a:cubicBezTo>
                  <a:pt x="46" y="2095"/>
                  <a:pt x="44" y="2099"/>
                  <a:pt x="40" y="2100"/>
                </a:cubicBezTo>
                <a:cubicBezTo>
                  <a:pt x="38" y="2102"/>
                  <a:pt x="33" y="2103"/>
                  <a:pt x="27" y="2103"/>
                </a:cubicBezTo>
                <a:lnTo>
                  <a:pt x="27" y="2104"/>
                </a:lnTo>
                <a:lnTo>
                  <a:pt x="41" y="2105"/>
                </a:lnTo>
                <a:cubicBezTo>
                  <a:pt x="46" y="2098"/>
                  <a:pt x="49" y="2094"/>
                  <a:pt x="49" y="2092"/>
                </a:cubicBezTo>
                <a:lnTo>
                  <a:pt x="49" y="2084"/>
                </a:lnTo>
                <a:cubicBezTo>
                  <a:pt x="49" y="2083"/>
                  <a:pt x="49" y="2082"/>
                  <a:pt x="51" y="2081"/>
                </a:cubicBezTo>
                <a:cubicBezTo>
                  <a:pt x="52" y="2080"/>
                  <a:pt x="53" y="2079"/>
                  <a:pt x="54" y="2079"/>
                </a:cubicBezTo>
                <a:cubicBezTo>
                  <a:pt x="54" y="2079"/>
                  <a:pt x="61" y="2084"/>
                  <a:pt x="73" y="2093"/>
                </a:cubicBezTo>
                <a:cubicBezTo>
                  <a:pt x="73" y="2093"/>
                  <a:pt x="74" y="2090"/>
                  <a:pt x="77" y="2085"/>
                </a:cubicBezTo>
                <a:cubicBezTo>
                  <a:pt x="77" y="2085"/>
                  <a:pt x="76" y="2084"/>
                  <a:pt x="75" y="2084"/>
                </a:cubicBezTo>
                <a:cubicBezTo>
                  <a:pt x="74" y="2085"/>
                  <a:pt x="73" y="2085"/>
                  <a:pt x="73" y="2085"/>
                </a:cubicBezTo>
                <a:cubicBezTo>
                  <a:pt x="71" y="2085"/>
                  <a:pt x="71" y="2084"/>
                  <a:pt x="71" y="2082"/>
                </a:cubicBezTo>
                <a:cubicBezTo>
                  <a:pt x="71" y="2081"/>
                  <a:pt x="74" y="2078"/>
                  <a:pt x="79" y="2075"/>
                </a:cubicBezTo>
                <a:cubicBezTo>
                  <a:pt x="85" y="2072"/>
                  <a:pt x="88" y="2070"/>
                  <a:pt x="89" y="2070"/>
                </a:cubicBezTo>
                <a:cubicBezTo>
                  <a:pt x="89" y="2070"/>
                  <a:pt x="89" y="2070"/>
                  <a:pt x="89" y="2071"/>
                </a:cubicBezTo>
                <a:cubicBezTo>
                  <a:pt x="91" y="2071"/>
                  <a:pt x="93" y="2072"/>
                  <a:pt x="94" y="2073"/>
                </a:cubicBezTo>
                <a:cubicBezTo>
                  <a:pt x="94" y="2073"/>
                  <a:pt x="104" y="2067"/>
                  <a:pt x="123" y="2055"/>
                </a:cubicBezTo>
                <a:lnTo>
                  <a:pt x="123" y="2055"/>
                </a:lnTo>
                <a:lnTo>
                  <a:pt x="118" y="2054"/>
                </a:lnTo>
                <a:cubicBezTo>
                  <a:pt x="100" y="2062"/>
                  <a:pt x="91" y="2066"/>
                  <a:pt x="91" y="2066"/>
                </a:cubicBezTo>
                <a:cubicBezTo>
                  <a:pt x="88" y="2066"/>
                  <a:pt x="88" y="2064"/>
                  <a:pt x="88" y="2061"/>
                </a:cubicBezTo>
                <a:cubicBezTo>
                  <a:pt x="88" y="2058"/>
                  <a:pt x="88" y="2056"/>
                  <a:pt x="88" y="2056"/>
                </a:cubicBezTo>
                <a:cubicBezTo>
                  <a:pt x="87" y="2056"/>
                  <a:pt x="85" y="2057"/>
                  <a:pt x="83" y="2060"/>
                </a:cubicBezTo>
                <a:cubicBezTo>
                  <a:pt x="81" y="2063"/>
                  <a:pt x="80" y="2065"/>
                  <a:pt x="80" y="2064"/>
                </a:cubicBezTo>
                <a:cubicBezTo>
                  <a:pt x="79" y="2064"/>
                  <a:pt x="77" y="2063"/>
                  <a:pt x="75" y="2061"/>
                </a:cubicBezTo>
                <a:cubicBezTo>
                  <a:pt x="73" y="2059"/>
                  <a:pt x="72" y="2058"/>
                  <a:pt x="72" y="2058"/>
                </a:cubicBezTo>
                <a:cubicBezTo>
                  <a:pt x="68" y="2055"/>
                  <a:pt x="66" y="2053"/>
                  <a:pt x="66" y="2051"/>
                </a:cubicBezTo>
                <a:cubicBezTo>
                  <a:pt x="66" y="2050"/>
                  <a:pt x="66" y="2049"/>
                  <a:pt x="66" y="2049"/>
                </a:cubicBezTo>
                <a:cubicBezTo>
                  <a:pt x="67" y="2048"/>
                  <a:pt x="67" y="2047"/>
                  <a:pt x="68" y="2047"/>
                </a:cubicBezTo>
                <a:cubicBezTo>
                  <a:pt x="68" y="2047"/>
                  <a:pt x="69" y="2046"/>
                  <a:pt x="72" y="2045"/>
                </a:cubicBezTo>
                <a:cubicBezTo>
                  <a:pt x="73" y="2045"/>
                  <a:pt x="74" y="2044"/>
                  <a:pt x="75" y="2041"/>
                </a:cubicBezTo>
                <a:cubicBezTo>
                  <a:pt x="75" y="2039"/>
                  <a:pt x="76" y="2038"/>
                  <a:pt x="77" y="2037"/>
                </a:cubicBezTo>
                <a:cubicBezTo>
                  <a:pt x="79" y="2036"/>
                  <a:pt x="83" y="2034"/>
                  <a:pt x="88" y="2033"/>
                </a:cubicBezTo>
                <a:cubicBezTo>
                  <a:pt x="88" y="2033"/>
                  <a:pt x="90" y="2030"/>
                  <a:pt x="94" y="2025"/>
                </a:cubicBezTo>
                <a:cubicBezTo>
                  <a:pt x="94" y="2025"/>
                  <a:pt x="95" y="2024"/>
                  <a:pt x="95" y="2024"/>
                </a:cubicBezTo>
                <a:cubicBezTo>
                  <a:pt x="96" y="2022"/>
                  <a:pt x="98" y="2019"/>
                  <a:pt x="100" y="2017"/>
                </a:cubicBezTo>
                <a:cubicBezTo>
                  <a:pt x="102" y="2013"/>
                  <a:pt x="105" y="2011"/>
                  <a:pt x="107" y="2010"/>
                </a:cubicBezTo>
                <a:cubicBezTo>
                  <a:pt x="109" y="2010"/>
                  <a:pt x="113" y="2009"/>
                  <a:pt x="119" y="2008"/>
                </a:cubicBezTo>
                <a:cubicBezTo>
                  <a:pt x="123" y="2007"/>
                  <a:pt x="126" y="2006"/>
                  <a:pt x="126" y="2003"/>
                </a:cubicBezTo>
                <a:cubicBezTo>
                  <a:pt x="122" y="2004"/>
                  <a:pt x="118" y="2004"/>
                  <a:pt x="116" y="2003"/>
                </a:cubicBezTo>
                <a:cubicBezTo>
                  <a:pt x="112" y="2003"/>
                  <a:pt x="110" y="2000"/>
                  <a:pt x="111" y="1994"/>
                </a:cubicBezTo>
                <a:cubicBezTo>
                  <a:pt x="111" y="1991"/>
                  <a:pt x="113" y="1989"/>
                  <a:pt x="116" y="1988"/>
                </a:cubicBezTo>
                <a:cubicBezTo>
                  <a:pt x="119" y="1988"/>
                  <a:pt x="122" y="1986"/>
                  <a:pt x="123" y="1983"/>
                </a:cubicBezTo>
                <a:lnTo>
                  <a:pt x="129" y="1976"/>
                </a:lnTo>
                <a:cubicBezTo>
                  <a:pt x="130" y="1975"/>
                  <a:pt x="131" y="1974"/>
                  <a:pt x="133" y="1974"/>
                </a:cubicBezTo>
                <a:cubicBezTo>
                  <a:pt x="134" y="1974"/>
                  <a:pt x="136" y="1973"/>
                  <a:pt x="136" y="1973"/>
                </a:cubicBezTo>
                <a:cubicBezTo>
                  <a:pt x="136" y="1972"/>
                  <a:pt x="137" y="1971"/>
                  <a:pt x="137" y="1969"/>
                </a:cubicBezTo>
                <a:cubicBezTo>
                  <a:pt x="137" y="1967"/>
                  <a:pt x="138" y="1966"/>
                  <a:pt x="139" y="1965"/>
                </a:cubicBezTo>
                <a:cubicBezTo>
                  <a:pt x="141" y="1964"/>
                  <a:pt x="144" y="1964"/>
                  <a:pt x="148" y="1964"/>
                </a:cubicBezTo>
                <a:cubicBezTo>
                  <a:pt x="149" y="1963"/>
                  <a:pt x="151" y="1962"/>
                  <a:pt x="153" y="1959"/>
                </a:cubicBezTo>
                <a:cubicBezTo>
                  <a:pt x="155" y="1958"/>
                  <a:pt x="156" y="1957"/>
                  <a:pt x="157" y="1957"/>
                </a:cubicBezTo>
                <a:cubicBezTo>
                  <a:pt x="158" y="1957"/>
                  <a:pt x="159" y="1956"/>
                  <a:pt x="161" y="1956"/>
                </a:cubicBezTo>
                <a:cubicBezTo>
                  <a:pt x="164" y="1957"/>
                  <a:pt x="166" y="1959"/>
                  <a:pt x="166" y="1962"/>
                </a:cubicBezTo>
                <a:cubicBezTo>
                  <a:pt x="165" y="1966"/>
                  <a:pt x="165" y="1970"/>
                  <a:pt x="163" y="1975"/>
                </a:cubicBezTo>
                <a:cubicBezTo>
                  <a:pt x="161" y="1979"/>
                  <a:pt x="158" y="1985"/>
                  <a:pt x="155" y="1991"/>
                </a:cubicBezTo>
                <a:cubicBezTo>
                  <a:pt x="154" y="1994"/>
                  <a:pt x="153" y="1998"/>
                  <a:pt x="152" y="2004"/>
                </a:cubicBezTo>
                <a:cubicBezTo>
                  <a:pt x="150" y="2009"/>
                  <a:pt x="149" y="2014"/>
                  <a:pt x="147" y="2017"/>
                </a:cubicBezTo>
                <a:cubicBezTo>
                  <a:pt x="152" y="2012"/>
                  <a:pt x="156" y="2004"/>
                  <a:pt x="160" y="1993"/>
                </a:cubicBezTo>
                <a:cubicBezTo>
                  <a:pt x="162" y="1986"/>
                  <a:pt x="164" y="1980"/>
                  <a:pt x="166" y="1976"/>
                </a:cubicBezTo>
                <a:cubicBezTo>
                  <a:pt x="167" y="1972"/>
                  <a:pt x="168" y="1970"/>
                  <a:pt x="169" y="1969"/>
                </a:cubicBezTo>
                <a:cubicBezTo>
                  <a:pt x="172" y="1962"/>
                  <a:pt x="177" y="1957"/>
                  <a:pt x="182" y="1954"/>
                </a:cubicBezTo>
                <a:cubicBezTo>
                  <a:pt x="184" y="1953"/>
                  <a:pt x="185" y="1953"/>
                  <a:pt x="187" y="1952"/>
                </a:cubicBezTo>
                <a:cubicBezTo>
                  <a:pt x="189" y="1952"/>
                  <a:pt x="193" y="1952"/>
                  <a:pt x="201" y="1951"/>
                </a:cubicBezTo>
                <a:cubicBezTo>
                  <a:pt x="207" y="1951"/>
                  <a:pt x="210" y="1950"/>
                  <a:pt x="212" y="1949"/>
                </a:cubicBezTo>
                <a:cubicBezTo>
                  <a:pt x="212" y="1949"/>
                  <a:pt x="212" y="1949"/>
                  <a:pt x="211" y="1949"/>
                </a:cubicBezTo>
                <a:cubicBezTo>
                  <a:pt x="203" y="1949"/>
                  <a:pt x="199" y="1949"/>
                  <a:pt x="198" y="1949"/>
                </a:cubicBezTo>
                <a:cubicBezTo>
                  <a:pt x="196" y="1949"/>
                  <a:pt x="195" y="1948"/>
                  <a:pt x="195" y="1946"/>
                </a:cubicBezTo>
                <a:cubicBezTo>
                  <a:pt x="196" y="1944"/>
                  <a:pt x="197" y="1942"/>
                  <a:pt x="198" y="1939"/>
                </a:cubicBezTo>
                <a:cubicBezTo>
                  <a:pt x="201" y="1934"/>
                  <a:pt x="203" y="1932"/>
                  <a:pt x="203" y="1932"/>
                </a:cubicBezTo>
                <a:cubicBezTo>
                  <a:pt x="201" y="1932"/>
                  <a:pt x="198" y="1934"/>
                  <a:pt x="195" y="1938"/>
                </a:cubicBezTo>
                <a:cubicBezTo>
                  <a:pt x="193" y="1942"/>
                  <a:pt x="192" y="1945"/>
                  <a:pt x="190" y="1947"/>
                </a:cubicBezTo>
                <a:cubicBezTo>
                  <a:pt x="189" y="1948"/>
                  <a:pt x="186" y="1950"/>
                  <a:pt x="181" y="1951"/>
                </a:cubicBezTo>
                <a:cubicBezTo>
                  <a:pt x="179" y="1952"/>
                  <a:pt x="176" y="1953"/>
                  <a:pt x="173" y="1954"/>
                </a:cubicBezTo>
                <a:cubicBezTo>
                  <a:pt x="172" y="1954"/>
                  <a:pt x="171" y="1953"/>
                  <a:pt x="170" y="1951"/>
                </a:cubicBezTo>
                <a:cubicBezTo>
                  <a:pt x="170" y="1948"/>
                  <a:pt x="169" y="1947"/>
                  <a:pt x="169" y="1946"/>
                </a:cubicBezTo>
                <a:cubicBezTo>
                  <a:pt x="167" y="1949"/>
                  <a:pt x="163" y="1952"/>
                  <a:pt x="156" y="1954"/>
                </a:cubicBezTo>
                <a:cubicBezTo>
                  <a:pt x="154" y="1954"/>
                  <a:pt x="151" y="1955"/>
                  <a:pt x="148" y="1956"/>
                </a:cubicBezTo>
                <a:cubicBezTo>
                  <a:pt x="138" y="1957"/>
                  <a:pt x="130" y="1958"/>
                  <a:pt x="126" y="1961"/>
                </a:cubicBezTo>
                <a:cubicBezTo>
                  <a:pt x="127" y="1962"/>
                  <a:pt x="127" y="1964"/>
                  <a:pt x="126" y="1966"/>
                </a:cubicBezTo>
                <a:cubicBezTo>
                  <a:pt x="126" y="1970"/>
                  <a:pt x="123" y="1974"/>
                  <a:pt x="116" y="1976"/>
                </a:cubicBezTo>
                <a:cubicBezTo>
                  <a:pt x="109" y="1979"/>
                  <a:pt x="105" y="1982"/>
                  <a:pt x="105" y="1984"/>
                </a:cubicBezTo>
                <a:cubicBezTo>
                  <a:pt x="104" y="1986"/>
                  <a:pt x="103" y="1988"/>
                  <a:pt x="101" y="1990"/>
                </a:cubicBezTo>
                <a:cubicBezTo>
                  <a:pt x="100" y="1992"/>
                  <a:pt x="98" y="1994"/>
                  <a:pt x="98" y="1995"/>
                </a:cubicBezTo>
                <a:lnTo>
                  <a:pt x="96" y="2010"/>
                </a:lnTo>
                <a:cubicBezTo>
                  <a:pt x="96" y="2015"/>
                  <a:pt x="95" y="2019"/>
                  <a:pt x="93" y="2022"/>
                </a:cubicBezTo>
                <a:cubicBezTo>
                  <a:pt x="91" y="2024"/>
                  <a:pt x="89" y="2026"/>
                  <a:pt x="87" y="2025"/>
                </a:cubicBezTo>
                <a:cubicBezTo>
                  <a:pt x="85" y="2025"/>
                  <a:pt x="83" y="2024"/>
                  <a:pt x="79" y="2021"/>
                </a:cubicBezTo>
                <a:cubicBezTo>
                  <a:pt x="76" y="2018"/>
                  <a:pt x="74" y="2016"/>
                  <a:pt x="74" y="2015"/>
                </a:cubicBezTo>
                <a:cubicBezTo>
                  <a:pt x="75" y="2001"/>
                  <a:pt x="78" y="1991"/>
                  <a:pt x="83" y="1985"/>
                </a:cubicBezTo>
                <a:cubicBezTo>
                  <a:pt x="77" y="1989"/>
                  <a:pt x="73" y="1990"/>
                  <a:pt x="72" y="1990"/>
                </a:cubicBezTo>
                <a:cubicBezTo>
                  <a:pt x="71" y="1990"/>
                  <a:pt x="70" y="1989"/>
                  <a:pt x="69" y="1988"/>
                </a:cubicBezTo>
                <a:cubicBezTo>
                  <a:pt x="68" y="1987"/>
                  <a:pt x="67" y="1986"/>
                  <a:pt x="67" y="1985"/>
                </a:cubicBezTo>
                <a:cubicBezTo>
                  <a:pt x="67" y="1984"/>
                  <a:pt x="68" y="1982"/>
                  <a:pt x="69" y="1981"/>
                </a:cubicBezTo>
                <a:cubicBezTo>
                  <a:pt x="70" y="1980"/>
                  <a:pt x="71" y="1979"/>
                  <a:pt x="73" y="1978"/>
                </a:cubicBezTo>
                <a:cubicBezTo>
                  <a:pt x="76" y="1976"/>
                  <a:pt x="79" y="1976"/>
                  <a:pt x="81" y="1977"/>
                </a:cubicBezTo>
                <a:lnTo>
                  <a:pt x="77" y="1974"/>
                </a:lnTo>
                <a:cubicBezTo>
                  <a:pt x="77" y="1973"/>
                  <a:pt x="77" y="1972"/>
                  <a:pt x="77" y="1970"/>
                </a:cubicBezTo>
                <a:cubicBezTo>
                  <a:pt x="77" y="1966"/>
                  <a:pt x="79" y="1962"/>
                  <a:pt x="80" y="1960"/>
                </a:cubicBezTo>
                <a:cubicBezTo>
                  <a:pt x="83" y="1956"/>
                  <a:pt x="86" y="1953"/>
                  <a:pt x="87" y="1950"/>
                </a:cubicBezTo>
                <a:lnTo>
                  <a:pt x="86" y="1950"/>
                </a:lnTo>
                <a:cubicBezTo>
                  <a:pt x="83" y="1951"/>
                  <a:pt x="79" y="1953"/>
                  <a:pt x="77" y="1959"/>
                </a:cubicBezTo>
                <a:cubicBezTo>
                  <a:pt x="75" y="1962"/>
                  <a:pt x="73" y="1966"/>
                  <a:pt x="71" y="1972"/>
                </a:cubicBezTo>
                <a:cubicBezTo>
                  <a:pt x="70" y="1975"/>
                  <a:pt x="68" y="1977"/>
                  <a:pt x="66" y="1979"/>
                </a:cubicBezTo>
                <a:cubicBezTo>
                  <a:pt x="65" y="1980"/>
                  <a:pt x="64" y="1982"/>
                  <a:pt x="62" y="1983"/>
                </a:cubicBezTo>
                <a:cubicBezTo>
                  <a:pt x="57" y="1987"/>
                  <a:pt x="53" y="1990"/>
                  <a:pt x="52" y="1991"/>
                </a:cubicBezTo>
                <a:cubicBezTo>
                  <a:pt x="52" y="1987"/>
                  <a:pt x="50" y="1983"/>
                  <a:pt x="47" y="1981"/>
                </a:cubicBezTo>
                <a:cubicBezTo>
                  <a:pt x="43" y="1978"/>
                  <a:pt x="40" y="1976"/>
                  <a:pt x="38" y="1974"/>
                </a:cubicBezTo>
                <a:cubicBezTo>
                  <a:pt x="41" y="1971"/>
                  <a:pt x="43" y="1969"/>
                  <a:pt x="44" y="1967"/>
                </a:cubicBezTo>
                <a:cubicBezTo>
                  <a:pt x="44" y="1965"/>
                  <a:pt x="43" y="1964"/>
                  <a:pt x="41" y="1964"/>
                </a:cubicBezTo>
                <a:cubicBezTo>
                  <a:pt x="39" y="1964"/>
                  <a:pt x="38" y="1963"/>
                  <a:pt x="38" y="1963"/>
                </a:cubicBezTo>
                <a:cubicBezTo>
                  <a:pt x="38" y="1963"/>
                  <a:pt x="37" y="1962"/>
                  <a:pt x="37" y="1962"/>
                </a:cubicBezTo>
                <a:cubicBezTo>
                  <a:pt x="38" y="1962"/>
                  <a:pt x="41" y="1959"/>
                  <a:pt x="44" y="1955"/>
                </a:cubicBezTo>
                <a:cubicBezTo>
                  <a:pt x="40" y="1953"/>
                  <a:pt x="38" y="1950"/>
                  <a:pt x="38" y="1948"/>
                </a:cubicBezTo>
                <a:cubicBezTo>
                  <a:pt x="38" y="1945"/>
                  <a:pt x="39" y="1943"/>
                  <a:pt x="40" y="1942"/>
                </a:cubicBezTo>
                <a:cubicBezTo>
                  <a:pt x="42" y="1941"/>
                  <a:pt x="45" y="1941"/>
                  <a:pt x="49" y="1942"/>
                </a:cubicBezTo>
                <a:cubicBezTo>
                  <a:pt x="49" y="1940"/>
                  <a:pt x="49" y="1939"/>
                  <a:pt x="49" y="1938"/>
                </a:cubicBezTo>
                <a:cubicBezTo>
                  <a:pt x="50" y="1934"/>
                  <a:pt x="51" y="1930"/>
                  <a:pt x="51" y="1927"/>
                </a:cubicBezTo>
                <a:cubicBezTo>
                  <a:pt x="51" y="1927"/>
                  <a:pt x="52" y="1927"/>
                  <a:pt x="52" y="1926"/>
                </a:cubicBezTo>
                <a:cubicBezTo>
                  <a:pt x="53" y="1926"/>
                  <a:pt x="53" y="1926"/>
                  <a:pt x="54" y="1927"/>
                </a:cubicBezTo>
                <a:cubicBezTo>
                  <a:pt x="58" y="1927"/>
                  <a:pt x="60" y="1928"/>
                  <a:pt x="61" y="1930"/>
                </a:cubicBezTo>
                <a:cubicBezTo>
                  <a:pt x="61" y="1931"/>
                  <a:pt x="61" y="1932"/>
                  <a:pt x="61" y="1932"/>
                </a:cubicBezTo>
                <a:cubicBezTo>
                  <a:pt x="62" y="1935"/>
                  <a:pt x="62" y="1938"/>
                  <a:pt x="63" y="1944"/>
                </a:cubicBezTo>
                <a:cubicBezTo>
                  <a:pt x="65" y="1944"/>
                  <a:pt x="68" y="1943"/>
                  <a:pt x="72" y="1943"/>
                </a:cubicBezTo>
                <a:cubicBezTo>
                  <a:pt x="76" y="1942"/>
                  <a:pt x="79" y="1941"/>
                  <a:pt x="81" y="1940"/>
                </a:cubicBezTo>
                <a:cubicBezTo>
                  <a:pt x="84" y="1938"/>
                  <a:pt x="86" y="1932"/>
                  <a:pt x="87" y="1924"/>
                </a:cubicBezTo>
                <a:cubicBezTo>
                  <a:pt x="89" y="1913"/>
                  <a:pt x="91" y="1907"/>
                  <a:pt x="91" y="1905"/>
                </a:cubicBezTo>
                <a:cubicBezTo>
                  <a:pt x="91" y="1904"/>
                  <a:pt x="92" y="1904"/>
                  <a:pt x="92" y="1903"/>
                </a:cubicBezTo>
                <a:cubicBezTo>
                  <a:pt x="94" y="1897"/>
                  <a:pt x="97" y="1893"/>
                  <a:pt x="101" y="1891"/>
                </a:cubicBezTo>
                <a:cubicBezTo>
                  <a:pt x="97" y="1891"/>
                  <a:pt x="94" y="1892"/>
                  <a:pt x="94" y="1891"/>
                </a:cubicBezTo>
                <a:cubicBezTo>
                  <a:pt x="92" y="1891"/>
                  <a:pt x="92" y="1890"/>
                  <a:pt x="92" y="1888"/>
                </a:cubicBezTo>
                <a:cubicBezTo>
                  <a:pt x="92" y="1887"/>
                  <a:pt x="92" y="1887"/>
                  <a:pt x="92" y="1886"/>
                </a:cubicBezTo>
                <a:cubicBezTo>
                  <a:pt x="88" y="1887"/>
                  <a:pt x="85" y="1890"/>
                  <a:pt x="80" y="1894"/>
                </a:cubicBezTo>
                <a:cubicBezTo>
                  <a:pt x="76" y="1899"/>
                  <a:pt x="73" y="1903"/>
                  <a:pt x="70" y="1905"/>
                </a:cubicBezTo>
                <a:cubicBezTo>
                  <a:pt x="68" y="1907"/>
                  <a:pt x="64" y="1909"/>
                  <a:pt x="58" y="1911"/>
                </a:cubicBezTo>
                <a:cubicBezTo>
                  <a:pt x="58" y="1911"/>
                  <a:pt x="57" y="1911"/>
                  <a:pt x="56" y="1912"/>
                </a:cubicBezTo>
                <a:cubicBezTo>
                  <a:pt x="53" y="1913"/>
                  <a:pt x="51" y="1914"/>
                  <a:pt x="49" y="1915"/>
                </a:cubicBezTo>
                <a:cubicBezTo>
                  <a:pt x="49" y="1914"/>
                  <a:pt x="49" y="1914"/>
                  <a:pt x="49" y="1913"/>
                </a:cubicBezTo>
                <a:cubicBezTo>
                  <a:pt x="48" y="1911"/>
                  <a:pt x="48" y="1910"/>
                  <a:pt x="48" y="1910"/>
                </a:cubicBezTo>
                <a:cubicBezTo>
                  <a:pt x="49" y="1908"/>
                  <a:pt x="49" y="1906"/>
                  <a:pt x="49" y="1905"/>
                </a:cubicBezTo>
                <a:cubicBezTo>
                  <a:pt x="50" y="1896"/>
                  <a:pt x="48" y="1889"/>
                  <a:pt x="43" y="1883"/>
                </a:cubicBezTo>
                <a:cubicBezTo>
                  <a:pt x="40" y="1880"/>
                  <a:pt x="37" y="1877"/>
                  <a:pt x="36" y="1875"/>
                </a:cubicBezTo>
                <a:cubicBezTo>
                  <a:pt x="35" y="1874"/>
                  <a:pt x="33" y="1872"/>
                  <a:pt x="33" y="1871"/>
                </a:cubicBezTo>
                <a:cubicBezTo>
                  <a:pt x="32" y="1869"/>
                  <a:pt x="31" y="1868"/>
                  <a:pt x="30" y="1866"/>
                </a:cubicBezTo>
                <a:cubicBezTo>
                  <a:pt x="31" y="1865"/>
                  <a:pt x="31" y="1865"/>
                  <a:pt x="32" y="1865"/>
                </a:cubicBezTo>
                <a:cubicBezTo>
                  <a:pt x="34" y="1865"/>
                  <a:pt x="37" y="1866"/>
                  <a:pt x="39" y="1868"/>
                </a:cubicBezTo>
                <a:cubicBezTo>
                  <a:pt x="46" y="1872"/>
                  <a:pt x="54" y="1883"/>
                  <a:pt x="62" y="1899"/>
                </a:cubicBezTo>
                <a:cubicBezTo>
                  <a:pt x="62" y="1899"/>
                  <a:pt x="63" y="1900"/>
                  <a:pt x="64" y="1900"/>
                </a:cubicBezTo>
                <a:lnTo>
                  <a:pt x="65" y="1890"/>
                </a:lnTo>
                <a:cubicBezTo>
                  <a:pt x="64" y="1888"/>
                  <a:pt x="64" y="1886"/>
                  <a:pt x="65" y="1882"/>
                </a:cubicBezTo>
                <a:cubicBezTo>
                  <a:pt x="62" y="1881"/>
                  <a:pt x="60" y="1881"/>
                  <a:pt x="60" y="1881"/>
                </a:cubicBezTo>
                <a:cubicBezTo>
                  <a:pt x="59" y="1881"/>
                  <a:pt x="58" y="1880"/>
                  <a:pt x="58" y="1879"/>
                </a:cubicBezTo>
                <a:cubicBezTo>
                  <a:pt x="59" y="1876"/>
                  <a:pt x="59" y="1874"/>
                  <a:pt x="61" y="1872"/>
                </a:cubicBezTo>
                <a:cubicBezTo>
                  <a:pt x="62" y="1870"/>
                  <a:pt x="64" y="1868"/>
                  <a:pt x="66" y="1867"/>
                </a:cubicBezTo>
                <a:cubicBezTo>
                  <a:pt x="71" y="1864"/>
                  <a:pt x="76" y="1864"/>
                  <a:pt x="83" y="1865"/>
                </a:cubicBezTo>
                <a:lnTo>
                  <a:pt x="84" y="1864"/>
                </a:lnTo>
                <a:cubicBezTo>
                  <a:pt x="79" y="1862"/>
                  <a:pt x="75" y="1860"/>
                  <a:pt x="69" y="1859"/>
                </a:cubicBezTo>
                <a:cubicBezTo>
                  <a:pt x="68" y="1859"/>
                  <a:pt x="65" y="1861"/>
                  <a:pt x="63" y="1864"/>
                </a:cubicBezTo>
                <a:cubicBezTo>
                  <a:pt x="61" y="1867"/>
                  <a:pt x="57" y="1869"/>
                  <a:pt x="52" y="1868"/>
                </a:cubicBezTo>
                <a:cubicBezTo>
                  <a:pt x="50" y="1868"/>
                  <a:pt x="46" y="1866"/>
                  <a:pt x="41" y="1863"/>
                </a:cubicBezTo>
                <a:cubicBezTo>
                  <a:pt x="41" y="1862"/>
                  <a:pt x="41" y="1862"/>
                  <a:pt x="41" y="1862"/>
                </a:cubicBezTo>
                <a:cubicBezTo>
                  <a:pt x="42" y="1860"/>
                  <a:pt x="43" y="1858"/>
                  <a:pt x="44" y="1855"/>
                </a:cubicBezTo>
                <a:cubicBezTo>
                  <a:pt x="45" y="1853"/>
                  <a:pt x="45" y="1852"/>
                  <a:pt x="46" y="1851"/>
                </a:cubicBezTo>
                <a:cubicBezTo>
                  <a:pt x="47" y="1848"/>
                  <a:pt x="47" y="1847"/>
                  <a:pt x="47" y="1847"/>
                </a:cubicBezTo>
                <a:cubicBezTo>
                  <a:pt x="49" y="1841"/>
                  <a:pt x="54" y="1838"/>
                  <a:pt x="61" y="1840"/>
                </a:cubicBezTo>
                <a:lnTo>
                  <a:pt x="61" y="1839"/>
                </a:lnTo>
                <a:cubicBezTo>
                  <a:pt x="49" y="1839"/>
                  <a:pt x="42" y="1835"/>
                  <a:pt x="43" y="1829"/>
                </a:cubicBezTo>
                <a:cubicBezTo>
                  <a:pt x="44" y="1824"/>
                  <a:pt x="45" y="1822"/>
                  <a:pt x="46" y="1820"/>
                </a:cubicBezTo>
                <a:cubicBezTo>
                  <a:pt x="48" y="1819"/>
                  <a:pt x="50" y="1819"/>
                  <a:pt x="54" y="1820"/>
                </a:cubicBezTo>
                <a:cubicBezTo>
                  <a:pt x="55" y="1820"/>
                  <a:pt x="57" y="1820"/>
                  <a:pt x="58" y="1821"/>
                </a:cubicBezTo>
                <a:cubicBezTo>
                  <a:pt x="64" y="1823"/>
                  <a:pt x="70" y="1828"/>
                  <a:pt x="77" y="1837"/>
                </a:cubicBezTo>
                <a:lnTo>
                  <a:pt x="78" y="1837"/>
                </a:lnTo>
                <a:cubicBezTo>
                  <a:pt x="80" y="1832"/>
                  <a:pt x="85" y="1829"/>
                  <a:pt x="93" y="1827"/>
                </a:cubicBezTo>
                <a:cubicBezTo>
                  <a:pt x="104" y="1825"/>
                  <a:pt x="110" y="1824"/>
                  <a:pt x="111" y="1823"/>
                </a:cubicBezTo>
                <a:cubicBezTo>
                  <a:pt x="111" y="1824"/>
                  <a:pt x="111" y="1827"/>
                  <a:pt x="112" y="1830"/>
                </a:cubicBezTo>
                <a:cubicBezTo>
                  <a:pt x="114" y="1829"/>
                  <a:pt x="116" y="1828"/>
                  <a:pt x="117" y="1826"/>
                </a:cubicBezTo>
                <a:cubicBezTo>
                  <a:pt x="118" y="1825"/>
                  <a:pt x="120" y="1824"/>
                  <a:pt x="122" y="1824"/>
                </a:cubicBezTo>
                <a:cubicBezTo>
                  <a:pt x="127" y="1825"/>
                  <a:pt x="137" y="1827"/>
                  <a:pt x="153" y="1832"/>
                </a:cubicBezTo>
                <a:cubicBezTo>
                  <a:pt x="153" y="1833"/>
                  <a:pt x="152" y="1835"/>
                  <a:pt x="151" y="1837"/>
                </a:cubicBezTo>
                <a:cubicBezTo>
                  <a:pt x="151" y="1837"/>
                  <a:pt x="151" y="1839"/>
                  <a:pt x="151" y="1842"/>
                </a:cubicBezTo>
                <a:cubicBezTo>
                  <a:pt x="153" y="1841"/>
                  <a:pt x="154" y="1840"/>
                  <a:pt x="156" y="1840"/>
                </a:cubicBezTo>
                <a:cubicBezTo>
                  <a:pt x="157" y="1841"/>
                  <a:pt x="158" y="1842"/>
                  <a:pt x="160" y="1843"/>
                </a:cubicBezTo>
                <a:cubicBezTo>
                  <a:pt x="161" y="1845"/>
                  <a:pt x="162" y="1846"/>
                  <a:pt x="162" y="1847"/>
                </a:cubicBezTo>
                <a:cubicBezTo>
                  <a:pt x="163" y="1843"/>
                  <a:pt x="166" y="1839"/>
                  <a:pt x="171" y="1837"/>
                </a:cubicBezTo>
                <a:cubicBezTo>
                  <a:pt x="177" y="1833"/>
                  <a:pt x="181" y="1830"/>
                  <a:pt x="183" y="1827"/>
                </a:cubicBezTo>
                <a:cubicBezTo>
                  <a:pt x="185" y="1829"/>
                  <a:pt x="189" y="1829"/>
                  <a:pt x="196" y="1830"/>
                </a:cubicBezTo>
                <a:cubicBezTo>
                  <a:pt x="198" y="1831"/>
                  <a:pt x="201" y="1834"/>
                  <a:pt x="203" y="1838"/>
                </a:cubicBezTo>
                <a:cubicBezTo>
                  <a:pt x="204" y="1838"/>
                  <a:pt x="205" y="1839"/>
                  <a:pt x="208" y="1840"/>
                </a:cubicBezTo>
                <a:cubicBezTo>
                  <a:pt x="210" y="1842"/>
                  <a:pt x="211" y="1843"/>
                  <a:pt x="212" y="1846"/>
                </a:cubicBezTo>
                <a:cubicBezTo>
                  <a:pt x="212" y="1848"/>
                  <a:pt x="212" y="1851"/>
                  <a:pt x="212" y="1854"/>
                </a:cubicBezTo>
                <a:cubicBezTo>
                  <a:pt x="212" y="1855"/>
                  <a:pt x="212" y="1857"/>
                  <a:pt x="212" y="1858"/>
                </a:cubicBezTo>
                <a:cubicBezTo>
                  <a:pt x="212" y="1859"/>
                  <a:pt x="207" y="1864"/>
                  <a:pt x="198" y="1873"/>
                </a:cubicBezTo>
                <a:lnTo>
                  <a:pt x="197" y="1873"/>
                </a:lnTo>
                <a:cubicBezTo>
                  <a:pt x="206" y="1867"/>
                  <a:pt x="211" y="1864"/>
                  <a:pt x="213" y="1865"/>
                </a:cubicBezTo>
                <a:cubicBezTo>
                  <a:pt x="215" y="1865"/>
                  <a:pt x="218" y="1866"/>
                  <a:pt x="219" y="1869"/>
                </a:cubicBezTo>
                <a:cubicBezTo>
                  <a:pt x="221" y="1872"/>
                  <a:pt x="221" y="1875"/>
                  <a:pt x="220" y="1877"/>
                </a:cubicBezTo>
                <a:cubicBezTo>
                  <a:pt x="222" y="1876"/>
                  <a:pt x="225" y="1874"/>
                  <a:pt x="228" y="1871"/>
                </a:cubicBezTo>
                <a:lnTo>
                  <a:pt x="228" y="1870"/>
                </a:lnTo>
                <a:cubicBezTo>
                  <a:pt x="223" y="1867"/>
                  <a:pt x="219" y="1862"/>
                  <a:pt x="219" y="1854"/>
                </a:cubicBezTo>
                <a:cubicBezTo>
                  <a:pt x="219" y="1852"/>
                  <a:pt x="219" y="1850"/>
                  <a:pt x="219" y="1847"/>
                </a:cubicBezTo>
                <a:cubicBezTo>
                  <a:pt x="219" y="1845"/>
                  <a:pt x="220" y="1843"/>
                  <a:pt x="221" y="1842"/>
                </a:cubicBezTo>
                <a:cubicBezTo>
                  <a:pt x="222" y="1841"/>
                  <a:pt x="224" y="1840"/>
                  <a:pt x="228" y="1840"/>
                </a:cubicBezTo>
                <a:cubicBezTo>
                  <a:pt x="229" y="1840"/>
                  <a:pt x="231" y="1839"/>
                  <a:pt x="233" y="1837"/>
                </a:cubicBezTo>
                <a:cubicBezTo>
                  <a:pt x="234" y="1836"/>
                  <a:pt x="236" y="1836"/>
                  <a:pt x="236" y="1836"/>
                </a:cubicBezTo>
                <a:cubicBezTo>
                  <a:pt x="237" y="1835"/>
                  <a:pt x="238" y="1835"/>
                  <a:pt x="239" y="1835"/>
                </a:cubicBezTo>
                <a:cubicBezTo>
                  <a:pt x="241" y="1836"/>
                  <a:pt x="244" y="1837"/>
                  <a:pt x="246" y="1839"/>
                </a:cubicBezTo>
                <a:cubicBezTo>
                  <a:pt x="248" y="1842"/>
                  <a:pt x="250" y="1844"/>
                  <a:pt x="253" y="1844"/>
                </a:cubicBezTo>
                <a:cubicBezTo>
                  <a:pt x="251" y="1840"/>
                  <a:pt x="250" y="1837"/>
                  <a:pt x="251" y="1834"/>
                </a:cubicBezTo>
                <a:cubicBezTo>
                  <a:pt x="251" y="1831"/>
                  <a:pt x="254" y="1830"/>
                  <a:pt x="260" y="1829"/>
                </a:cubicBezTo>
                <a:cubicBezTo>
                  <a:pt x="264" y="1828"/>
                  <a:pt x="268" y="1828"/>
                  <a:pt x="273" y="1827"/>
                </a:cubicBezTo>
                <a:lnTo>
                  <a:pt x="268" y="1827"/>
                </a:lnTo>
                <a:cubicBezTo>
                  <a:pt x="261" y="1827"/>
                  <a:pt x="257" y="1827"/>
                  <a:pt x="255" y="1827"/>
                </a:cubicBezTo>
                <a:lnTo>
                  <a:pt x="249" y="1827"/>
                </a:lnTo>
                <a:lnTo>
                  <a:pt x="250" y="1820"/>
                </a:lnTo>
                <a:cubicBezTo>
                  <a:pt x="251" y="1819"/>
                  <a:pt x="251" y="1817"/>
                  <a:pt x="252" y="1814"/>
                </a:cubicBezTo>
                <a:cubicBezTo>
                  <a:pt x="251" y="1811"/>
                  <a:pt x="251" y="1808"/>
                  <a:pt x="251" y="1806"/>
                </a:cubicBezTo>
                <a:cubicBezTo>
                  <a:pt x="251" y="1805"/>
                  <a:pt x="253" y="1802"/>
                  <a:pt x="257" y="1797"/>
                </a:cubicBezTo>
                <a:cubicBezTo>
                  <a:pt x="262" y="1793"/>
                  <a:pt x="265" y="1789"/>
                  <a:pt x="267" y="1787"/>
                </a:cubicBezTo>
                <a:cubicBezTo>
                  <a:pt x="261" y="1791"/>
                  <a:pt x="256" y="1794"/>
                  <a:pt x="253" y="1795"/>
                </a:cubicBezTo>
                <a:cubicBezTo>
                  <a:pt x="247" y="1799"/>
                  <a:pt x="244" y="1803"/>
                  <a:pt x="244" y="1807"/>
                </a:cubicBezTo>
                <a:cubicBezTo>
                  <a:pt x="243" y="1810"/>
                  <a:pt x="244" y="1815"/>
                  <a:pt x="246" y="1822"/>
                </a:cubicBezTo>
                <a:cubicBezTo>
                  <a:pt x="245" y="1826"/>
                  <a:pt x="244" y="1828"/>
                  <a:pt x="243" y="1830"/>
                </a:cubicBezTo>
                <a:cubicBezTo>
                  <a:pt x="242" y="1831"/>
                  <a:pt x="239" y="1832"/>
                  <a:pt x="236" y="1833"/>
                </a:cubicBezTo>
                <a:cubicBezTo>
                  <a:pt x="236" y="1833"/>
                  <a:pt x="235" y="1833"/>
                  <a:pt x="235" y="1833"/>
                </a:cubicBezTo>
                <a:cubicBezTo>
                  <a:pt x="229" y="1836"/>
                  <a:pt x="223" y="1838"/>
                  <a:pt x="219" y="1837"/>
                </a:cubicBezTo>
                <a:cubicBezTo>
                  <a:pt x="218" y="1837"/>
                  <a:pt x="216" y="1836"/>
                  <a:pt x="214" y="1835"/>
                </a:cubicBezTo>
                <a:cubicBezTo>
                  <a:pt x="213" y="1833"/>
                  <a:pt x="211" y="1833"/>
                  <a:pt x="210" y="1833"/>
                </a:cubicBezTo>
                <a:cubicBezTo>
                  <a:pt x="210" y="1832"/>
                  <a:pt x="210" y="1832"/>
                  <a:pt x="210" y="1832"/>
                </a:cubicBezTo>
                <a:cubicBezTo>
                  <a:pt x="211" y="1832"/>
                  <a:pt x="215" y="1828"/>
                  <a:pt x="223" y="1822"/>
                </a:cubicBezTo>
                <a:lnTo>
                  <a:pt x="223" y="1822"/>
                </a:lnTo>
                <a:cubicBezTo>
                  <a:pt x="214" y="1826"/>
                  <a:pt x="209" y="1828"/>
                  <a:pt x="207" y="1828"/>
                </a:cubicBezTo>
                <a:cubicBezTo>
                  <a:pt x="205" y="1828"/>
                  <a:pt x="202" y="1827"/>
                  <a:pt x="198" y="1825"/>
                </a:cubicBezTo>
                <a:cubicBezTo>
                  <a:pt x="197" y="1824"/>
                  <a:pt x="195" y="1824"/>
                  <a:pt x="193" y="1822"/>
                </a:cubicBezTo>
                <a:cubicBezTo>
                  <a:pt x="187" y="1819"/>
                  <a:pt x="183" y="1816"/>
                  <a:pt x="184" y="1814"/>
                </a:cubicBezTo>
                <a:cubicBezTo>
                  <a:pt x="184" y="1813"/>
                  <a:pt x="189" y="1807"/>
                  <a:pt x="199" y="1796"/>
                </a:cubicBezTo>
                <a:lnTo>
                  <a:pt x="199" y="1792"/>
                </a:lnTo>
                <a:cubicBezTo>
                  <a:pt x="196" y="1796"/>
                  <a:pt x="193" y="1799"/>
                  <a:pt x="191" y="1801"/>
                </a:cubicBezTo>
                <a:cubicBezTo>
                  <a:pt x="187" y="1804"/>
                  <a:pt x="183" y="1806"/>
                  <a:pt x="179" y="1805"/>
                </a:cubicBezTo>
                <a:lnTo>
                  <a:pt x="180" y="1811"/>
                </a:lnTo>
                <a:cubicBezTo>
                  <a:pt x="180" y="1812"/>
                  <a:pt x="180" y="1813"/>
                  <a:pt x="179" y="1813"/>
                </a:cubicBezTo>
                <a:cubicBezTo>
                  <a:pt x="179" y="1817"/>
                  <a:pt x="177" y="1820"/>
                  <a:pt x="174" y="1824"/>
                </a:cubicBezTo>
                <a:cubicBezTo>
                  <a:pt x="170" y="1829"/>
                  <a:pt x="167" y="1831"/>
                  <a:pt x="164" y="1831"/>
                </a:cubicBezTo>
                <a:cubicBezTo>
                  <a:pt x="161" y="1831"/>
                  <a:pt x="158" y="1829"/>
                  <a:pt x="156" y="1828"/>
                </a:cubicBezTo>
                <a:cubicBezTo>
                  <a:pt x="153" y="1825"/>
                  <a:pt x="150" y="1822"/>
                  <a:pt x="148" y="1817"/>
                </a:cubicBezTo>
                <a:cubicBezTo>
                  <a:pt x="147" y="1818"/>
                  <a:pt x="146" y="1820"/>
                  <a:pt x="145" y="1820"/>
                </a:cubicBezTo>
                <a:cubicBezTo>
                  <a:pt x="144" y="1821"/>
                  <a:pt x="142" y="1821"/>
                  <a:pt x="141" y="1821"/>
                </a:cubicBezTo>
                <a:cubicBezTo>
                  <a:pt x="138" y="1821"/>
                  <a:pt x="134" y="1820"/>
                  <a:pt x="131" y="1818"/>
                </a:cubicBezTo>
                <a:cubicBezTo>
                  <a:pt x="128" y="1816"/>
                  <a:pt x="127" y="1815"/>
                  <a:pt x="126" y="1815"/>
                </a:cubicBezTo>
                <a:cubicBezTo>
                  <a:pt x="124" y="1817"/>
                  <a:pt x="122" y="1817"/>
                  <a:pt x="120" y="1817"/>
                </a:cubicBezTo>
                <a:cubicBezTo>
                  <a:pt x="117" y="1815"/>
                  <a:pt x="115" y="1814"/>
                  <a:pt x="113" y="1814"/>
                </a:cubicBezTo>
                <a:cubicBezTo>
                  <a:pt x="112" y="1814"/>
                  <a:pt x="105" y="1815"/>
                  <a:pt x="93" y="1817"/>
                </a:cubicBezTo>
                <a:cubicBezTo>
                  <a:pt x="93" y="1818"/>
                  <a:pt x="90" y="1819"/>
                  <a:pt x="86" y="1822"/>
                </a:cubicBezTo>
                <a:cubicBezTo>
                  <a:pt x="82" y="1824"/>
                  <a:pt x="79" y="1826"/>
                  <a:pt x="76" y="1825"/>
                </a:cubicBezTo>
                <a:cubicBezTo>
                  <a:pt x="76" y="1825"/>
                  <a:pt x="74" y="1824"/>
                  <a:pt x="71" y="1820"/>
                </a:cubicBezTo>
                <a:cubicBezTo>
                  <a:pt x="69" y="1817"/>
                  <a:pt x="66" y="1815"/>
                  <a:pt x="63" y="1815"/>
                </a:cubicBezTo>
                <a:cubicBezTo>
                  <a:pt x="62" y="1815"/>
                  <a:pt x="61" y="1814"/>
                  <a:pt x="61" y="1814"/>
                </a:cubicBezTo>
                <a:cubicBezTo>
                  <a:pt x="61" y="1814"/>
                  <a:pt x="60" y="1813"/>
                  <a:pt x="60" y="1813"/>
                </a:cubicBezTo>
                <a:cubicBezTo>
                  <a:pt x="61" y="1811"/>
                  <a:pt x="61" y="1810"/>
                  <a:pt x="62" y="1808"/>
                </a:cubicBezTo>
                <a:cubicBezTo>
                  <a:pt x="59" y="1808"/>
                  <a:pt x="58" y="1807"/>
                  <a:pt x="57" y="1807"/>
                </a:cubicBezTo>
                <a:cubicBezTo>
                  <a:pt x="56" y="1806"/>
                  <a:pt x="56" y="1806"/>
                  <a:pt x="55" y="1805"/>
                </a:cubicBezTo>
                <a:cubicBezTo>
                  <a:pt x="55" y="1805"/>
                  <a:pt x="55" y="1804"/>
                  <a:pt x="55" y="1803"/>
                </a:cubicBezTo>
                <a:cubicBezTo>
                  <a:pt x="55" y="1800"/>
                  <a:pt x="58" y="1799"/>
                  <a:pt x="62" y="1800"/>
                </a:cubicBezTo>
                <a:lnTo>
                  <a:pt x="63" y="1799"/>
                </a:lnTo>
                <a:cubicBezTo>
                  <a:pt x="60" y="1799"/>
                  <a:pt x="57" y="1797"/>
                  <a:pt x="54" y="1794"/>
                </a:cubicBezTo>
                <a:cubicBezTo>
                  <a:pt x="50" y="1791"/>
                  <a:pt x="48" y="1788"/>
                  <a:pt x="49" y="1785"/>
                </a:cubicBezTo>
                <a:cubicBezTo>
                  <a:pt x="49" y="1784"/>
                  <a:pt x="50" y="1783"/>
                  <a:pt x="52" y="1781"/>
                </a:cubicBezTo>
                <a:cubicBezTo>
                  <a:pt x="53" y="1781"/>
                  <a:pt x="53" y="1781"/>
                  <a:pt x="53" y="1780"/>
                </a:cubicBezTo>
                <a:cubicBezTo>
                  <a:pt x="56" y="1779"/>
                  <a:pt x="58" y="1778"/>
                  <a:pt x="59" y="1778"/>
                </a:cubicBezTo>
                <a:cubicBezTo>
                  <a:pt x="59" y="1778"/>
                  <a:pt x="60" y="1778"/>
                  <a:pt x="61" y="1778"/>
                </a:cubicBezTo>
                <a:cubicBezTo>
                  <a:pt x="64" y="1778"/>
                  <a:pt x="67" y="1778"/>
                  <a:pt x="71" y="1776"/>
                </a:cubicBezTo>
                <a:cubicBezTo>
                  <a:pt x="76" y="1774"/>
                  <a:pt x="80" y="1773"/>
                  <a:pt x="86" y="1773"/>
                </a:cubicBezTo>
                <a:cubicBezTo>
                  <a:pt x="90" y="1774"/>
                  <a:pt x="95" y="1774"/>
                  <a:pt x="102" y="1775"/>
                </a:cubicBezTo>
                <a:cubicBezTo>
                  <a:pt x="93" y="1772"/>
                  <a:pt x="87" y="1771"/>
                  <a:pt x="84" y="1771"/>
                </a:cubicBezTo>
                <a:cubicBezTo>
                  <a:pt x="81" y="1770"/>
                  <a:pt x="77" y="1771"/>
                  <a:pt x="71" y="1774"/>
                </a:cubicBezTo>
                <a:cubicBezTo>
                  <a:pt x="66" y="1776"/>
                  <a:pt x="62" y="1777"/>
                  <a:pt x="60" y="1777"/>
                </a:cubicBezTo>
                <a:cubicBezTo>
                  <a:pt x="56" y="1775"/>
                  <a:pt x="53" y="1774"/>
                  <a:pt x="51" y="1774"/>
                </a:cubicBezTo>
                <a:cubicBezTo>
                  <a:pt x="51" y="1772"/>
                  <a:pt x="51" y="1772"/>
                  <a:pt x="51" y="1771"/>
                </a:cubicBezTo>
                <a:cubicBezTo>
                  <a:pt x="51" y="1770"/>
                  <a:pt x="51" y="1769"/>
                  <a:pt x="51" y="1769"/>
                </a:cubicBezTo>
                <a:cubicBezTo>
                  <a:pt x="51" y="1765"/>
                  <a:pt x="53" y="1762"/>
                  <a:pt x="58" y="1759"/>
                </a:cubicBezTo>
                <a:cubicBezTo>
                  <a:pt x="60" y="1756"/>
                  <a:pt x="63" y="1755"/>
                  <a:pt x="64" y="1755"/>
                </a:cubicBezTo>
                <a:cubicBezTo>
                  <a:pt x="65" y="1755"/>
                  <a:pt x="66" y="1755"/>
                  <a:pt x="66" y="1755"/>
                </a:cubicBezTo>
                <a:cubicBezTo>
                  <a:pt x="69" y="1756"/>
                  <a:pt x="73" y="1757"/>
                  <a:pt x="78" y="1756"/>
                </a:cubicBezTo>
                <a:cubicBezTo>
                  <a:pt x="84" y="1756"/>
                  <a:pt x="87" y="1755"/>
                  <a:pt x="89" y="1756"/>
                </a:cubicBezTo>
                <a:cubicBezTo>
                  <a:pt x="90" y="1756"/>
                  <a:pt x="91" y="1756"/>
                  <a:pt x="91" y="1757"/>
                </a:cubicBezTo>
                <a:cubicBezTo>
                  <a:pt x="92" y="1757"/>
                  <a:pt x="93" y="1758"/>
                  <a:pt x="94" y="1759"/>
                </a:cubicBezTo>
                <a:cubicBezTo>
                  <a:pt x="96" y="1761"/>
                  <a:pt x="98" y="1762"/>
                  <a:pt x="100" y="1762"/>
                </a:cubicBezTo>
                <a:cubicBezTo>
                  <a:pt x="101" y="1763"/>
                  <a:pt x="104" y="1761"/>
                  <a:pt x="108" y="1758"/>
                </a:cubicBezTo>
                <a:cubicBezTo>
                  <a:pt x="113" y="1756"/>
                  <a:pt x="116" y="1754"/>
                  <a:pt x="118" y="1755"/>
                </a:cubicBezTo>
                <a:cubicBezTo>
                  <a:pt x="119" y="1755"/>
                  <a:pt x="120" y="1755"/>
                  <a:pt x="121" y="1756"/>
                </a:cubicBezTo>
                <a:cubicBezTo>
                  <a:pt x="124" y="1758"/>
                  <a:pt x="125" y="1759"/>
                  <a:pt x="126" y="1760"/>
                </a:cubicBezTo>
                <a:lnTo>
                  <a:pt x="126" y="1759"/>
                </a:lnTo>
                <a:cubicBezTo>
                  <a:pt x="123" y="1754"/>
                  <a:pt x="120" y="1751"/>
                  <a:pt x="117" y="1751"/>
                </a:cubicBezTo>
                <a:cubicBezTo>
                  <a:pt x="115" y="1751"/>
                  <a:pt x="112" y="1752"/>
                  <a:pt x="107" y="1754"/>
                </a:cubicBezTo>
                <a:cubicBezTo>
                  <a:pt x="102" y="1757"/>
                  <a:pt x="100" y="1758"/>
                  <a:pt x="98" y="1758"/>
                </a:cubicBezTo>
                <a:cubicBezTo>
                  <a:pt x="97" y="1758"/>
                  <a:pt x="95" y="1757"/>
                  <a:pt x="92" y="1755"/>
                </a:cubicBezTo>
                <a:cubicBezTo>
                  <a:pt x="92" y="1755"/>
                  <a:pt x="92" y="1755"/>
                  <a:pt x="92" y="1755"/>
                </a:cubicBezTo>
                <a:cubicBezTo>
                  <a:pt x="89" y="1753"/>
                  <a:pt x="86" y="1752"/>
                  <a:pt x="84" y="1752"/>
                </a:cubicBezTo>
                <a:cubicBezTo>
                  <a:pt x="82" y="1752"/>
                  <a:pt x="80" y="1751"/>
                  <a:pt x="79" y="1749"/>
                </a:cubicBezTo>
                <a:cubicBezTo>
                  <a:pt x="78" y="1748"/>
                  <a:pt x="78" y="1748"/>
                  <a:pt x="77" y="1747"/>
                </a:cubicBezTo>
                <a:cubicBezTo>
                  <a:pt x="77" y="1747"/>
                  <a:pt x="77" y="1746"/>
                  <a:pt x="77" y="1746"/>
                </a:cubicBezTo>
                <a:cubicBezTo>
                  <a:pt x="77" y="1745"/>
                  <a:pt x="76" y="1745"/>
                  <a:pt x="76" y="1745"/>
                </a:cubicBezTo>
                <a:cubicBezTo>
                  <a:pt x="76" y="1744"/>
                  <a:pt x="75" y="1743"/>
                  <a:pt x="75" y="1743"/>
                </a:cubicBezTo>
                <a:cubicBezTo>
                  <a:pt x="74" y="1741"/>
                  <a:pt x="74" y="1741"/>
                  <a:pt x="74" y="1741"/>
                </a:cubicBezTo>
                <a:cubicBezTo>
                  <a:pt x="75" y="1739"/>
                  <a:pt x="80" y="1738"/>
                  <a:pt x="88" y="1739"/>
                </a:cubicBezTo>
                <a:cubicBezTo>
                  <a:pt x="89" y="1739"/>
                  <a:pt x="90" y="1739"/>
                  <a:pt x="91" y="1738"/>
                </a:cubicBezTo>
                <a:lnTo>
                  <a:pt x="91" y="1737"/>
                </a:lnTo>
                <a:cubicBezTo>
                  <a:pt x="85" y="1736"/>
                  <a:pt x="81" y="1736"/>
                  <a:pt x="79" y="1735"/>
                </a:cubicBezTo>
                <a:cubicBezTo>
                  <a:pt x="79" y="1735"/>
                  <a:pt x="79" y="1735"/>
                  <a:pt x="79" y="1735"/>
                </a:cubicBezTo>
                <a:cubicBezTo>
                  <a:pt x="80" y="1731"/>
                  <a:pt x="80" y="1729"/>
                  <a:pt x="81" y="1728"/>
                </a:cubicBezTo>
                <a:cubicBezTo>
                  <a:pt x="83" y="1725"/>
                  <a:pt x="85" y="1724"/>
                  <a:pt x="88" y="1725"/>
                </a:cubicBezTo>
                <a:lnTo>
                  <a:pt x="89" y="1724"/>
                </a:lnTo>
                <a:cubicBezTo>
                  <a:pt x="82" y="1724"/>
                  <a:pt x="78" y="1724"/>
                  <a:pt x="77" y="1724"/>
                </a:cubicBezTo>
                <a:cubicBezTo>
                  <a:pt x="71" y="1723"/>
                  <a:pt x="66" y="1722"/>
                  <a:pt x="64" y="1720"/>
                </a:cubicBezTo>
                <a:cubicBezTo>
                  <a:pt x="61" y="1718"/>
                  <a:pt x="58" y="1714"/>
                  <a:pt x="58" y="1708"/>
                </a:cubicBezTo>
                <a:lnTo>
                  <a:pt x="59" y="1697"/>
                </a:lnTo>
                <a:lnTo>
                  <a:pt x="66" y="1698"/>
                </a:lnTo>
                <a:lnTo>
                  <a:pt x="80" y="1702"/>
                </a:lnTo>
                <a:cubicBezTo>
                  <a:pt x="79" y="1701"/>
                  <a:pt x="78" y="1699"/>
                  <a:pt x="74" y="1694"/>
                </a:cubicBezTo>
                <a:cubicBezTo>
                  <a:pt x="75" y="1693"/>
                  <a:pt x="76" y="1693"/>
                  <a:pt x="77" y="1692"/>
                </a:cubicBezTo>
                <a:cubicBezTo>
                  <a:pt x="78" y="1691"/>
                  <a:pt x="79" y="1691"/>
                  <a:pt x="80" y="1690"/>
                </a:cubicBezTo>
                <a:cubicBezTo>
                  <a:pt x="82" y="1690"/>
                  <a:pt x="84" y="1690"/>
                  <a:pt x="87" y="1689"/>
                </a:cubicBezTo>
                <a:cubicBezTo>
                  <a:pt x="92" y="1688"/>
                  <a:pt x="93" y="1684"/>
                  <a:pt x="92" y="1677"/>
                </a:cubicBezTo>
                <a:cubicBezTo>
                  <a:pt x="93" y="1676"/>
                  <a:pt x="95" y="1676"/>
                  <a:pt x="97" y="1676"/>
                </a:cubicBezTo>
                <a:cubicBezTo>
                  <a:pt x="98" y="1675"/>
                  <a:pt x="100" y="1676"/>
                  <a:pt x="101" y="1676"/>
                </a:cubicBezTo>
                <a:cubicBezTo>
                  <a:pt x="106" y="1676"/>
                  <a:pt x="112" y="1678"/>
                  <a:pt x="117" y="1679"/>
                </a:cubicBezTo>
                <a:cubicBezTo>
                  <a:pt x="124" y="1681"/>
                  <a:pt x="128" y="1684"/>
                  <a:pt x="128" y="1686"/>
                </a:cubicBezTo>
                <a:cubicBezTo>
                  <a:pt x="127" y="1689"/>
                  <a:pt x="126" y="1691"/>
                  <a:pt x="124" y="1693"/>
                </a:cubicBezTo>
                <a:cubicBezTo>
                  <a:pt x="129" y="1690"/>
                  <a:pt x="133" y="1688"/>
                  <a:pt x="135" y="1689"/>
                </a:cubicBezTo>
                <a:cubicBezTo>
                  <a:pt x="139" y="1689"/>
                  <a:pt x="141" y="1691"/>
                  <a:pt x="144" y="1694"/>
                </a:cubicBezTo>
                <a:cubicBezTo>
                  <a:pt x="146" y="1697"/>
                  <a:pt x="147" y="1700"/>
                  <a:pt x="147" y="1703"/>
                </a:cubicBezTo>
                <a:cubicBezTo>
                  <a:pt x="147" y="1705"/>
                  <a:pt x="146" y="1706"/>
                  <a:pt x="144" y="1708"/>
                </a:cubicBezTo>
                <a:cubicBezTo>
                  <a:pt x="143" y="1710"/>
                  <a:pt x="142" y="1711"/>
                  <a:pt x="142" y="1712"/>
                </a:cubicBezTo>
                <a:cubicBezTo>
                  <a:pt x="143" y="1712"/>
                  <a:pt x="145" y="1710"/>
                  <a:pt x="148" y="1707"/>
                </a:cubicBezTo>
                <a:cubicBezTo>
                  <a:pt x="150" y="1705"/>
                  <a:pt x="152" y="1703"/>
                  <a:pt x="153" y="1703"/>
                </a:cubicBezTo>
                <a:cubicBezTo>
                  <a:pt x="154" y="1703"/>
                  <a:pt x="156" y="1705"/>
                  <a:pt x="159" y="1707"/>
                </a:cubicBezTo>
                <a:lnTo>
                  <a:pt x="159" y="1708"/>
                </a:lnTo>
                <a:cubicBezTo>
                  <a:pt x="159" y="1707"/>
                  <a:pt x="159" y="1706"/>
                  <a:pt x="159" y="1703"/>
                </a:cubicBezTo>
                <a:cubicBezTo>
                  <a:pt x="159" y="1700"/>
                  <a:pt x="163" y="1698"/>
                  <a:pt x="168" y="1699"/>
                </a:cubicBezTo>
                <a:cubicBezTo>
                  <a:pt x="169" y="1699"/>
                  <a:pt x="171" y="1700"/>
                  <a:pt x="173" y="1700"/>
                </a:cubicBezTo>
                <a:cubicBezTo>
                  <a:pt x="175" y="1701"/>
                  <a:pt x="177" y="1702"/>
                  <a:pt x="179" y="1704"/>
                </a:cubicBezTo>
                <a:cubicBezTo>
                  <a:pt x="184" y="1706"/>
                  <a:pt x="187" y="1708"/>
                  <a:pt x="189" y="1708"/>
                </a:cubicBezTo>
                <a:cubicBezTo>
                  <a:pt x="191" y="1708"/>
                  <a:pt x="193" y="1706"/>
                  <a:pt x="196" y="1703"/>
                </a:cubicBezTo>
                <a:cubicBezTo>
                  <a:pt x="199" y="1699"/>
                  <a:pt x="203" y="1697"/>
                  <a:pt x="206" y="1698"/>
                </a:cubicBezTo>
                <a:cubicBezTo>
                  <a:pt x="210" y="1698"/>
                  <a:pt x="212" y="1699"/>
                  <a:pt x="214" y="1701"/>
                </a:cubicBezTo>
                <a:lnTo>
                  <a:pt x="214" y="1700"/>
                </a:lnTo>
                <a:cubicBezTo>
                  <a:pt x="211" y="1696"/>
                  <a:pt x="209" y="1695"/>
                  <a:pt x="207" y="1694"/>
                </a:cubicBezTo>
                <a:cubicBezTo>
                  <a:pt x="204" y="1694"/>
                  <a:pt x="200" y="1696"/>
                  <a:pt x="196" y="1699"/>
                </a:cubicBezTo>
                <a:cubicBezTo>
                  <a:pt x="191" y="1703"/>
                  <a:pt x="188" y="1705"/>
                  <a:pt x="187" y="1704"/>
                </a:cubicBezTo>
                <a:cubicBezTo>
                  <a:pt x="185" y="1704"/>
                  <a:pt x="180" y="1702"/>
                  <a:pt x="173" y="1699"/>
                </a:cubicBezTo>
                <a:cubicBezTo>
                  <a:pt x="168" y="1697"/>
                  <a:pt x="161" y="1693"/>
                  <a:pt x="152" y="1689"/>
                </a:cubicBezTo>
                <a:cubicBezTo>
                  <a:pt x="132" y="1679"/>
                  <a:pt x="117" y="1673"/>
                  <a:pt x="108" y="1672"/>
                </a:cubicBezTo>
                <a:cubicBezTo>
                  <a:pt x="106" y="1672"/>
                  <a:pt x="102" y="1672"/>
                  <a:pt x="99" y="1673"/>
                </a:cubicBezTo>
                <a:cubicBezTo>
                  <a:pt x="98" y="1673"/>
                  <a:pt x="97" y="1673"/>
                  <a:pt x="96" y="1673"/>
                </a:cubicBezTo>
                <a:cubicBezTo>
                  <a:pt x="93" y="1674"/>
                  <a:pt x="91" y="1674"/>
                  <a:pt x="89" y="1674"/>
                </a:cubicBezTo>
                <a:cubicBezTo>
                  <a:pt x="87" y="1673"/>
                  <a:pt x="86" y="1673"/>
                  <a:pt x="85" y="1673"/>
                </a:cubicBezTo>
                <a:cubicBezTo>
                  <a:pt x="84" y="1672"/>
                  <a:pt x="83" y="1672"/>
                  <a:pt x="83" y="1671"/>
                </a:cubicBezTo>
                <a:cubicBezTo>
                  <a:pt x="83" y="1671"/>
                  <a:pt x="82" y="1668"/>
                  <a:pt x="82" y="1662"/>
                </a:cubicBezTo>
                <a:cubicBezTo>
                  <a:pt x="83" y="1661"/>
                  <a:pt x="84" y="1661"/>
                  <a:pt x="86" y="1662"/>
                </a:cubicBezTo>
                <a:lnTo>
                  <a:pt x="97" y="1663"/>
                </a:lnTo>
                <a:cubicBezTo>
                  <a:pt x="96" y="1657"/>
                  <a:pt x="100" y="1654"/>
                  <a:pt x="110" y="1656"/>
                </a:cubicBezTo>
                <a:cubicBezTo>
                  <a:pt x="112" y="1656"/>
                  <a:pt x="114" y="1655"/>
                  <a:pt x="116" y="1652"/>
                </a:cubicBezTo>
                <a:cubicBezTo>
                  <a:pt x="119" y="1650"/>
                  <a:pt x="122" y="1648"/>
                  <a:pt x="125" y="1649"/>
                </a:cubicBezTo>
                <a:lnTo>
                  <a:pt x="126" y="1648"/>
                </a:lnTo>
                <a:cubicBezTo>
                  <a:pt x="125" y="1647"/>
                  <a:pt x="122" y="1644"/>
                  <a:pt x="116" y="1642"/>
                </a:cubicBezTo>
                <a:cubicBezTo>
                  <a:pt x="112" y="1640"/>
                  <a:pt x="109" y="1638"/>
                  <a:pt x="108" y="1636"/>
                </a:cubicBezTo>
                <a:cubicBezTo>
                  <a:pt x="108" y="1636"/>
                  <a:pt x="108" y="1635"/>
                  <a:pt x="108" y="1635"/>
                </a:cubicBezTo>
                <a:cubicBezTo>
                  <a:pt x="108" y="1632"/>
                  <a:pt x="110" y="1630"/>
                  <a:pt x="113" y="1628"/>
                </a:cubicBezTo>
                <a:cubicBezTo>
                  <a:pt x="116" y="1626"/>
                  <a:pt x="118" y="1625"/>
                  <a:pt x="119" y="1625"/>
                </a:cubicBezTo>
                <a:cubicBezTo>
                  <a:pt x="120" y="1625"/>
                  <a:pt x="121" y="1626"/>
                  <a:pt x="123" y="1627"/>
                </a:cubicBezTo>
                <a:cubicBezTo>
                  <a:pt x="124" y="1628"/>
                  <a:pt x="125" y="1629"/>
                  <a:pt x="127" y="1630"/>
                </a:cubicBezTo>
                <a:cubicBezTo>
                  <a:pt x="131" y="1634"/>
                  <a:pt x="134" y="1637"/>
                  <a:pt x="134" y="1640"/>
                </a:cubicBezTo>
                <a:cubicBezTo>
                  <a:pt x="135" y="1638"/>
                  <a:pt x="135" y="1636"/>
                  <a:pt x="135" y="1634"/>
                </a:cubicBezTo>
                <a:cubicBezTo>
                  <a:pt x="136" y="1633"/>
                  <a:pt x="138" y="1633"/>
                  <a:pt x="143" y="1632"/>
                </a:cubicBezTo>
                <a:cubicBezTo>
                  <a:pt x="148" y="1630"/>
                  <a:pt x="151" y="1630"/>
                  <a:pt x="153" y="1630"/>
                </a:cubicBezTo>
                <a:cubicBezTo>
                  <a:pt x="154" y="1630"/>
                  <a:pt x="156" y="1631"/>
                  <a:pt x="157" y="1635"/>
                </a:cubicBezTo>
                <a:cubicBezTo>
                  <a:pt x="158" y="1637"/>
                  <a:pt x="158" y="1639"/>
                  <a:pt x="158" y="1640"/>
                </a:cubicBezTo>
                <a:cubicBezTo>
                  <a:pt x="158" y="1643"/>
                  <a:pt x="153" y="1650"/>
                  <a:pt x="145" y="1661"/>
                </a:cubicBezTo>
                <a:cubicBezTo>
                  <a:pt x="146" y="1661"/>
                  <a:pt x="148" y="1659"/>
                  <a:pt x="152" y="1656"/>
                </a:cubicBezTo>
                <a:cubicBezTo>
                  <a:pt x="156" y="1653"/>
                  <a:pt x="158" y="1651"/>
                  <a:pt x="158" y="1651"/>
                </a:cubicBezTo>
                <a:cubicBezTo>
                  <a:pt x="167" y="1652"/>
                  <a:pt x="173" y="1652"/>
                  <a:pt x="176" y="1653"/>
                </a:cubicBezTo>
                <a:cubicBezTo>
                  <a:pt x="177" y="1653"/>
                  <a:pt x="178" y="1654"/>
                  <a:pt x="178" y="1654"/>
                </a:cubicBezTo>
                <a:lnTo>
                  <a:pt x="182" y="1654"/>
                </a:lnTo>
                <a:cubicBezTo>
                  <a:pt x="176" y="1653"/>
                  <a:pt x="171" y="1650"/>
                  <a:pt x="167" y="1646"/>
                </a:cubicBezTo>
                <a:cubicBezTo>
                  <a:pt x="163" y="1643"/>
                  <a:pt x="160" y="1638"/>
                  <a:pt x="158" y="1634"/>
                </a:cubicBezTo>
                <a:cubicBezTo>
                  <a:pt x="158" y="1633"/>
                  <a:pt x="158" y="1633"/>
                  <a:pt x="158" y="1632"/>
                </a:cubicBezTo>
                <a:cubicBezTo>
                  <a:pt x="160" y="1632"/>
                  <a:pt x="162" y="1633"/>
                  <a:pt x="166" y="1634"/>
                </a:cubicBezTo>
                <a:cubicBezTo>
                  <a:pt x="166" y="1632"/>
                  <a:pt x="166" y="1630"/>
                  <a:pt x="164" y="1627"/>
                </a:cubicBezTo>
                <a:cubicBezTo>
                  <a:pt x="162" y="1624"/>
                  <a:pt x="162" y="1622"/>
                  <a:pt x="162" y="1621"/>
                </a:cubicBezTo>
                <a:cubicBezTo>
                  <a:pt x="162" y="1620"/>
                  <a:pt x="163" y="1619"/>
                  <a:pt x="165" y="1617"/>
                </a:cubicBezTo>
                <a:cubicBezTo>
                  <a:pt x="167" y="1615"/>
                  <a:pt x="170" y="1613"/>
                  <a:pt x="174" y="1611"/>
                </a:cubicBezTo>
                <a:cubicBezTo>
                  <a:pt x="181" y="1606"/>
                  <a:pt x="185" y="1604"/>
                  <a:pt x="186" y="1604"/>
                </a:cubicBezTo>
                <a:cubicBezTo>
                  <a:pt x="187" y="1604"/>
                  <a:pt x="191" y="1611"/>
                  <a:pt x="196" y="1623"/>
                </a:cubicBezTo>
                <a:cubicBezTo>
                  <a:pt x="202" y="1636"/>
                  <a:pt x="205" y="1644"/>
                  <a:pt x="206" y="1648"/>
                </a:cubicBezTo>
                <a:lnTo>
                  <a:pt x="207" y="1648"/>
                </a:lnTo>
                <a:lnTo>
                  <a:pt x="207" y="1644"/>
                </a:lnTo>
                <a:cubicBezTo>
                  <a:pt x="204" y="1635"/>
                  <a:pt x="201" y="1628"/>
                  <a:pt x="199" y="1622"/>
                </a:cubicBezTo>
                <a:cubicBezTo>
                  <a:pt x="197" y="1614"/>
                  <a:pt x="195" y="1609"/>
                  <a:pt x="195" y="1608"/>
                </a:cubicBezTo>
                <a:cubicBezTo>
                  <a:pt x="196" y="1606"/>
                  <a:pt x="196" y="1605"/>
                  <a:pt x="197" y="1604"/>
                </a:cubicBezTo>
                <a:cubicBezTo>
                  <a:pt x="198" y="1603"/>
                  <a:pt x="199" y="1603"/>
                  <a:pt x="200" y="1603"/>
                </a:cubicBezTo>
                <a:cubicBezTo>
                  <a:pt x="205" y="1604"/>
                  <a:pt x="209" y="1606"/>
                  <a:pt x="213" y="1611"/>
                </a:cubicBezTo>
                <a:cubicBezTo>
                  <a:pt x="212" y="1608"/>
                  <a:pt x="212" y="1607"/>
                  <a:pt x="212" y="1605"/>
                </a:cubicBezTo>
                <a:cubicBezTo>
                  <a:pt x="212" y="1603"/>
                  <a:pt x="214" y="1602"/>
                  <a:pt x="218" y="1601"/>
                </a:cubicBezTo>
                <a:cubicBezTo>
                  <a:pt x="220" y="1600"/>
                  <a:pt x="223" y="1600"/>
                  <a:pt x="224" y="1600"/>
                </a:cubicBezTo>
                <a:cubicBezTo>
                  <a:pt x="228" y="1600"/>
                  <a:pt x="231" y="1601"/>
                  <a:pt x="235" y="1604"/>
                </a:cubicBezTo>
                <a:cubicBezTo>
                  <a:pt x="239" y="1607"/>
                  <a:pt x="241" y="1610"/>
                  <a:pt x="240" y="1613"/>
                </a:cubicBezTo>
                <a:cubicBezTo>
                  <a:pt x="240" y="1616"/>
                  <a:pt x="241" y="1620"/>
                  <a:pt x="243" y="1625"/>
                </a:cubicBezTo>
                <a:cubicBezTo>
                  <a:pt x="243" y="1625"/>
                  <a:pt x="243" y="1625"/>
                  <a:pt x="243" y="1626"/>
                </a:cubicBezTo>
                <a:cubicBezTo>
                  <a:pt x="245" y="1630"/>
                  <a:pt x="246" y="1633"/>
                  <a:pt x="246" y="1633"/>
                </a:cubicBezTo>
                <a:cubicBezTo>
                  <a:pt x="246" y="1634"/>
                  <a:pt x="246" y="1634"/>
                  <a:pt x="245" y="1635"/>
                </a:cubicBezTo>
                <a:cubicBezTo>
                  <a:pt x="244" y="1638"/>
                  <a:pt x="242" y="1645"/>
                  <a:pt x="238" y="1655"/>
                </a:cubicBezTo>
                <a:cubicBezTo>
                  <a:pt x="238" y="1656"/>
                  <a:pt x="238" y="1658"/>
                  <a:pt x="240" y="1660"/>
                </a:cubicBezTo>
                <a:cubicBezTo>
                  <a:pt x="241" y="1663"/>
                  <a:pt x="243" y="1664"/>
                  <a:pt x="244" y="1664"/>
                </a:cubicBezTo>
                <a:cubicBezTo>
                  <a:pt x="247" y="1664"/>
                  <a:pt x="252" y="1663"/>
                  <a:pt x="258" y="1660"/>
                </a:cubicBezTo>
                <a:lnTo>
                  <a:pt x="258" y="1660"/>
                </a:lnTo>
                <a:cubicBezTo>
                  <a:pt x="251" y="1659"/>
                  <a:pt x="246" y="1658"/>
                  <a:pt x="243" y="1657"/>
                </a:cubicBezTo>
                <a:lnTo>
                  <a:pt x="243" y="1653"/>
                </a:lnTo>
                <a:cubicBezTo>
                  <a:pt x="245" y="1649"/>
                  <a:pt x="247" y="1645"/>
                  <a:pt x="248" y="1641"/>
                </a:cubicBezTo>
                <a:cubicBezTo>
                  <a:pt x="249" y="1639"/>
                  <a:pt x="249" y="1638"/>
                  <a:pt x="249" y="1637"/>
                </a:cubicBezTo>
                <a:cubicBezTo>
                  <a:pt x="250" y="1635"/>
                  <a:pt x="250" y="1635"/>
                  <a:pt x="250" y="1634"/>
                </a:cubicBezTo>
                <a:cubicBezTo>
                  <a:pt x="251" y="1633"/>
                  <a:pt x="252" y="1632"/>
                  <a:pt x="254" y="1632"/>
                </a:cubicBezTo>
                <a:cubicBezTo>
                  <a:pt x="255" y="1632"/>
                  <a:pt x="259" y="1632"/>
                  <a:pt x="264" y="1633"/>
                </a:cubicBezTo>
                <a:cubicBezTo>
                  <a:pt x="267" y="1633"/>
                  <a:pt x="271" y="1634"/>
                  <a:pt x="276" y="1636"/>
                </a:cubicBezTo>
                <a:cubicBezTo>
                  <a:pt x="274" y="1632"/>
                  <a:pt x="269" y="1630"/>
                  <a:pt x="259" y="1629"/>
                </a:cubicBezTo>
                <a:cubicBezTo>
                  <a:pt x="252" y="1628"/>
                  <a:pt x="247" y="1627"/>
                  <a:pt x="245" y="1624"/>
                </a:cubicBezTo>
                <a:cubicBezTo>
                  <a:pt x="244" y="1623"/>
                  <a:pt x="244" y="1622"/>
                  <a:pt x="244" y="1620"/>
                </a:cubicBezTo>
                <a:cubicBezTo>
                  <a:pt x="243" y="1611"/>
                  <a:pt x="242" y="1605"/>
                  <a:pt x="241" y="1603"/>
                </a:cubicBezTo>
                <a:cubicBezTo>
                  <a:pt x="239" y="1598"/>
                  <a:pt x="234" y="1595"/>
                  <a:pt x="227" y="1594"/>
                </a:cubicBezTo>
                <a:cubicBezTo>
                  <a:pt x="225" y="1594"/>
                  <a:pt x="221" y="1594"/>
                  <a:pt x="215" y="1595"/>
                </a:cubicBezTo>
                <a:cubicBezTo>
                  <a:pt x="209" y="1596"/>
                  <a:pt x="205" y="1597"/>
                  <a:pt x="202" y="1596"/>
                </a:cubicBezTo>
                <a:cubicBezTo>
                  <a:pt x="197" y="1596"/>
                  <a:pt x="194" y="1593"/>
                  <a:pt x="195" y="1588"/>
                </a:cubicBezTo>
                <a:cubicBezTo>
                  <a:pt x="195" y="1588"/>
                  <a:pt x="198" y="1587"/>
                  <a:pt x="204" y="1586"/>
                </a:cubicBezTo>
                <a:cubicBezTo>
                  <a:pt x="211" y="1585"/>
                  <a:pt x="214" y="1584"/>
                  <a:pt x="214" y="1581"/>
                </a:cubicBezTo>
                <a:lnTo>
                  <a:pt x="218" y="1582"/>
                </a:lnTo>
                <a:lnTo>
                  <a:pt x="218" y="1581"/>
                </a:lnTo>
                <a:cubicBezTo>
                  <a:pt x="210" y="1577"/>
                  <a:pt x="203" y="1575"/>
                  <a:pt x="196" y="1575"/>
                </a:cubicBezTo>
                <a:cubicBezTo>
                  <a:pt x="194" y="1574"/>
                  <a:pt x="192" y="1574"/>
                  <a:pt x="191" y="1573"/>
                </a:cubicBezTo>
                <a:cubicBezTo>
                  <a:pt x="191" y="1572"/>
                  <a:pt x="191" y="1571"/>
                  <a:pt x="191" y="1569"/>
                </a:cubicBezTo>
                <a:cubicBezTo>
                  <a:pt x="191" y="1566"/>
                  <a:pt x="192" y="1565"/>
                  <a:pt x="195" y="1564"/>
                </a:cubicBezTo>
                <a:cubicBezTo>
                  <a:pt x="195" y="1564"/>
                  <a:pt x="196" y="1563"/>
                  <a:pt x="197" y="1563"/>
                </a:cubicBezTo>
                <a:cubicBezTo>
                  <a:pt x="199" y="1563"/>
                  <a:pt x="202" y="1564"/>
                  <a:pt x="206" y="1564"/>
                </a:cubicBezTo>
                <a:cubicBezTo>
                  <a:pt x="211" y="1565"/>
                  <a:pt x="216" y="1567"/>
                  <a:pt x="222" y="1571"/>
                </a:cubicBezTo>
                <a:cubicBezTo>
                  <a:pt x="221" y="1567"/>
                  <a:pt x="223" y="1565"/>
                  <a:pt x="225" y="1564"/>
                </a:cubicBezTo>
                <a:cubicBezTo>
                  <a:pt x="225" y="1564"/>
                  <a:pt x="226" y="1564"/>
                  <a:pt x="226" y="1564"/>
                </a:cubicBezTo>
                <a:cubicBezTo>
                  <a:pt x="227" y="1564"/>
                  <a:pt x="230" y="1564"/>
                  <a:pt x="233" y="1564"/>
                </a:cubicBezTo>
                <a:cubicBezTo>
                  <a:pt x="238" y="1565"/>
                  <a:pt x="244" y="1567"/>
                  <a:pt x="250" y="1571"/>
                </a:cubicBezTo>
                <a:cubicBezTo>
                  <a:pt x="251" y="1570"/>
                  <a:pt x="251" y="1568"/>
                  <a:pt x="251" y="1565"/>
                </a:cubicBezTo>
                <a:cubicBezTo>
                  <a:pt x="253" y="1566"/>
                  <a:pt x="257" y="1570"/>
                  <a:pt x="264" y="1577"/>
                </a:cubicBezTo>
                <a:lnTo>
                  <a:pt x="265" y="1577"/>
                </a:lnTo>
                <a:lnTo>
                  <a:pt x="266" y="1573"/>
                </a:lnTo>
                <a:lnTo>
                  <a:pt x="274" y="1574"/>
                </a:lnTo>
                <a:cubicBezTo>
                  <a:pt x="274" y="1574"/>
                  <a:pt x="276" y="1577"/>
                  <a:pt x="281" y="1583"/>
                </a:cubicBezTo>
                <a:cubicBezTo>
                  <a:pt x="284" y="1588"/>
                  <a:pt x="288" y="1590"/>
                  <a:pt x="292" y="1590"/>
                </a:cubicBezTo>
                <a:cubicBezTo>
                  <a:pt x="295" y="1591"/>
                  <a:pt x="301" y="1588"/>
                  <a:pt x="311" y="1583"/>
                </a:cubicBezTo>
                <a:cubicBezTo>
                  <a:pt x="311" y="1582"/>
                  <a:pt x="310" y="1582"/>
                  <a:pt x="309" y="1582"/>
                </a:cubicBezTo>
                <a:cubicBezTo>
                  <a:pt x="307" y="1582"/>
                  <a:pt x="304" y="1582"/>
                  <a:pt x="299" y="1584"/>
                </a:cubicBezTo>
                <a:cubicBezTo>
                  <a:pt x="295" y="1585"/>
                  <a:pt x="292" y="1586"/>
                  <a:pt x="290" y="1586"/>
                </a:cubicBezTo>
                <a:cubicBezTo>
                  <a:pt x="289" y="1586"/>
                  <a:pt x="288" y="1585"/>
                  <a:pt x="286" y="1583"/>
                </a:cubicBezTo>
                <a:cubicBezTo>
                  <a:pt x="286" y="1582"/>
                  <a:pt x="285" y="1581"/>
                  <a:pt x="285" y="1581"/>
                </a:cubicBezTo>
                <a:cubicBezTo>
                  <a:pt x="284" y="1578"/>
                  <a:pt x="283" y="1577"/>
                  <a:pt x="283" y="1577"/>
                </a:cubicBezTo>
                <a:cubicBezTo>
                  <a:pt x="285" y="1573"/>
                  <a:pt x="287" y="1571"/>
                  <a:pt x="288" y="1571"/>
                </a:cubicBezTo>
                <a:cubicBezTo>
                  <a:pt x="290" y="1571"/>
                  <a:pt x="292" y="1572"/>
                  <a:pt x="295" y="1573"/>
                </a:cubicBezTo>
                <a:lnTo>
                  <a:pt x="299" y="1574"/>
                </a:lnTo>
                <a:cubicBezTo>
                  <a:pt x="297" y="1573"/>
                  <a:pt x="297" y="1571"/>
                  <a:pt x="297" y="1570"/>
                </a:cubicBezTo>
                <a:cubicBezTo>
                  <a:pt x="297" y="1567"/>
                  <a:pt x="302" y="1564"/>
                  <a:pt x="312" y="1561"/>
                </a:cubicBezTo>
                <a:cubicBezTo>
                  <a:pt x="320" y="1558"/>
                  <a:pt x="326" y="1557"/>
                  <a:pt x="330" y="1558"/>
                </a:cubicBezTo>
                <a:cubicBezTo>
                  <a:pt x="336" y="1558"/>
                  <a:pt x="342" y="1561"/>
                  <a:pt x="349" y="1566"/>
                </a:cubicBezTo>
                <a:cubicBezTo>
                  <a:pt x="348" y="1558"/>
                  <a:pt x="342" y="1553"/>
                  <a:pt x="334" y="1552"/>
                </a:cubicBezTo>
                <a:cubicBezTo>
                  <a:pt x="329" y="1551"/>
                  <a:pt x="325" y="1552"/>
                  <a:pt x="323" y="1553"/>
                </a:cubicBezTo>
                <a:cubicBezTo>
                  <a:pt x="319" y="1556"/>
                  <a:pt x="315" y="1558"/>
                  <a:pt x="313" y="1558"/>
                </a:cubicBezTo>
                <a:cubicBezTo>
                  <a:pt x="312" y="1558"/>
                  <a:pt x="312" y="1559"/>
                  <a:pt x="311" y="1559"/>
                </a:cubicBezTo>
                <a:cubicBezTo>
                  <a:pt x="304" y="1561"/>
                  <a:pt x="299" y="1563"/>
                  <a:pt x="296" y="1564"/>
                </a:cubicBezTo>
                <a:cubicBezTo>
                  <a:pt x="291" y="1561"/>
                  <a:pt x="287" y="1559"/>
                  <a:pt x="284" y="1559"/>
                </a:cubicBezTo>
                <a:cubicBezTo>
                  <a:pt x="284" y="1558"/>
                  <a:pt x="284" y="1558"/>
                  <a:pt x="284" y="1558"/>
                </a:cubicBezTo>
                <a:cubicBezTo>
                  <a:pt x="290" y="1551"/>
                  <a:pt x="298" y="1548"/>
                  <a:pt x="311" y="1547"/>
                </a:cubicBezTo>
                <a:lnTo>
                  <a:pt x="311" y="1546"/>
                </a:lnTo>
                <a:lnTo>
                  <a:pt x="303" y="1545"/>
                </a:lnTo>
                <a:cubicBezTo>
                  <a:pt x="295" y="1547"/>
                  <a:pt x="289" y="1548"/>
                  <a:pt x="285" y="1549"/>
                </a:cubicBezTo>
                <a:cubicBezTo>
                  <a:pt x="284" y="1549"/>
                  <a:pt x="283" y="1549"/>
                  <a:pt x="283" y="1550"/>
                </a:cubicBezTo>
                <a:cubicBezTo>
                  <a:pt x="277" y="1551"/>
                  <a:pt x="272" y="1551"/>
                  <a:pt x="268" y="1550"/>
                </a:cubicBezTo>
                <a:cubicBezTo>
                  <a:pt x="264" y="1550"/>
                  <a:pt x="261" y="1549"/>
                  <a:pt x="260" y="1549"/>
                </a:cubicBezTo>
                <a:cubicBezTo>
                  <a:pt x="258" y="1548"/>
                  <a:pt x="258" y="1547"/>
                  <a:pt x="257" y="1547"/>
                </a:cubicBezTo>
                <a:cubicBezTo>
                  <a:pt x="256" y="1546"/>
                  <a:pt x="255" y="1544"/>
                  <a:pt x="254" y="1543"/>
                </a:cubicBezTo>
                <a:cubicBezTo>
                  <a:pt x="256" y="1536"/>
                  <a:pt x="262" y="1533"/>
                  <a:pt x="274" y="1532"/>
                </a:cubicBezTo>
                <a:cubicBezTo>
                  <a:pt x="273" y="1532"/>
                  <a:pt x="269" y="1529"/>
                  <a:pt x="262" y="1524"/>
                </a:cubicBezTo>
                <a:cubicBezTo>
                  <a:pt x="257" y="1520"/>
                  <a:pt x="254" y="1516"/>
                  <a:pt x="255" y="1511"/>
                </a:cubicBezTo>
                <a:cubicBezTo>
                  <a:pt x="260" y="1511"/>
                  <a:pt x="265" y="1509"/>
                  <a:pt x="269" y="1505"/>
                </a:cubicBezTo>
                <a:cubicBezTo>
                  <a:pt x="274" y="1501"/>
                  <a:pt x="278" y="1499"/>
                  <a:pt x="282" y="1500"/>
                </a:cubicBezTo>
                <a:cubicBezTo>
                  <a:pt x="286" y="1500"/>
                  <a:pt x="289" y="1502"/>
                  <a:pt x="292" y="1506"/>
                </a:cubicBezTo>
                <a:cubicBezTo>
                  <a:pt x="293" y="1507"/>
                  <a:pt x="293" y="1509"/>
                  <a:pt x="294" y="1511"/>
                </a:cubicBezTo>
                <a:cubicBezTo>
                  <a:pt x="297" y="1517"/>
                  <a:pt x="300" y="1521"/>
                  <a:pt x="303" y="1521"/>
                </a:cubicBezTo>
                <a:cubicBezTo>
                  <a:pt x="304" y="1521"/>
                  <a:pt x="307" y="1520"/>
                  <a:pt x="310" y="1518"/>
                </a:cubicBezTo>
                <a:cubicBezTo>
                  <a:pt x="313" y="1516"/>
                  <a:pt x="315" y="1515"/>
                  <a:pt x="315" y="1515"/>
                </a:cubicBezTo>
                <a:cubicBezTo>
                  <a:pt x="317" y="1515"/>
                  <a:pt x="318" y="1517"/>
                  <a:pt x="320" y="1521"/>
                </a:cubicBezTo>
                <a:cubicBezTo>
                  <a:pt x="321" y="1521"/>
                  <a:pt x="325" y="1520"/>
                  <a:pt x="330" y="1518"/>
                </a:cubicBezTo>
                <a:cubicBezTo>
                  <a:pt x="336" y="1516"/>
                  <a:pt x="339" y="1515"/>
                  <a:pt x="341" y="1515"/>
                </a:cubicBezTo>
                <a:cubicBezTo>
                  <a:pt x="343" y="1515"/>
                  <a:pt x="344" y="1516"/>
                  <a:pt x="346" y="1516"/>
                </a:cubicBezTo>
                <a:cubicBezTo>
                  <a:pt x="350" y="1518"/>
                  <a:pt x="351" y="1521"/>
                  <a:pt x="352" y="1527"/>
                </a:cubicBezTo>
                <a:cubicBezTo>
                  <a:pt x="352" y="1529"/>
                  <a:pt x="352" y="1532"/>
                  <a:pt x="352" y="1536"/>
                </a:cubicBezTo>
                <a:cubicBezTo>
                  <a:pt x="353" y="1540"/>
                  <a:pt x="354" y="1543"/>
                  <a:pt x="356" y="1545"/>
                </a:cubicBezTo>
                <a:cubicBezTo>
                  <a:pt x="358" y="1547"/>
                  <a:pt x="362" y="1551"/>
                  <a:pt x="368" y="1556"/>
                </a:cubicBezTo>
                <a:cubicBezTo>
                  <a:pt x="373" y="1561"/>
                  <a:pt x="378" y="1565"/>
                  <a:pt x="381" y="1569"/>
                </a:cubicBezTo>
                <a:cubicBezTo>
                  <a:pt x="381" y="1561"/>
                  <a:pt x="378" y="1556"/>
                  <a:pt x="370" y="1551"/>
                </a:cubicBezTo>
                <a:cubicBezTo>
                  <a:pt x="365" y="1548"/>
                  <a:pt x="362" y="1546"/>
                  <a:pt x="362" y="1546"/>
                </a:cubicBezTo>
                <a:cubicBezTo>
                  <a:pt x="359" y="1544"/>
                  <a:pt x="357" y="1541"/>
                  <a:pt x="356" y="1539"/>
                </a:cubicBezTo>
                <a:cubicBezTo>
                  <a:pt x="356" y="1538"/>
                  <a:pt x="356" y="1534"/>
                  <a:pt x="356" y="1527"/>
                </a:cubicBezTo>
                <a:cubicBezTo>
                  <a:pt x="356" y="1523"/>
                  <a:pt x="355" y="1519"/>
                  <a:pt x="352" y="1518"/>
                </a:cubicBezTo>
                <a:cubicBezTo>
                  <a:pt x="350" y="1517"/>
                  <a:pt x="348" y="1516"/>
                  <a:pt x="346" y="1515"/>
                </a:cubicBezTo>
                <a:cubicBezTo>
                  <a:pt x="345" y="1514"/>
                  <a:pt x="344" y="1513"/>
                  <a:pt x="343" y="1513"/>
                </a:cubicBezTo>
                <a:cubicBezTo>
                  <a:pt x="339" y="1511"/>
                  <a:pt x="338" y="1508"/>
                  <a:pt x="338" y="1505"/>
                </a:cubicBezTo>
                <a:cubicBezTo>
                  <a:pt x="338" y="1503"/>
                  <a:pt x="339" y="1502"/>
                  <a:pt x="340" y="1501"/>
                </a:cubicBezTo>
                <a:cubicBezTo>
                  <a:pt x="340" y="1499"/>
                  <a:pt x="341" y="1498"/>
                  <a:pt x="343" y="1496"/>
                </a:cubicBezTo>
                <a:cubicBezTo>
                  <a:pt x="345" y="1493"/>
                  <a:pt x="347" y="1492"/>
                  <a:pt x="349" y="1492"/>
                </a:cubicBezTo>
                <a:cubicBezTo>
                  <a:pt x="351" y="1492"/>
                  <a:pt x="354" y="1494"/>
                  <a:pt x="357" y="1497"/>
                </a:cubicBezTo>
                <a:cubicBezTo>
                  <a:pt x="358" y="1498"/>
                  <a:pt x="360" y="1500"/>
                  <a:pt x="361" y="1501"/>
                </a:cubicBezTo>
                <a:cubicBezTo>
                  <a:pt x="361" y="1502"/>
                  <a:pt x="362" y="1503"/>
                  <a:pt x="362" y="1504"/>
                </a:cubicBezTo>
                <a:cubicBezTo>
                  <a:pt x="361" y="1507"/>
                  <a:pt x="364" y="1513"/>
                  <a:pt x="369" y="1521"/>
                </a:cubicBezTo>
                <a:cubicBezTo>
                  <a:pt x="370" y="1522"/>
                  <a:pt x="371" y="1525"/>
                  <a:pt x="372" y="1529"/>
                </a:cubicBezTo>
                <a:cubicBezTo>
                  <a:pt x="373" y="1532"/>
                  <a:pt x="376" y="1534"/>
                  <a:pt x="379" y="1534"/>
                </a:cubicBezTo>
                <a:cubicBezTo>
                  <a:pt x="381" y="1534"/>
                  <a:pt x="384" y="1535"/>
                  <a:pt x="388" y="1537"/>
                </a:cubicBezTo>
                <a:cubicBezTo>
                  <a:pt x="392" y="1539"/>
                  <a:pt x="395" y="1541"/>
                  <a:pt x="397" y="1543"/>
                </a:cubicBezTo>
                <a:lnTo>
                  <a:pt x="397" y="1543"/>
                </a:lnTo>
                <a:cubicBezTo>
                  <a:pt x="397" y="1543"/>
                  <a:pt x="394" y="1540"/>
                  <a:pt x="387" y="1536"/>
                </a:cubicBezTo>
                <a:cubicBezTo>
                  <a:pt x="382" y="1532"/>
                  <a:pt x="380" y="1529"/>
                  <a:pt x="380" y="1527"/>
                </a:cubicBezTo>
                <a:cubicBezTo>
                  <a:pt x="380" y="1524"/>
                  <a:pt x="383" y="1523"/>
                  <a:pt x="388" y="1521"/>
                </a:cubicBezTo>
                <a:cubicBezTo>
                  <a:pt x="393" y="1520"/>
                  <a:pt x="396" y="1518"/>
                  <a:pt x="397" y="1516"/>
                </a:cubicBezTo>
                <a:cubicBezTo>
                  <a:pt x="397" y="1516"/>
                  <a:pt x="396" y="1514"/>
                  <a:pt x="393" y="1513"/>
                </a:cubicBezTo>
                <a:cubicBezTo>
                  <a:pt x="390" y="1511"/>
                  <a:pt x="387" y="1510"/>
                  <a:pt x="385" y="1510"/>
                </a:cubicBezTo>
                <a:cubicBezTo>
                  <a:pt x="381" y="1511"/>
                  <a:pt x="378" y="1511"/>
                  <a:pt x="377" y="1510"/>
                </a:cubicBezTo>
                <a:cubicBezTo>
                  <a:pt x="374" y="1510"/>
                  <a:pt x="370" y="1506"/>
                  <a:pt x="363" y="1499"/>
                </a:cubicBezTo>
                <a:cubicBezTo>
                  <a:pt x="362" y="1498"/>
                  <a:pt x="361" y="1497"/>
                  <a:pt x="360" y="1495"/>
                </a:cubicBezTo>
                <a:lnTo>
                  <a:pt x="361" y="1491"/>
                </a:lnTo>
                <a:lnTo>
                  <a:pt x="366" y="1492"/>
                </a:lnTo>
                <a:cubicBezTo>
                  <a:pt x="367" y="1492"/>
                  <a:pt x="369" y="1493"/>
                  <a:pt x="373" y="1494"/>
                </a:cubicBezTo>
                <a:cubicBezTo>
                  <a:pt x="375" y="1490"/>
                  <a:pt x="376" y="1489"/>
                  <a:pt x="376" y="1488"/>
                </a:cubicBezTo>
                <a:cubicBezTo>
                  <a:pt x="376" y="1488"/>
                  <a:pt x="377" y="1488"/>
                  <a:pt x="379" y="1488"/>
                </a:cubicBezTo>
                <a:cubicBezTo>
                  <a:pt x="380" y="1488"/>
                  <a:pt x="381" y="1489"/>
                  <a:pt x="383" y="1489"/>
                </a:cubicBezTo>
                <a:cubicBezTo>
                  <a:pt x="387" y="1490"/>
                  <a:pt x="393" y="1493"/>
                  <a:pt x="401" y="1497"/>
                </a:cubicBezTo>
                <a:cubicBezTo>
                  <a:pt x="397" y="1492"/>
                  <a:pt x="395" y="1488"/>
                  <a:pt x="395" y="1486"/>
                </a:cubicBezTo>
                <a:cubicBezTo>
                  <a:pt x="396" y="1486"/>
                  <a:pt x="404" y="1485"/>
                  <a:pt x="420" y="1483"/>
                </a:cubicBezTo>
                <a:lnTo>
                  <a:pt x="420" y="1482"/>
                </a:lnTo>
                <a:cubicBezTo>
                  <a:pt x="407" y="1481"/>
                  <a:pt x="399" y="1479"/>
                  <a:pt x="397" y="1478"/>
                </a:cubicBezTo>
                <a:cubicBezTo>
                  <a:pt x="395" y="1478"/>
                  <a:pt x="394" y="1475"/>
                  <a:pt x="392" y="1471"/>
                </a:cubicBezTo>
                <a:cubicBezTo>
                  <a:pt x="392" y="1470"/>
                  <a:pt x="392" y="1469"/>
                  <a:pt x="392" y="1469"/>
                </a:cubicBezTo>
                <a:cubicBezTo>
                  <a:pt x="390" y="1466"/>
                  <a:pt x="389" y="1463"/>
                  <a:pt x="388" y="1462"/>
                </a:cubicBezTo>
                <a:cubicBezTo>
                  <a:pt x="389" y="1462"/>
                  <a:pt x="393" y="1462"/>
                  <a:pt x="400" y="1462"/>
                </a:cubicBezTo>
                <a:cubicBezTo>
                  <a:pt x="406" y="1461"/>
                  <a:pt x="409" y="1459"/>
                  <a:pt x="409" y="1456"/>
                </a:cubicBezTo>
                <a:cubicBezTo>
                  <a:pt x="409" y="1455"/>
                  <a:pt x="408" y="1453"/>
                  <a:pt x="408" y="1452"/>
                </a:cubicBezTo>
                <a:cubicBezTo>
                  <a:pt x="409" y="1448"/>
                  <a:pt x="412" y="1445"/>
                  <a:pt x="418" y="1443"/>
                </a:cubicBezTo>
                <a:cubicBezTo>
                  <a:pt x="420" y="1443"/>
                  <a:pt x="421" y="1443"/>
                  <a:pt x="422" y="1442"/>
                </a:cubicBezTo>
                <a:cubicBezTo>
                  <a:pt x="426" y="1441"/>
                  <a:pt x="430" y="1441"/>
                  <a:pt x="435" y="1442"/>
                </a:cubicBezTo>
                <a:cubicBezTo>
                  <a:pt x="437" y="1442"/>
                  <a:pt x="440" y="1443"/>
                  <a:pt x="444" y="1446"/>
                </a:cubicBezTo>
                <a:cubicBezTo>
                  <a:pt x="447" y="1448"/>
                  <a:pt x="448" y="1450"/>
                  <a:pt x="448" y="1452"/>
                </a:cubicBezTo>
                <a:cubicBezTo>
                  <a:pt x="448" y="1454"/>
                  <a:pt x="446" y="1458"/>
                  <a:pt x="444" y="1464"/>
                </a:cubicBezTo>
                <a:cubicBezTo>
                  <a:pt x="441" y="1470"/>
                  <a:pt x="440" y="1473"/>
                  <a:pt x="439" y="1473"/>
                </a:cubicBezTo>
                <a:lnTo>
                  <a:pt x="439" y="1474"/>
                </a:lnTo>
                <a:cubicBezTo>
                  <a:pt x="443" y="1470"/>
                  <a:pt x="448" y="1466"/>
                  <a:pt x="452" y="1464"/>
                </a:cubicBezTo>
                <a:cubicBezTo>
                  <a:pt x="454" y="1463"/>
                  <a:pt x="457" y="1461"/>
                  <a:pt x="462" y="1459"/>
                </a:cubicBezTo>
                <a:cubicBezTo>
                  <a:pt x="459" y="1459"/>
                  <a:pt x="457" y="1458"/>
                  <a:pt x="455" y="1456"/>
                </a:cubicBezTo>
                <a:cubicBezTo>
                  <a:pt x="453" y="1453"/>
                  <a:pt x="451" y="1452"/>
                  <a:pt x="451" y="1451"/>
                </a:cubicBezTo>
                <a:cubicBezTo>
                  <a:pt x="452" y="1447"/>
                  <a:pt x="454" y="1444"/>
                  <a:pt x="454" y="1442"/>
                </a:cubicBezTo>
                <a:cubicBezTo>
                  <a:pt x="455" y="1440"/>
                  <a:pt x="457" y="1439"/>
                  <a:pt x="461" y="1440"/>
                </a:cubicBezTo>
                <a:cubicBezTo>
                  <a:pt x="462" y="1440"/>
                  <a:pt x="463" y="1440"/>
                  <a:pt x="465" y="1442"/>
                </a:cubicBezTo>
                <a:cubicBezTo>
                  <a:pt x="466" y="1442"/>
                  <a:pt x="467" y="1442"/>
                  <a:pt x="467" y="1441"/>
                </a:cubicBezTo>
                <a:cubicBezTo>
                  <a:pt x="461" y="1441"/>
                  <a:pt x="458" y="1438"/>
                  <a:pt x="458" y="1432"/>
                </a:cubicBezTo>
                <a:cubicBezTo>
                  <a:pt x="458" y="1430"/>
                  <a:pt x="459" y="1429"/>
                  <a:pt x="460" y="1428"/>
                </a:cubicBezTo>
                <a:cubicBezTo>
                  <a:pt x="461" y="1427"/>
                  <a:pt x="463" y="1425"/>
                  <a:pt x="465" y="1424"/>
                </a:cubicBezTo>
                <a:cubicBezTo>
                  <a:pt x="468" y="1422"/>
                  <a:pt x="471" y="1421"/>
                  <a:pt x="472" y="1421"/>
                </a:cubicBezTo>
                <a:cubicBezTo>
                  <a:pt x="474" y="1421"/>
                  <a:pt x="475" y="1422"/>
                  <a:pt x="477" y="1424"/>
                </a:cubicBezTo>
                <a:cubicBezTo>
                  <a:pt x="479" y="1427"/>
                  <a:pt x="480" y="1428"/>
                  <a:pt x="481" y="1429"/>
                </a:cubicBezTo>
                <a:lnTo>
                  <a:pt x="482" y="1429"/>
                </a:lnTo>
                <a:cubicBezTo>
                  <a:pt x="482" y="1426"/>
                  <a:pt x="482" y="1422"/>
                  <a:pt x="482" y="1420"/>
                </a:cubicBezTo>
                <a:cubicBezTo>
                  <a:pt x="482" y="1418"/>
                  <a:pt x="484" y="1416"/>
                  <a:pt x="488" y="1414"/>
                </a:cubicBezTo>
                <a:cubicBezTo>
                  <a:pt x="491" y="1412"/>
                  <a:pt x="494" y="1411"/>
                  <a:pt x="495" y="1411"/>
                </a:cubicBezTo>
                <a:cubicBezTo>
                  <a:pt x="495" y="1411"/>
                  <a:pt x="496" y="1410"/>
                  <a:pt x="496" y="1410"/>
                </a:cubicBezTo>
                <a:cubicBezTo>
                  <a:pt x="498" y="1411"/>
                  <a:pt x="500" y="1415"/>
                  <a:pt x="503" y="1423"/>
                </a:cubicBezTo>
                <a:cubicBezTo>
                  <a:pt x="504" y="1425"/>
                  <a:pt x="505" y="1428"/>
                  <a:pt x="506" y="1432"/>
                </a:cubicBezTo>
                <a:cubicBezTo>
                  <a:pt x="511" y="1445"/>
                  <a:pt x="514" y="1451"/>
                  <a:pt x="514" y="1451"/>
                </a:cubicBezTo>
                <a:cubicBezTo>
                  <a:pt x="514" y="1455"/>
                  <a:pt x="509" y="1461"/>
                  <a:pt x="501" y="1468"/>
                </a:cubicBezTo>
                <a:lnTo>
                  <a:pt x="501" y="1468"/>
                </a:lnTo>
                <a:cubicBezTo>
                  <a:pt x="511" y="1465"/>
                  <a:pt x="516" y="1463"/>
                  <a:pt x="516" y="1463"/>
                </a:cubicBezTo>
                <a:cubicBezTo>
                  <a:pt x="518" y="1463"/>
                  <a:pt x="522" y="1465"/>
                  <a:pt x="529" y="1468"/>
                </a:cubicBezTo>
                <a:cubicBezTo>
                  <a:pt x="524" y="1465"/>
                  <a:pt x="523" y="1462"/>
                  <a:pt x="523" y="1459"/>
                </a:cubicBezTo>
                <a:cubicBezTo>
                  <a:pt x="523" y="1459"/>
                  <a:pt x="523" y="1458"/>
                  <a:pt x="524" y="1458"/>
                </a:cubicBezTo>
                <a:cubicBezTo>
                  <a:pt x="525" y="1457"/>
                  <a:pt x="527" y="1455"/>
                  <a:pt x="531" y="1453"/>
                </a:cubicBezTo>
                <a:cubicBezTo>
                  <a:pt x="536" y="1450"/>
                  <a:pt x="539" y="1449"/>
                  <a:pt x="540" y="1449"/>
                </a:cubicBezTo>
                <a:cubicBezTo>
                  <a:pt x="542" y="1449"/>
                  <a:pt x="543" y="1450"/>
                  <a:pt x="545" y="1451"/>
                </a:cubicBezTo>
                <a:cubicBezTo>
                  <a:pt x="547" y="1453"/>
                  <a:pt x="549" y="1454"/>
                  <a:pt x="550" y="1454"/>
                </a:cubicBezTo>
                <a:cubicBezTo>
                  <a:pt x="551" y="1454"/>
                  <a:pt x="553" y="1453"/>
                  <a:pt x="554" y="1451"/>
                </a:cubicBezTo>
                <a:cubicBezTo>
                  <a:pt x="558" y="1449"/>
                  <a:pt x="562" y="1449"/>
                  <a:pt x="569" y="1449"/>
                </a:cubicBezTo>
                <a:cubicBezTo>
                  <a:pt x="574" y="1450"/>
                  <a:pt x="581" y="1451"/>
                  <a:pt x="590" y="1453"/>
                </a:cubicBezTo>
                <a:cubicBezTo>
                  <a:pt x="590" y="1452"/>
                  <a:pt x="588" y="1451"/>
                  <a:pt x="584" y="1449"/>
                </a:cubicBezTo>
                <a:cubicBezTo>
                  <a:pt x="582" y="1448"/>
                  <a:pt x="581" y="1447"/>
                  <a:pt x="581" y="1444"/>
                </a:cubicBezTo>
                <a:cubicBezTo>
                  <a:pt x="582" y="1441"/>
                  <a:pt x="583" y="1438"/>
                  <a:pt x="586" y="1436"/>
                </a:cubicBezTo>
                <a:cubicBezTo>
                  <a:pt x="590" y="1433"/>
                  <a:pt x="593" y="1431"/>
                  <a:pt x="593" y="1431"/>
                </a:cubicBezTo>
                <a:lnTo>
                  <a:pt x="593" y="1430"/>
                </a:lnTo>
                <a:cubicBezTo>
                  <a:pt x="589" y="1429"/>
                  <a:pt x="586" y="1430"/>
                  <a:pt x="584" y="1432"/>
                </a:cubicBezTo>
                <a:lnTo>
                  <a:pt x="576" y="1431"/>
                </a:lnTo>
                <a:cubicBezTo>
                  <a:pt x="577" y="1428"/>
                  <a:pt x="581" y="1424"/>
                  <a:pt x="590" y="1420"/>
                </a:cubicBezTo>
                <a:cubicBezTo>
                  <a:pt x="592" y="1419"/>
                  <a:pt x="594" y="1417"/>
                  <a:pt x="596" y="1414"/>
                </a:cubicBezTo>
                <a:cubicBezTo>
                  <a:pt x="598" y="1410"/>
                  <a:pt x="599" y="1409"/>
                  <a:pt x="601" y="1408"/>
                </a:cubicBezTo>
                <a:cubicBezTo>
                  <a:pt x="601" y="1408"/>
                  <a:pt x="604" y="1407"/>
                  <a:pt x="609" y="1406"/>
                </a:cubicBezTo>
                <a:cubicBezTo>
                  <a:pt x="613" y="1406"/>
                  <a:pt x="615" y="1404"/>
                  <a:pt x="616" y="1402"/>
                </a:cubicBezTo>
                <a:cubicBezTo>
                  <a:pt x="618" y="1399"/>
                  <a:pt x="624" y="1397"/>
                  <a:pt x="634" y="1396"/>
                </a:cubicBezTo>
                <a:cubicBezTo>
                  <a:pt x="635" y="1396"/>
                  <a:pt x="635" y="1395"/>
                  <a:pt x="635" y="1394"/>
                </a:cubicBezTo>
                <a:cubicBezTo>
                  <a:pt x="635" y="1392"/>
                  <a:pt x="635" y="1390"/>
                  <a:pt x="635" y="1388"/>
                </a:cubicBezTo>
                <a:cubicBezTo>
                  <a:pt x="630" y="1387"/>
                  <a:pt x="626" y="1386"/>
                  <a:pt x="623" y="1385"/>
                </a:cubicBezTo>
                <a:cubicBezTo>
                  <a:pt x="620" y="1384"/>
                  <a:pt x="618" y="1383"/>
                  <a:pt x="617" y="1381"/>
                </a:cubicBezTo>
                <a:cubicBezTo>
                  <a:pt x="616" y="1380"/>
                  <a:pt x="616" y="1378"/>
                  <a:pt x="616" y="1377"/>
                </a:cubicBezTo>
                <a:cubicBezTo>
                  <a:pt x="616" y="1373"/>
                  <a:pt x="621" y="1368"/>
                  <a:pt x="631" y="1363"/>
                </a:cubicBezTo>
                <a:cubicBezTo>
                  <a:pt x="641" y="1357"/>
                  <a:pt x="647" y="1354"/>
                  <a:pt x="648" y="1353"/>
                </a:cubicBezTo>
                <a:cubicBezTo>
                  <a:pt x="646" y="1352"/>
                  <a:pt x="644" y="1351"/>
                  <a:pt x="643" y="1351"/>
                </a:cubicBezTo>
                <a:cubicBezTo>
                  <a:pt x="639" y="1352"/>
                  <a:pt x="637" y="1352"/>
                  <a:pt x="636" y="1352"/>
                </a:cubicBezTo>
                <a:cubicBezTo>
                  <a:pt x="634" y="1352"/>
                  <a:pt x="632" y="1351"/>
                  <a:pt x="631" y="1349"/>
                </a:cubicBezTo>
                <a:cubicBezTo>
                  <a:pt x="631" y="1348"/>
                  <a:pt x="630" y="1345"/>
                  <a:pt x="629" y="1341"/>
                </a:cubicBezTo>
                <a:cubicBezTo>
                  <a:pt x="624" y="1349"/>
                  <a:pt x="616" y="1358"/>
                  <a:pt x="604" y="1366"/>
                </a:cubicBezTo>
                <a:cubicBezTo>
                  <a:pt x="590" y="1375"/>
                  <a:pt x="581" y="1381"/>
                  <a:pt x="575" y="1384"/>
                </a:cubicBezTo>
                <a:cubicBezTo>
                  <a:pt x="577" y="1384"/>
                  <a:pt x="582" y="1382"/>
                  <a:pt x="590" y="1379"/>
                </a:cubicBezTo>
                <a:cubicBezTo>
                  <a:pt x="597" y="1376"/>
                  <a:pt x="603" y="1374"/>
                  <a:pt x="605" y="1375"/>
                </a:cubicBezTo>
                <a:lnTo>
                  <a:pt x="605" y="1375"/>
                </a:lnTo>
                <a:cubicBezTo>
                  <a:pt x="605" y="1375"/>
                  <a:pt x="606" y="1376"/>
                  <a:pt x="608" y="1379"/>
                </a:cubicBezTo>
                <a:cubicBezTo>
                  <a:pt x="609" y="1381"/>
                  <a:pt x="611" y="1383"/>
                  <a:pt x="612" y="1384"/>
                </a:cubicBezTo>
                <a:cubicBezTo>
                  <a:pt x="607" y="1390"/>
                  <a:pt x="601" y="1396"/>
                  <a:pt x="595" y="1401"/>
                </a:cubicBezTo>
                <a:cubicBezTo>
                  <a:pt x="587" y="1408"/>
                  <a:pt x="578" y="1413"/>
                  <a:pt x="568" y="1417"/>
                </a:cubicBezTo>
                <a:cubicBezTo>
                  <a:pt x="563" y="1418"/>
                  <a:pt x="554" y="1424"/>
                  <a:pt x="540" y="1433"/>
                </a:cubicBezTo>
                <a:cubicBezTo>
                  <a:pt x="527" y="1440"/>
                  <a:pt x="520" y="1444"/>
                  <a:pt x="518" y="1444"/>
                </a:cubicBezTo>
                <a:cubicBezTo>
                  <a:pt x="517" y="1444"/>
                  <a:pt x="513" y="1436"/>
                  <a:pt x="507" y="1421"/>
                </a:cubicBezTo>
                <a:cubicBezTo>
                  <a:pt x="506" y="1418"/>
                  <a:pt x="505" y="1413"/>
                  <a:pt x="503" y="1408"/>
                </a:cubicBezTo>
                <a:cubicBezTo>
                  <a:pt x="503" y="1407"/>
                  <a:pt x="506" y="1405"/>
                  <a:pt x="511" y="1403"/>
                </a:cubicBezTo>
                <a:cubicBezTo>
                  <a:pt x="512" y="1402"/>
                  <a:pt x="513" y="1401"/>
                  <a:pt x="515" y="1401"/>
                </a:cubicBezTo>
                <a:cubicBezTo>
                  <a:pt x="523" y="1396"/>
                  <a:pt x="528" y="1394"/>
                  <a:pt x="528" y="1393"/>
                </a:cubicBezTo>
                <a:cubicBezTo>
                  <a:pt x="526" y="1391"/>
                  <a:pt x="525" y="1390"/>
                  <a:pt x="525" y="1389"/>
                </a:cubicBezTo>
                <a:cubicBezTo>
                  <a:pt x="526" y="1389"/>
                  <a:pt x="527" y="1388"/>
                  <a:pt x="527" y="1388"/>
                </a:cubicBezTo>
                <a:lnTo>
                  <a:pt x="527" y="1387"/>
                </a:lnTo>
                <a:cubicBezTo>
                  <a:pt x="523" y="1390"/>
                  <a:pt x="517" y="1394"/>
                  <a:pt x="509" y="1398"/>
                </a:cubicBezTo>
                <a:cubicBezTo>
                  <a:pt x="502" y="1402"/>
                  <a:pt x="497" y="1404"/>
                  <a:pt x="493" y="1405"/>
                </a:cubicBezTo>
                <a:cubicBezTo>
                  <a:pt x="492" y="1405"/>
                  <a:pt x="491" y="1405"/>
                  <a:pt x="491" y="1405"/>
                </a:cubicBezTo>
                <a:cubicBezTo>
                  <a:pt x="490" y="1405"/>
                  <a:pt x="489" y="1404"/>
                  <a:pt x="487" y="1401"/>
                </a:cubicBezTo>
                <a:cubicBezTo>
                  <a:pt x="486" y="1399"/>
                  <a:pt x="486" y="1397"/>
                  <a:pt x="486" y="1397"/>
                </a:cubicBezTo>
                <a:cubicBezTo>
                  <a:pt x="486" y="1396"/>
                  <a:pt x="492" y="1393"/>
                  <a:pt x="504" y="1388"/>
                </a:cubicBezTo>
                <a:lnTo>
                  <a:pt x="504" y="1387"/>
                </a:lnTo>
                <a:cubicBezTo>
                  <a:pt x="503" y="1387"/>
                  <a:pt x="500" y="1386"/>
                  <a:pt x="495" y="1385"/>
                </a:cubicBezTo>
                <a:lnTo>
                  <a:pt x="496" y="1377"/>
                </a:lnTo>
                <a:cubicBezTo>
                  <a:pt x="502" y="1375"/>
                  <a:pt x="510" y="1372"/>
                  <a:pt x="520" y="1368"/>
                </a:cubicBezTo>
                <a:cubicBezTo>
                  <a:pt x="530" y="1365"/>
                  <a:pt x="538" y="1362"/>
                  <a:pt x="543" y="1360"/>
                </a:cubicBezTo>
                <a:cubicBezTo>
                  <a:pt x="538" y="1359"/>
                  <a:pt x="535" y="1360"/>
                  <a:pt x="532" y="1361"/>
                </a:cubicBezTo>
                <a:lnTo>
                  <a:pt x="528" y="1360"/>
                </a:lnTo>
                <a:cubicBezTo>
                  <a:pt x="528" y="1360"/>
                  <a:pt x="528" y="1360"/>
                  <a:pt x="528" y="1360"/>
                </a:cubicBezTo>
                <a:cubicBezTo>
                  <a:pt x="529" y="1359"/>
                  <a:pt x="531" y="1358"/>
                  <a:pt x="532" y="1356"/>
                </a:cubicBezTo>
                <a:cubicBezTo>
                  <a:pt x="534" y="1355"/>
                  <a:pt x="535" y="1354"/>
                  <a:pt x="535" y="1352"/>
                </a:cubicBezTo>
                <a:cubicBezTo>
                  <a:pt x="535" y="1352"/>
                  <a:pt x="534" y="1352"/>
                  <a:pt x="533" y="1352"/>
                </a:cubicBezTo>
                <a:cubicBezTo>
                  <a:pt x="531" y="1351"/>
                  <a:pt x="529" y="1352"/>
                  <a:pt x="528" y="1353"/>
                </a:cubicBezTo>
                <a:cubicBezTo>
                  <a:pt x="526" y="1353"/>
                  <a:pt x="524" y="1354"/>
                  <a:pt x="522" y="1353"/>
                </a:cubicBezTo>
                <a:cubicBezTo>
                  <a:pt x="521" y="1353"/>
                  <a:pt x="520" y="1352"/>
                  <a:pt x="519" y="1352"/>
                </a:cubicBezTo>
                <a:cubicBezTo>
                  <a:pt x="519" y="1352"/>
                  <a:pt x="519" y="1351"/>
                  <a:pt x="519" y="1351"/>
                </a:cubicBezTo>
                <a:cubicBezTo>
                  <a:pt x="520" y="1350"/>
                  <a:pt x="523" y="1348"/>
                  <a:pt x="526" y="1346"/>
                </a:cubicBezTo>
                <a:cubicBezTo>
                  <a:pt x="529" y="1344"/>
                  <a:pt x="531" y="1342"/>
                  <a:pt x="531" y="1341"/>
                </a:cubicBezTo>
                <a:cubicBezTo>
                  <a:pt x="530" y="1338"/>
                  <a:pt x="529" y="1336"/>
                  <a:pt x="529" y="1335"/>
                </a:cubicBezTo>
                <a:cubicBezTo>
                  <a:pt x="529" y="1331"/>
                  <a:pt x="532" y="1329"/>
                  <a:pt x="536" y="1329"/>
                </a:cubicBezTo>
                <a:cubicBezTo>
                  <a:pt x="538" y="1329"/>
                  <a:pt x="542" y="1329"/>
                  <a:pt x="546" y="1330"/>
                </a:cubicBezTo>
                <a:cubicBezTo>
                  <a:pt x="544" y="1327"/>
                  <a:pt x="542" y="1325"/>
                  <a:pt x="542" y="1324"/>
                </a:cubicBezTo>
                <a:cubicBezTo>
                  <a:pt x="543" y="1323"/>
                  <a:pt x="544" y="1322"/>
                  <a:pt x="546" y="1321"/>
                </a:cubicBezTo>
                <a:cubicBezTo>
                  <a:pt x="548" y="1320"/>
                  <a:pt x="550" y="1318"/>
                  <a:pt x="551" y="1316"/>
                </a:cubicBezTo>
                <a:cubicBezTo>
                  <a:pt x="553" y="1314"/>
                  <a:pt x="556" y="1313"/>
                  <a:pt x="559" y="1313"/>
                </a:cubicBezTo>
                <a:cubicBezTo>
                  <a:pt x="559" y="1311"/>
                  <a:pt x="557" y="1310"/>
                  <a:pt x="556" y="1308"/>
                </a:cubicBezTo>
                <a:cubicBezTo>
                  <a:pt x="553" y="1305"/>
                  <a:pt x="552" y="1304"/>
                  <a:pt x="552" y="1304"/>
                </a:cubicBezTo>
                <a:cubicBezTo>
                  <a:pt x="555" y="1302"/>
                  <a:pt x="561" y="1298"/>
                  <a:pt x="570" y="1294"/>
                </a:cubicBezTo>
                <a:cubicBezTo>
                  <a:pt x="570" y="1293"/>
                  <a:pt x="570" y="1293"/>
                  <a:pt x="570" y="1293"/>
                </a:cubicBezTo>
                <a:cubicBezTo>
                  <a:pt x="572" y="1289"/>
                  <a:pt x="574" y="1287"/>
                  <a:pt x="575" y="1285"/>
                </a:cubicBezTo>
                <a:cubicBezTo>
                  <a:pt x="576" y="1285"/>
                  <a:pt x="578" y="1287"/>
                  <a:pt x="579" y="1288"/>
                </a:cubicBezTo>
                <a:cubicBezTo>
                  <a:pt x="580" y="1285"/>
                  <a:pt x="579" y="1282"/>
                  <a:pt x="578" y="1280"/>
                </a:cubicBezTo>
                <a:cubicBezTo>
                  <a:pt x="579" y="1279"/>
                  <a:pt x="581" y="1279"/>
                  <a:pt x="582" y="1279"/>
                </a:cubicBezTo>
                <a:cubicBezTo>
                  <a:pt x="582" y="1277"/>
                  <a:pt x="580" y="1275"/>
                  <a:pt x="578" y="1272"/>
                </a:cubicBezTo>
                <a:cubicBezTo>
                  <a:pt x="579" y="1271"/>
                  <a:pt x="582" y="1270"/>
                  <a:pt x="586" y="1271"/>
                </a:cubicBezTo>
                <a:cubicBezTo>
                  <a:pt x="588" y="1271"/>
                  <a:pt x="591" y="1273"/>
                  <a:pt x="594" y="1278"/>
                </a:cubicBezTo>
                <a:lnTo>
                  <a:pt x="595" y="1278"/>
                </a:lnTo>
                <a:cubicBezTo>
                  <a:pt x="593" y="1273"/>
                  <a:pt x="592" y="1270"/>
                  <a:pt x="591" y="1269"/>
                </a:cubicBezTo>
                <a:cubicBezTo>
                  <a:pt x="592" y="1269"/>
                  <a:pt x="593" y="1268"/>
                  <a:pt x="595" y="1266"/>
                </a:cubicBezTo>
                <a:cubicBezTo>
                  <a:pt x="596" y="1265"/>
                  <a:pt x="597" y="1263"/>
                  <a:pt x="596" y="1261"/>
                </a:cubicBezTo>
                <a:lnTo>
                  <a:pt x="601" y="1261"/>
                </a:lnTo>
                <a:cubicBezTo>
                  <a:pt x="602" y="1262"/>
                  <a:pt x="603" y="1263"/>
                  <a:pt x="605" y="1263"/>
                </a:cubicBezTo>
                <a:cubicBezTo>
                  <a:pt x="607" y="1263"/>
                  <a:pt x="608" y="1263"/>
                  <a:pt x="609" y="1264"/>
                </a:cubicBezTo>
                <a:lnTo>
                  <a:pt x="613" y="1264"/>
                </a:lnTo>
                <a:lnTo>
                  <a:pt x="614" y="1256"/>
                </a:lnTo>
                <a:cubicBezTo>
                  <a:pt x="611" y="1251"/>
                  <a:pt x="610" y="1248"/>
                  <a:pt x="610" y="1247"/>
                </a:cubicBezTo>
                <a:cubicBezTo>
                  <a:pt x="611" y="1246"/>
                  <a:pt x="612" y="1246"/>
                  <a:pt x="614" y="1246"/>
                </a:cubicBezTo>
                <a:cubicBezTo>
                  <a:pt x="615" y="1247"/>
                  <a:pt x="616" y="1247"/>
                  <a:pt x="617" y="1248"/>
                </a:cubicBezTo>
                <a:cubicBezTo>
                  <a:pt x="619" y="1250"/>
                  <a:pt x="621" y="1253"/>
                  <a:pt x="623" y="1259"/>
                </a:cubicBezTo>
                <a:cubicBezTo>
                  <a:pt x="623" y="1259"/>
                  <a:pt x="624" y="1259"/>
                  <a:pt x="624" y="1259"/>
                </a:cubicBezTo>
                <a:cubicBezTo>
                  <a:pt x="626" y="1266"/>
                  <a:pt x="627" y="1271"/>
                  <a:pt x="627" y="1274"/>
                </a:cubicBezTo>
                <a:cubicBezTo>
                  <a:pt x="627" y="1274"/>
                  <a:pt x="627" y="1274"/>
                  <a:pt x="627" y="1274"/>
                </a:cubicBezTo>
                <a:lnTo>
                  <a:pt x="636" y="1275"/>
                </a:lnTo>
                <a:cubicBezTo>
                  <a:pt x="635" y="1276"/>
                  <a:pt x="635" y="1280"/>
                  <a:pt x="635" y="1284"/>
                </a:cubicBezTo>
                <a:cubicBezTo>
                  <a:pt x="635" y="1285"/>
                  <a:pt x="634" y="1287"/>
                  <a:pt x="633" y="1290"/>
                </a:cubicBezTo>
                <a:cubicBezTo>
                  <a:pt x="633" y="1289"/>
                  <a:pt x="635" y="1287"/>
                  <a:pt x="640" y="1283"/>
                </a:cubicBezTo>
                <a:cubicBezTo>
                  <a:pt x="640" y="1283"/>
                  <a:pt x="641" y="1282"/>
                  <a:pt x="641" y="1279"/>
                </a:cubicBezTo>
                <a:cubicBezTo>
                  <a:pt x="642" y="1277"/>
                  <a:pt x="642" y="1276"/>
                  <a:pt x="643" y="1275"/>
                </a:cubicBezTo>
                <a:cubicBezTo>
                  <a:pt x="646" y="1275"/>
                  <a:pt x="652" y="1274"/>
                  <a:pt x="663" y="1274"/>
                </a:cubicBezTo>
                <a:lnTo>
                  <a:pt x="663" y="1273"/>
                </a:lnTo>
                <a:cubicBezTo>
                  <a:pt x="657" y="1274"/>
                  <a:pt x="653" y="1272"/>
                  <a:pt x="650" y="1268"/>
                </a:cubicBezTo>
                <a:lnTo>
                  <a:pt x="650" y="1263"/>
                </a:lnTo>
                <a:cubicBezTo>
                  <a:pt x="651" y="1262"/>
                  <a:pt x="652" y="1260"/>
                  <a:pt x="652" y="1257"/>
                </a:cubicBezTo>
                <a:cubicBezTo>
                  <a:pt x="653" y="1255"/>
                  <a:pt x="654" y="1253"/>
                  <a:pt x="655" y="1253"/>
                </a:cubicBezTo>
                <a:cubicBezTo>
                  <a:pt x="662" y="1251"/>
                  <a:pt x="667" y="1250"/>
                  <a:pt x="668" y="1250"/>
                </a:cubicBezTo>
                <a:cubicBezTo>
                  <a:pt x="669" y="1250"/>
                  <a:pt x="669" y="1250"/>
                  <a:pt x="669" y="1249"/>
                </a:cubicBezTo>
                <a:lnTo>
                  <a:pt x="661" y="1248"/>
                </a:lnTo>
                <a:cubicBezTo>
                  <a:pt x="655" y="1248"/>
                  <a:pt x="651" y="1248"/>
                  <a:pt x="648" y="1248"/>
                </a:cubicBezTo>
                <a:lnTo>
                  <a:pt x="645" y="1248"/>
                </a:lnTo>
                <a:cubicBezTo>
                  <a:pt x="644" y="1246"/>
                  <a:pt x="644" y="1242"/>
                  <a:pt x="645" y="1238"/>
                </a:cubicBezTo>
                <a:cubicBezTo>
                  <a:pt x="646" y="1232"/>
                  <a:pt x="647" y="1228"/>
                  <a:pt x="648" y="1227"/>
                </a:cubicBezTo>
                <a:cubicBezTo>
                  <a:pt x="650" y="1226"/>
                  <a:pt x="654" y="1225"/>
                  <a:pt x="658" y="1223"/>
                </a:cubicBezTo>
                <a:cubicBezTo>
                  <a:pt x="660" y="1222"/>
                  <a:pt x="663" y="1221"/>
                  <a:pt x="666" y="1218"/>
                </a:cubicBezTo>
                <a:cubicBezTo>
                  <a:pt x="669" y="1217"/>
                  <a:pt x="672" y="1216"/>
                  <a:pt x="676" y="1215"/>
                </a:cubicBezTo>
                <a:cubicBezTo>
                  <a:pt x="676" y="1214"/>
                  <a:pt x="675" y="1213"/>
                  <a:pt x="673" y="1212"/>
                </a:cubicBezTo>
                <a:cubicBezTo>
                  <a:pt x="671" y="1211"/>
                  <a:pt x="671" y="1209"/>
                  <a:pt x="671" y="1208"/>
                </a:cubicBezTo>
                <a:cubicBezTo>
                  <a:pt x="671" y="1207"/>
                  <a:pt x="671" y="1206"/>
                  <a:pt x="673" y="1205"/>
                </a:cubicBezTo>
                <a:cubicBezTo>
                  <a:pt x="674" y="1204"/>
                  <a:pt x="676" y="1203"/>
                  <a:pt x="678" y="1201"/>
                </a:cubicBezTo>
                <a:cubicBezTo>
                  <a:pt x="685" y="1198"/>
                  <a:pt x="688" y="1195"/>
                  <a:pt x="689" y="1195"/>
                </a:cubicBezTo>
                <a:cubicBezTo>
                  <a:pt x="695" y="1190"/>
                  <a:pt x="702" y="1189"/>
                  <a:pt x="710" y="1190"/>
                </a:cubicBezTo>
                <a:cubicBezTo>
                  <a:pt x="717" y="1190"/>
                  <a:pt x="723" y="1192"/>
                  <a:pt x="729" y="1195"/>
                </a:cubicBezTo>
                <a:lnTo>
                  <a:pt x="732" y="1195"/>
                </a:lnTo>
                <a:cubicBezTo>
                  <a:pt x="732" y="1191"/>
                  <a:pt x="724" y="1187"/>
                  <a:pt x="708" y="1183"/>
                </a:cubicBezTo>
                <a:cubicBezTo>
                  <a:pt x="700" y="1182"/>
                  <a:pt x="688" y="1189"/>
                  <a:pt x="672" y="1203"/>
                </a:cubicBezTo>
                <a:cubicBezTo>
                  <a:pt x="672" y="1203"/>
                  <a:pt x="672" y="1204"/>
                  <a:pt x="671" y="1204"/>
                </a:cubicBezTo>
                <a:cubicBezTo>
                  <a:pt x="663" y="1211"/>
                  <a:pt x="657" y="1216"/>
                  <a:pt x="655" y="1218"/>
                </a:cubicBezTo>
                <a:cubicBezTo>
                  <a:pt x="649" y="1222"/>
                  <a:pt x="644" y="1224"/>
                  <a:pt x="640" y="1224"/>
                </a:cubicBezTo>
                <a:cubicBezTo>
                  <a:pt x="639" y="1223"/>
                  <a:pt x="638" y="1221"/>
                  <a:pt x="637" y="1221"/>
                </a:cubicBezTo>
                <a:cubicBezTo>
                  <a:pt x="638" y="1220"/>
                  <a:pt x="640" y="1218"/>
                  <a:pt x="643" y="1215"/>
                </a:cubicBezTo>
                <a:cubicBezTo>
                  <a:pt x="645" y="1213"/>
                  <a:pt x="646" y="1212"/>
                  <a:pt x="646" y="1210"/>
                </a:cubicBezTo>
                <a:cubicBezTo>
                  <a:pt x="647" y="1208"/>
                  <a:pt x="646" y="1205"/>
                  <a:pt x="643" y="1204"/>
                </a:cubicBezTo>
                <a:cubicBezTo>
                  <a:pt x="641" y="1202"/>
                  <a:pt x="640" y="1201"/>
                  <a:pt x="640" y="1198"/>
                </a:cubicBezTo>
                <a:cubicBezTo>
                  <a:pt x="640" y="1197"/>
                  <a:pt x="640" y="1196"/>
                  <a:pt x="641" y="1196"/>
                </a:cubicBezTo>
                <a:cubicBezTo>
                  <a:pt x="644" y="1194"/>
                  <a:pt x="649" y="1194"/>
                  <a:pt x="658" y="1195"/>
                </a:cubicBezTo>
                <a:lnTo>
                  <a:pt x="659" y="1195"/>
                </a:lnTo>
                <a:cubicBezTo>
                  <a:pt x="659" y="1195"/>
                  <a:pt x="660" y="1195"/>
                  <a:pt x="661" y="1193"/>
                </a:cubicBezTo>
                <a:cubicBezTo>
                  <a:pt x="663" y="1192"/>
                  <a:pt x="664" y="1192"/>
                  <a:pt x="665" y="1192"/>
                </a:cubicBezTo>
                <a:lnTo>
                  <a:pt x="665" y="1191"/>
                </a:lnTo>
                <a:cubicBezTo>
                  <a:pt x="661" y="1189"/>
                  <a:pt x="658" y="1189"/>
                  <a:pt x="658" y="1188"/>
                </a:cubicBezTo>
                <a:cubicBezTo>
                  <a:pt x="659" y="1187"/>
                  <a:pt x="661" y="1186"/>
                  <a:pt x="665" y="1185"/>
                </a:cubicBezTo>
                <a:cubicBezTo>
                  <a:pt x="669" y="1184"/>
                  <a:pt x="672" y="1183"/>
                  <a:pt x="673" y="1182"/>
                </a:cubicBezTo>
                <a:lnTo>
                  <a:pt x="668" y="1178"/>
                </a:lnTo>
                <a:cubicBezTo>
                  <a:pt x="669" y="1176"/>
                  <a:pt x="671" y="1176"/>
                  <a:pt x="675" y="1175"/>
                </a:cubicBezTo>
                <a:cubicBezTo>
                  <a:pt x="677" y="1175"/>
                  <a:pt x="680" y="1175"/>
                  <a:pt x="683" y="1175"/>
                </a:cubicBezTo>
                <a:cubicBezTo>
                  <a:pt x="685" y="1176"/>
                  <a:pt x="686" y="1175"/>
                  <a:pt x="689" y="1175"/>
                </a:cubicBezTo>
                <a:cubicBezTo>
                  <a:pt x="690" y="1174"/>
                  <a:pt x="692" y="1173"/>
                  <a:pt x="695" y="1172"/>
                </a:cubicBezTo>
                <a:cubicBezTo>
                  <a:pt x="693" y="1169"/>
                  <a:pt x="693" y="1167"/>
                  <a:pt x="692" y="1167"/>
                </a:cubicBezTo>
                <a:cubicBezTo>
                  <a:pt x="696" y="1164"/>
                  <a:pt x="700" y="1163"/>
                  <a:pt x="702" y="1164"/>
                </a:cubicBezTo>
                <a:lnTo>
                  <a:pt x="702" y="1164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" name="Freeform 226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" name="Freeform 227"/>
          <p:cNvSpPr/>
          <p:nvPr/>
        </p:nvSpPr>
        <p:spPr bwMode="auto">
          <a:xfrm>
            <a:off x="9641183" y="5259919"/>
            <a:ext cx="270765" cy="312690"/>
          </a:xfrm>
          <a:custGeom>
            <a:avLst/>
            <a:gdLst>
              <a:gd name="T0" fmla="*/ 199 w 258"/>
              <a:gd name="T1" fmla="*/ 78 h 299"/>
              <a:gd name="T2" fmla="*/ 190 w 258"/>
              <a:gd name="T3" fmla="*/ 75 h 299"/>
              <a:gd name="T4" fmla="*/ 175 w 258"/>
              <a:gd name="T5" fmla="*/ 74 h 299"/>
              <a:gd name="T6" fmla="*/ 159 w 258"/>
              <a:gd name="T7" fmla="*/ 63 h 299"/>
              <a:gd name="T8" fmla="*/ 139 w 258"/>
              <a:gd name="T9" fmla="*/ 45 h 299"/>
              <a:gd name="T10" fmla="*/ 121 w 258"/>
              <a:gd name="T11" fmla="*/ 26 h 299"/>
              <a:gd name="T12" fmla="*/ 107 w 258"/>
              <a:gd name="T13" fmla="*/ 22 h 299"/>
              <a:gd name="T14" fmla="*/ 97 w 258"/>
              <a:gd name="T15" fmla="*/ 2 h 299"/>
              <a:gd name="T16" fmla="*/ 90 w 258"/>
              <a:gd name="T17" fmla="*/ 1 h 299"/>
              <a:gd name="T18" fmla="*/ 82 w 258"/>
              <a:gd name="T19" fmla="*/ 6 h 299"/>
              <a:gd name="T20" fmla="*/ 74 w 258"/>
              <a:gd name="T21" fmla="*/ 0 h 299"/>
              <a:gd name="T22" fmla="*/ 73 w 258"/>
              <a:gd name="T23" fmla="*/ 20 h 299"/>
              <a:gd name="T24" fmla="*/ 79 w 258"/>
              <a:gd name="T25" fmla="*/ 43 h 299"/>
              <a:gd name="T26" fmla="*/ 66 w 258"/>
              <a:gd name="T27" fmla="*/ 41 h 299"/>
              <a:gd name="T28" fmla="*/ 49 w 258"/>
              <a:gd name="T29" fmla="*/ 40 h 299"/>
              <a:gd name="T30" fmla="*/ 30 w 258"/>
              <a:gd name="T31" fmla="*/ 59 h 299"/>
              <a:gd name="T32" fmla="*/ 27 w 258"/>
              <a:gd name="T33" fmla="*/ 84 h 299"/>
              <a:gd name="T34" fmla="*/ 25 w 258"/>
              <a:gd name="T35" fmla="*/ 95 h 299"/>
              <a:gd name="T36" fmla="*/ 5 w 258"/>
              <a:gd name="T37" fmla="*/ 100 h 299"/>
              <a:gd name="T38" fmla="*/ 3 w 258"/>
              <a:gd name="T39" fmla="*/ 127 h 299"/>
              <a:gd name="T40" fmla="*/ 9 w 258"/>
              <a:gd name="T41" fmla="*/ 180 h 299"/>
              <a:gd name="T42" fmla="*/ 4 w 258"/>
              <a:gd name="T43" fmla="*/ 184 h 299"/>
              <a:gd name="T44" fmla="*/ 10 w 258"/>
              <a:gd name="T45" fmla="*/ 200 h 299"/>
              <a:gd name="T46" fmla="*/ 23 w 258"/>
              <a:gd name="T47" fmla="*/ 202 h 299"/>
              <a:gd name="T48" fmla="*/ 32 w 258"/>
              <a:gd name="T49" fmla="*/ 193 h 299"/>
              <a:gd name="T50" fmla="*/ 48 w 258"/>
              <a:gd name="T51" fmla="*/ 202 h 299"/>
              <a:gd name="T52" fmla="*/ 39 w 258"/>
              <a:gd name="T53" fmla="*/ 199 h 299"/>
              <a:gd name="T54" fmla="*/ 24 w 258"/>
              <a:gd name="T55" fmla="*/ 205 h 299"/>
              <a:gd name="T56" fmla="*/ 24 w 258"/>
              <a:gd name="T57" fmla="*/ 206 h 299"/>
              <a:gd name="T58" fmla="*/ 70 w 258"/>
              <a:gd name="T59" fmla="*/ 245 h 299"/>
              <a:gd name="T60" fmla="*/ 92 w 258"/>
              <a:gd name="T61" fmla="*/ 266 h 299"/>
              <a:gd name="T62" fmla="*/ 107 w 258"/>
              <a:gd name="T63" fmla="*/ 290 h 299"/>
              <a:gd name="T64" fmla="*/ 109 w 258"/>
              <a:gd name="T65" fmla="*/ 290 h 299"/>
              <a:gd name="T66" fmla="*/ 129 w 258"/>
              <a:gd name="T67" fmla="*/ 298 h 299"/>
              <a:gd name="T68" fmla="*/ 129 w 258"/>
              <a:gd name="T69" fmla="*/ 298 h 299"/>
              <a:gd name="T70" fmla="*/ 130 w 258"/>
              <a:gd name="T71" fmla="*/ 298 h 299"/>
              <a:gd name="T72" fmla="*/ 131 w 258"/>
              <a:gd name="T73" fmla="*/ 298 h 299"/>
              <a:gd name="T74" fmla="*/ 131 w 258"/>
              <a:gd name="T75" fmla="*/ 298 h 299"/>
              <a:gd name="T76" fmla="*/ 130 w 258"/>
              <a:gd name="T77" fmla="*/ 297 h 299"/>
              <a:gd name="T78" fmla="*/ 130 w 258"/>
              <a:gd name="T79" fmla="*/ 295 h 299"/>
              <a:gd name="T80" fmla="*/ 129 w 258"/>
              <a:gd name="T81" fmla="*/ 282 h 299"/>
              <a:gd name="T82" fmla="*/ 130 w 258"/>
              <a:gd name="T83" fmla="*/ 257 h 299"/>
              <a:gd name="T84" fmla="*/ 121 w 258"/>
              <a:gd name="T85" fmla="*/ 241 h 299"/>
              <a:gd name="T86" fmla="*/ 135 w 258"/>
              <a:gd name="T87" fmla="*/ 217 h 299"/>
              <a:gd name="T88" fmla="*/ 146 w 258"/>
              <a:gd name="T89" fmla="*/ 196 h 299"/>
              <a:gd name="T90" fmla="*/ 158 w 258"/>
              <a:gd name="T91" fmla="*/ 177 h 299"/>
              <a:gd name="T92" fmla="*/ 164 w 258"/>
              <a:gd name="T93" fmla="*/ 164 h 299"/>
              <a:gd name="T94" fmla="*/ 179 w 258"/>
              <a:gd name="T95" fmla="*/ 165 h 299"/>
              <a:gd name="T96" fmla="*/ 178 w 258"/>
              <a:gd name="T97" fmla="*/ 179 h 299"/>
              <a:gd name="T98" fmla="*/ 186 w 258"/>
              <a:gd name="T99" fmla="*/ 190 h 299"/>
              <a:gd name="T100" fmla="*/ 218 w 258"/>
              <a:gd name="T101" fmla="*/ 175 h 299"/>
              <a:gd name="T102" fmla="*/ 226 w 258"/>
              <a:gd name="T103" fmla="*/ 175 h 299"/>
              <a:gd name="T104" fmla="*/ 222 w 258"/>
              <a:gd name="T105" fmla="*/ 167 h 299"/>
              <a:gd name="T106" fmla="*/ 224 w 258"/>
              <a:gd name="T107" fmla="*/ 158 h 299"/>
              <a:gd name="T108" fmla="*/ 221 w 258"/>
              <a:gd name="T109" fmla="*/ 147 h 299"/>
              <a:gd name="T110" fmla="*/ 218 w 258"/>
              <a:gd name="T111" fmla="*/ 135 h 299"/>
              <a:gd name="T112" fmla="*/ 230 w 258"/>
              <a:gd name="T113" fmla="*/ 134 h 299"/>
              <a:gd name="T114" fmla="*/ 238 w 258"/>
              <a:gd name="T115" fmla="*/ 134 h 299"/>
              <a:gd name="T116" fmla="*/ 256 w 258"/>
              <a:gd name="T117" fmla="*/ 120 h 299"/>
              <a:gd name="T118" fmla="*/ 257 w 258"/>
              <a:gd name="T119" fmla="*/ 118 h 299"/>
              <a:gd name="T120" fmla="*/ 244 w 258"/>
              <a:gd name="T121" fmla="*/ 102 h 299"/>
              <a:gd name="T122" fmla="*/ 216 w 258"/>
              <a:gd name="T123" fmla="*/ 92 h 299"/>
              <a:gd name="T124" fmla="*/ 199 w 258"/>
              <a:gd name="T125" fmla="*/ 78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8" h="299">
                <a:moveTo>
                  <a:pt x="199" y="78"/>
                </a:moveTo>
                <a:lnTo>
                  <a:pt x="199" y="78"/>
                </a:lnTo>
                <a:cubicBezTo>
                  <a:pt x="197" y="75"/>
                  <a:pt x="196" y="73"/>
                  <a:pt x="196" y="73"/>
                </a:cubicBezTo>
                <a:cubicBezTo>
                  <a:pt x="195" y="73"/>
                  <a:pt x="193" y="74"/>
                  <a:pt x="190" y="75"/>
                </a:cubicBezTo>
                <a:cubicBezTo>
                  <a:pt x="186" y="77"/>
                  <a:pt x="184" y="78"/>
                  <a:pt x="183" y="78"/>
                </a:cubicBezTo>
                <a:cubicBezTo>
                  <a:pt x="179" y="77"/>
                  <a:pt x="177" y="76"/>
                  <a:pt x="175" y="74"/>
                </a:cubicBezTo>
                <a:cubicBezTo>
                  <a:pt x="174" y="70"/>
                  <a:pt x="173" y="68"/>
                  <a:pt x="171" y="66"/>
                </a:cubicBezTo>
                <a:cubicBezTo>
                  <a:pt x="167" y="67"/>
                  <a:pt x="163" y="66"/>
                  <a:pt x="159" y="63"/>
                </a:cubicBezTo>
                <a:cubicBezTo>
                  <a:pt x="154" y="59"/>
                  <a:pt x="151" y="56"/>
                  <a:pt x="148" y="55"/>
                </a:cubicBezTo>
                <a:cubicBezTo>
                  <a:pt x="143" y="52"/>
                  <a:pt x="140" y="49"/>
                  <a:pt x="139" y="45"/>
                </a:cubicBezTo>
                <a:cubicBezTo>
                  <a:pt x="138" y="41"/>
                  <a:pt x="135" y="38"/>
                  <a:pt x="131" y="35"/>
                </a:cubicBezTo>
                <a:cubicBezTo>
                  <a:pt x="127" y="31"/>
                  <a:pt x="123" y="27"/>
                  <a:pt x="121" y="26"/>
                </a:cubicBezTo>
                <a:cubicBezTo>
                  <a:pt x="120" y="25"/>
                  <a:pt x="118" y="24"/>
                  <a:pt x="115" y="23"/>
                </a:cubicBezTo>
                <a:cubicBezTo>
                  <a:pt x="110" y="22"/>
                  <a:pt x="107" y="22"/>
                  <a:pt x="107" y="22"/>
                </a:cubicBezTo>
                <a:cubicBezTo>
                  <a:pt x="100" y="20"/>
                  <a:pt x="97" y="16"/>
                  <a:pt x="97" y="11"/>
                </a:cubicBezTo>
                <a:cubicBezTo>
                  <a:pt x="97" y="7"/>
                  <a:pt x="97" y="4"/>
                  <a:pt x="97" y="2"/>
                </a:cubicBezTo>
                <a:cubicBezTo>
                  <a:pt x="96" y="3"/>
                  <a:pt x="95" y="4"/>
                  <a:pt x="95" y="4"/>
                </a:cubicBezTo>
                <a:cubicBezTo>
                  <a:pt x="93" y="2"/>
                  <a:pt x="92" y="1"/>
                  <a:pt x="90" y="1"/>
                </a:cubicBezTo>
                <a:cubicBezTo>
                  <a:pt x="88" y="1"/>
                  <a:pt x="86" y="2"/>
                  <a:pt x="85" y="3"/>
                </a:cubicBezTo>
                <a:cubicBezTo>
                  <a:pt x="84" y="5"/>
                  <a:pt x="83" y="6"/>
                  <a:pt x="82" y="6"/>
                </a:cubicBezTo>
                <a:cubicBezTo>
                  <a:pt x="81" y="6"/>
                  <a:pt x="79" y="5"/>
                  <a:pt x="78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74" y="0"/>
                  <a:pt x="70" y="3"/>
                  <a:pt x="63" y="10"/>
                </a:cubicBezTo>
                <a:lnTo>
                  <a:pt x="73" y="20"/>
                </a:lnTo>
                <a:cubicBezTo>
                  <a:pt x="79" y="27"/>
                  <a:pt x="82" y="32"/>
                  <a:pt x="82" y="35"/>
                </a:cubicBezTo>
                <a:cubicBezTo>
                  <a:pt x="82" y="37"/>
                  <a:pt x="81" y="40"/>
                  <a:pt x="79" y="43"/>
                </a:cubicBezTo>
                <a:cubicBezTo>
                  <a:pt x="76" y="47"/>
                  <a:pt x="75" y="48"/>
                  <a:pt x="73" y="48"/>
                </a:cubicBezTo>
                <a:cubicBezTo>
                  <a:pt x="70" y="48"/>
                  <a:pt x="68" y="46"/>
                  <a:pt x="66" y="41"/>
                </a:cubicBezTo>
                <a:cubicBezTo>
                  <a:pt x="65" y="37"/>
                  <a:pt x="62" y="35"/>
                  <a:pt x="60" y="34"/>
                </a:cubicBezTo>
                <a:cubicBezTo>
                  <a:pt x="58" y="34"/>
                  <a:pt x="54" y="36"/>
                  <a:pt x="49" y="40"/>
                </a:cubicBezTo>
                <a:cubicBezTo>
                  <a:pt x="46" y="42"/>
                  <a:pt x="42" y="45"/>
                  <a:pt x="37" y="48"/>
                </a:cubicBezTo>
                <a:cubicBezTo>
                  <a:pt x="36" y="49"/>
                  <a:pt x="34" y="52"/>
                  <a:pt x="30" y="59"/>
                </a:cubicBezTo>
                <a:cubicBezTo>
                  <a:pt x="27" y="65"/>
                  <a:pt x="25" y="69"/>
                  <a:pt x="25" y="71"/>
                </a:cubicBezTo>
                <a:cubicBezTo>
                  <a:pt x="25" y="74"/>
                  <a:pt x="25" y="79"/>
                  <a:pt x="27" y="84"/>
                </a:cubicBezTo>
                <a:cubicBezTo>
                  <a:pt x="28" y="89"/>
                  <a:pt x="29" y="92"/>
                  <a:pt x="30" y="93"/>
                </a:cubicBezTo>
                <a:cubicBezTo>
                  <a:pt x="29" y="94"/>
                  <a:pt x="28" y="95"/>
                  <a:pt x="25" y="95"/>
                </a:cubicBezTo>
                <a:cubicBezTo>
                  <a:pt x="24" y="95"/>
                  <a:pt x="21" y="95"/>
                  <a:pt x="16" y="95"/>
                </a:cubicBezTo>
                <a:cubicBezTo>
                  <a:pt x="12" y="94"/>
                  <a:pt x="8" y="96"/>
                  <a:pt x="5" y="100"/>
                </a:cubicBezTo>
                <a:cubicBezTo>
                  <a:pt x="3" y="103"/>
                  <a:pt x="1" y="107"/>
                  <a:pt x="0" y="113"/>
                </a:cubicBezTo>
                <a:cubicBezTo>
                  <a:pt x="0" y="113"/>
                  <a:pt x="1" y="118"/>
                  <a:pt x="3" y="127"/>
                </a:cubicBezTo>
                <a:cubicBezTo>
                  <a:pt x="15" y="144"/>
                  <a:pt x="21" y="153"/>
                  <a:pt x="21" y="153"/>
                </a:cubicBezTo>
                <a:cubicBezTo>
                  <a:pt x="21" y="156"/>
                  <a:pt x="17" y="165"/>
                  <a:pt x="9" y="180"/>
                </a:cubicBezTo>
                <a:cubicBezTo>
                  <a:pt x="7" y="180"/>
                  <a:pt x="5" y="180"/>
                  <a:pt x="3" y="181"/>
                </a:cubicBezTo>
                <a:cubicBezTo>
                  <a:pt x="3" y="182"/>
                  <a:pt x="3" y="183"/>
                  <a:pt x="4" y="184"/>
                </a:cubicBezTo>
                <a:cubicBezTo>
                  <a:pt x="6" y="188"/>
                  <a:pt x="6" y="193"/>
                  <a:pt x="5" y="198"/>
                </a:cubicBezTo>
                <a:cubicBezTo>
                  <a:pt x="7" y="199"/>
                  <a:pt x="8" y="199"/>
                  <a:pt x="10" y="200"/>
                </a:cubicBezTo>
                <a:cubicBezTo>
                  <a:pt x="13" y="201"/>
                  <a:pt x="16" y="202"/>
                  <a:pt x="17" y="202"/>
                </a:cubicBezTo>
                <a:cubicBezTo>
                  <a:pt x="19" y="203"/>
                  <a:pt x="21" y="202"/>
                  <a:pt x="23" y="202"/>
                </a:cubicBezTo>
                <a:cubicBezTo>
                  <a:pt x="24" y="201"/>
                  <a:pt x="25" y="201"/>
                  <a:pt x="26" y="200"/>
                </a:cubicBezTo>
                <a:cubicBezTo>
                  <a:pt x="29" y="198"/>
                  <a:pt x="31" y="196"/>
                  <a:pt x="32" y="193"/>
                </a:cubicBezTo>
                <a:lnTo>
                  <a:pt x="41" y="194"/>
                </a:lnTo>
                <a:cubicBezTo>
                  <a:pt x="42" y="197"/>
                  <a:pt x="45" y="199"/>
                  <a:pt x="48" y="202"/>
                </a:cubicBezTo>
                <a:lnTo>
                  <a:pt x="47" y="203"/>
                </a:lnTo>
                <a:cubicBezTo>
                  <a:pt x="42" y="200"/>
                  <a:pt x="40" y="199"/>
                  <a:pt x="39" y="199"/>
                </a:cubicBezTo>
                <a:cubicBezTo>
                  <a:pt x="38" y="199"/>
                  <a:pt x="37" y="200"/>
                  <a:pt x="35" y="202"/>
                </a:cubicBezTo>
                <a:cubicBezTo>
                  <a:pt x="33" y="205"/>
                  <a:pt x="29" y="205"/>
                  <a:pt x="24" y="205"/>
                </a:cubicBezTo>
                <a:cubicBezTo>
                  <a:pt x="24" y="205"/>
                  <a:pt x="24" y="206"/>
                  <a:pt x="24" y="206"/>
                </a:cubicBezTo>
                <a:lnTo>
                  <a:pt x="24" y="206"/>
                </a:lnTo>
                <a:cubicBezTo>
                  <a:pt x="28" y="210"/>
                  <a:pt x="35" y="217"/>
                  <a:pt x="47" y="225"/>
                </a:cubicBezTo>
                <a:cubicBezTo>
                  <a:pt x="59" y="234"/>
                  <a:pt x="67" y="240"/>
                  <a:pt x="70" y="245"/>
                </a:cubicBezTo>
                <a:cubicBezTo>
                  <a:pt x="72" y="247"/>
                  <a:pt x="77" y="250"/>
                  <a:pt x="83" y="255"/>
                </a:cubicBezTo>
                <a:cubicBezTo>
                  <a:pt x="88" y="258"/>
                  <a:pt x="91" y="262"/>
                  <a:pt x="92" y="266"/>
                </a:cubicBezTo>
                <a:cubicBezTo>
                  <a:pt x="94" y="269"/>
                  <a:pt x="95" y="274"/>
                  <a:pt x="97" y="281"/>
                </a:cubicBezTo>
                <a:cubicBezTo>
                  <a:pt x="99" y="285"/>
                  <a:pt x="103" y="289"/>
                  <a:pt x="107" y="290"/>
                </a:cubicBezTo>
                <a:cubicBezTo>
                  <a:pt x="107" y="290"/>
                  <a:pt x="107" y="290"/>
                  <a:pt x="107" y="291"/>
                </a:cubicBezTo>
                <a:cubicBezTo>
                  <a:pt x="108" y="290"/>
                  <a:pt x="108" y="290"/>
                  <a:pt x="109" y="290"/>
                </a:cubicBezTo>
                <a:cubicBezTo>
                  <a:pt x="109" y="290"/>
                  <a:pt x="115" y="293"/>
                  <a:pt x="128" y="298"/>
                </a:cubicBezTo>
                <a:lnTo>
                  <a:pt x="129" y="298"/>
                </a:lnTo>
                <a:cubicBezTo>
                  <a:pt x="129" y="298"/>
                  <a:pt x="129" y="298"/>
                  <a:pt x="129" y="298"/>
                </a:cubicBezTo>
                <a:lnTo>
                  <a:pt x="129" y="298"/>
                </a:lnTo>
                <a:cubicBezTo>
                  <a:pt x="130" y="298"/>
                  <a:pt x="130" y="298"/>
                  <a:pt x="130" y="298"/>
                </a:cubicBezTo>
                <a:lnTo>
                  <a:pt x="130" y="298"/>
                </a:lnTo>
                <a:lnTo>
                  <a:pt x="130" y="298"/>
                </a:lnTo>
                <a:lnTo>
                  <a:pt x="131" y="298"/>
                </a:lnTo>
                <a:lnTo>
                  <a:pt x="131" y="299"/>
                </a:lnTo>
                <a:lnTo>
                  <a:pt x="131" y="298"/>
                </a:lnTo>
                <a:lnTo>
                  <a:pt x="131" y="298"/>
                </a:lnTo>
                <a:cubicBezTo>
                  <a:pt x="131" y="298"/>
                  <a:pt x="131" y="298"/>
                  <a:pt x="130" y="297"/>
                </a:cubicBezTo>
                <a:lnTo>
                  <a:pt x="130" y="297"/>
                </a:lnTo>
                <a:cubicBezTo>
                  <a:pt x="130" y="296"/>
                  <a:pt x="130" y="296"/>
                  <a:pt x="130" y="295"/>
                </a:cubicBezTo>
                <a:cubicBezTo>
                  <a:pt x="127" y="291"/>
                  <a:pt x="126" y="288"/>
                  <a:pt x="126" y="286"/>
                </a:cubicBezTo>
                <a:cubicBezTo>
                  <a:pt x="126" y="285"/>
                  <a:pt x="127" y="283"/>
                  <a:pt x="129" y="282"/>
                </a:cubicBezTo>
                <a:cubicBezTo>
                  <a:pt x="131" y="280"/>
                  <a:pt x="132" y="279"/>
                  <a:pt x="132" y="278"/>
                </a:cubicBezTo>
                <a:cubicBezTo>
                  <a:pt x="133" y="268"/>
                  <a:pt x="132" y="261"/>
                  <a:pt x="130" y="257"/>
                </a:cubicBezTo>
                <a:cubicBezTo>
                  <a:pt x="128" y="253"/>
                  <a:pt x="126" y="250"/>
                  <a:pt x="125" y="250"/>
                </a:cubicBezTo>
                <a:cubicBezTo>
                  <a:pt x="122" y="248"/>
                  <a:pt x="121" y="245"/>
                  <a:pt x="121" y="241"/>
                </a:cubicBezTo>
                <a:cubicBezTo>
                  <a:pt x="121" y="239"/>
                  <a:pt x="124" y="235"/>
                  <a:pt x="128" y="230"/>
                </a:cubicBezTo>
                <a:cubicBezTo>
                  <a:pt x="132" y="224"/>
                  <a:pt x="134" y="220"/>
                  <a:pt x="135" y="217"/>
                </a:cubicBezTo>
                <a:cubicBezTo>
                  <a:pt x="134" y="215"/>
                  <a:pt x="134" y="214"/>
                  <a:pt x="134" y="213"/>
                </a:cubicBezTo>
                <a:cubicBezTo>
                  <a:pt x="139" y="205"/>
                  <a:pt x="143" y="199"/>
                  <a:pt x="146" y="196"/>
                </a:cubicBezTo>
                <a:cubicBezTo>
                  <a:pt x="148" y="192"/>
                  <a:pt x="151" y="188"/>
                  <a:pt x="155" y="186"/>
                </a:cubicBezTo>
                <a:cubicBezTo>
                  <a:pt x="156" y="185"/>
                  <a:pt x="157" y="182"/>
                  <a:pt x="158" y="177"/>
                </a:cubicBezTo>
                <a:cubicBezTo>
                  <a:pt x="158" y="173"/>
                  <a:pt x="157" y="171"/>
                  <a:pt x="157" y="170"/>
                </a:cubicBezTo>
                <a:cubicBezTo>
                  <a:pt x="157" y="169"/>
                  <a:pt x="160" y="167"/>
                  <a:pt x="164" y="164"/>
                </a:cubicBezTo>
                <a:cubicBezTo>
                  <a:pt x="168" y="162"/>
                  <a:pt x="171" y="161"/>
                  <a:pt x="173" y="161"/>
                </a:cubicBezTo>
                <a:cubicBezTo>
                  <a:pt x="175" y="161"/>
                  <a:pt x="177" y="163"/>
                  <a:pt x="179" y="165"/>
                </a:cubicBezTo>
                <a:cubicBezTo>
                  <a:pt x="180" y="168"/>
                  <a:pt x="181" y="170"/>
                  <a:pt x="180" y="172"/>
                </a:cubicBezTo>
                <a:cubicBezTo>
                  <a:pt x="180" y="173"/>
                  <a:pt x="180" y="175"/>
                  <a:pt x="178" y="179"/>
                </a:cubicBezTo>
                <a:cubicBezTo>
                  <a:pt x="178" y="180"/>
                  <a:pt x="179" y="182"/>
                  <a:pt x="180" y="185"/>
                </a:cubicBezTo>
                <a:cubicBezTo>
                  <a:pt x="182" y="188"/>
                  <a:pt x="184" y="190"/>
                  <a:pt x="186" y="190"/>
                </a:cubicBezTo>
                <a:cubicBezTo>
                  <a:pt x="187" y="190"/>
                  <a:pt x="191" y="187"/>
                  <a:pt x="199" y="182"/>
                </a:cubicBezTo>
                <a:cubicBezTo>
                  <a:pt x="207" y="177"/>
                  <a:pt x="213" y="175"/>
                  <a:pt x="218" y="175"/>
                </a:cubicBezTo>
                <a:cubicBezTo>
                  <a:pt x="218" y="175"/>
                  <a:pt x="222" y="176"/>
                  <a:pt x="227" y="177"/>
                </a:cubicBezTo>
                <a:cubicBezTo>
                  <a:pt x="227" y="177"/>
                  <a:pt x="227" y="176"/>
                  <a:pt x="226" y="175"/>
                </a:cubicBezTo>
                <a:cubicBezTo>
                  <a:pt x="226" y="173"/>
                  <a:pt x="226" y="171"/>
                  <a:pt x="226" y="171"/>
                </a:cubicBezTo>
                <a:cubicBezTo>
                  <a:pt x="224" y="169"/>
                  <a:pt x="223" y="168"/>
                  <a:pt x="222" y="167"/>
                </a:cubicBezTo>
                <a:cubicBezTo>
                  <a:pt x="222" y="166"/>
                  <a:pt x="221" y="165"/>
                  <a:pt x="221" y="163"/>
                </a:cubicBezTo>
                <a:cubicBezTo>
                  <a:pt x="222" y="161"/>
                  <a:pt x="223" y="160"/>
                  <a:pt x="224" y="158"/>
                </a:cubicBezTo>
                <a:cubicBezTo>
                  <a:pt x="226" y="155"/>
                  <a:pt x="226" y="154"/>
                  <a:pt x="226" y="153"/>
                </a:cubicBezTo>
                <a:cubicBezTo>
                  <a:pt x="227" y="151"/>
                  <a:pt x="225" y="149"/>
                  <a:pt x="221" y="147"/>
                </a:cubicBezTo>
                <a:cubicBezTo>
                  <a:pt x="217" y="144"/>
                  <a:pt x="215" y="142"/>
                  <a:pt x="215" y="140"/>
                </a:cubicBezTo>
                <a:cubicBezTo>
                  <a:pt x="215" y="138"/>
                  <a:pt x="216" y="137"/>
                  <a:pt x="218" y="135"/>
                </a:cubicBezTo>
                <a:cubicBezTo>
                  <a:pt x="220" y="133"/>
                  <a:pt x="223" y="132"/>
                  <a:pt x="226" y="132"/>
                </a:cubicBezTo>
                <a:cubicBezTo>
                  <a:pt x="227" y="132"/>
                  <a:pt x="229" y="133"/>
                  <a:pt x="230" y="134"/>
                </a:cubicBezTo>
                <a:cubicBezTo>
                  <a:pt x="232" y="135"/>
                  <a:pt x="234" y="136"/>
                  <a:pt x="235" y="136"/>
                </a:cubicBezTo>
                <a:cubicBezTo>
                  <a:pt x="237" y="136"/>
                  <a:pt x="238" y="136"/>
                  <a:pt x="238" y="134"/>
                </a:cubicBezTo>
                <a:cubicBezTo>
                  <a:pt x="239" y="128"/>
                  <a:pt x="240" y="125"/>
                  <a:pt x="242" y="124"/>
                </a:cubicBezTo>
                <a:cubicBezTo>
                  <a:pt x="247" y="123"/>
                  <a:pt x="252" y="122"/>
                  <a:pt x="256" y="120"/>
                </a:cubicBezTo>
                <a:cubicBezTo>
                  <a:pt x="256" y="120"/>
                  <a:pt x="256" y="120"/>
                  <a:pt x="256" y="120"/>
                </a:cubicBezTo>
                <a:cubicBezTo>
                  <a:pt x="256" y="119"/>
                  <a:pt x="256" y="119"/>
                  <a:pt x="257" y="118"/>
                </a:cubicBezTo>
                <a:cubicBezTo>
                  <a:pt x="257" y="116"/>
                  <a:pt x="258" y="115"/>
                  <a:pt x="258" y="113"/>
                </a:cubicBezTo>
                <a:cubicBezTo>
                  <a:pt x="258" y="108"/>
                  <a:pt x="254" y="104"/>
                  <a:pt x="244" y="102"/>
                </a:cubicBezTo>
                <a:cubicBezTo>
                  <a:pt x="233" y="100"/>
                  <a:pt x="225" y="99"/>
                  <a:pt x="222" y="98"/>
                </a:cubicBezTo>
                <a:cubicBezTo>
                  <a:pt x="221" y="97"/>
                  <a:pt x="220" y="95"/>
                  <a:pt x="216" y="92"/>
                </a:cubicBezTo>
                <a:cubicBezTo>
                  <a:pt x="213" y="89"/>
                  <a:pt x="210" y="87"/>
                  <a:pt x="208" y="85"/>
                </a:cubicBezTo>
                <a:cubicBezTo>
                  <a:pt x="204" y="84"/>
                  <a:pt x="202" y="81"/>
                  <a:pt x="199" y="78"/>
                </a:cubicBezTo>
                <a:lnTo>
                  <a:pt x="199" y="7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" name="Freeform 228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" name="Freeform 229"/>
          <p:cNvSpPr/>
          <p:nvPr/>
        </p:nvSpPr>
        <p:spPr bwMode="auto">
          <a:xfrm>
            <a:off x="9934656" y="5457315"/>
            <a:ext cx="354614" cy="298715"/>
          </a:xfrm>
          <a:custGeom>
            <a:avLst/>
            <a:gdLst>
              <a:gd name="T0" fmla="*/ 340 w 340"/>
              <a:gd name="T1" fmla="*/ 160 h 285"/>
              <a:gd name="T2" fmla="*/ 337 w 340"/>
              <a:gd name="T3" fmla="*/ 132 h 285"/>
              <a:gd name="T4" fmla="*/ 324 w 340"/>
              <a:gd name="T5" fmla="*/ 68 h 285"/>
              <a:gd name="T6" fmla="*/ 282 w 340"/>
              <a:gd name="T7" fmla="*/ 45 h 285"/>
              <a:gd name="T8" fmla="*/ 252 w 340"/>
              <a:gd name="T9" fmla="*/ 12 h 285"/>
              <a:gd name="T10" fmla="*/ 252 w 340"/>
              <a:gd name="T11" fmla="*/ 12 h 285"/>
              <a:gd name="T12" fmla="*/ 236 w 340"/>
              <a:gd name="T13" fmla="*/ 0 h 285"/>
              <a:gd name="T14" fmla="*/ 204 w 340"/>
              <a:gd name="T15" fmla="*/ 14 h 285"/>
              <a:gd name="T16" fmla="*/ 190 w 340"/>
              <a:gd name="T17" fmla="*/ 9 h 285"/>
              <a:gd name="T18" fmla="*/ 184 w 340"/>
              <a:gd name="T19" fmla="*/ 14 h 285"/>
              <a:gd name="T20" fmla="*/ 174 w 340"/>
              <a:gd name="T21" fmla="*/ 16 h 285"/>
              <a:gd name="T22" fmla="*/ 156 w 340"/>
              <a:gd name="T23" fmla="*/ 27 h 285"/>
              <a:gd name="T24" fmla="*/ 144 w 340"/>
              <a:gd name="T25" fmla="*/ 27 h 285"/>
              <a:gd name="T26" fmla="*/ 129 w 340"/>
              <a:gd name="T27" fmla="*/ 31 h 285"/>
              <a:gd name="T28" fmla="*/ 114 w 340"/>
              <a:gd name="T29" fmla="*/ 36 h 285"/>
              <a:gd name="T30" fmla="*/ 95 w 340"/>
              <a:gd name="T31" fmla="*/ 51 h 285"/>
              <a:gd name="T32" fmla="*/ 76 w 340"/>
              <a:gd name="T33" fmla="*/ 46 h 285"/>
              <a:gd name="T34" fmla="*/ 52 w 340"/>
              <a:gd name="T35" fmla="*/ 57 h 285"/>
              <a:gd name="T36" fmla="*/ 36 w 340"/>
              <a:gd name="T37" fmla="*/ 90 h 285"/>
              <a:gd name="T38" fmla="*/ 26 w 340"/>
              <a:gd name="T39" fmla="*/ 106 h 285"/>
              <a:gd name="T40" fmla="*/ 10 w 340"/>
              <a:gd name="T41" fmla="*/ 112 h 285"/>
              <a:gd name="T42" fmla="*/ 9 w 340"/>
              <a:gd name="T43" fmla="*/ 123 h 285"/>
              <a:gd name="T44" fmla="*/ 7 w 340"/>
              <a:gd name="T45" fmla="*/ 134 h 285"/>
              <a:gd name="T46" fmla="*/ 8 w 340"/>
              <a:gd name="T47" fmla="*/ 141 h 285"/>
              <a:gd name="T48" fmla="*/ 8 w 340"/>
              <a:gd name="T49" fmla="*/ 151 h 285"/>
              <a:gd name="T50" fmla="*/ 9 w 340"/>
              <a:gd name="T51" fmla="*/ 157 h 285"/>
              <a:gd name="T52" fmla="*/ 5 w 340"/>
              <a:gd name="T53" fmla="*/ 177 h 285"/>
              <a:gd name="T54" fmla="*/ 8 w 340"/>
              <a:gd name="T55" fmla="*/ 199 h 285"/>
              <a:gd name="T56" fmla="*/ 15 w 340"/>
              <a:gd name="T57" fmla="*/ 228 h 285"/>
              <a:gd name="T58" fmla="*/ 20 w 340"/>
              <a:gd name="T59" fmla="*/ 236 h 285"/>
              <a:gd name="T60" fmla="*/ 32 w 340"/>
              <a:gd name="T61" fmla="*/ 249 h 285"/>
              <a:gd name="T62" fmla="*/ 36 w 340"/>
              <a:gd name="T63" fmla="*/ 261 h 285"/>
              <a:gd name="T64" fmla="*/ 45 w 340"/>
              <a:gd name="T65" fmla="*/ 278 h 285"/>
              <a:gd name="T66" fmla="*/ 60 w 340"/>
              <a:gd name="T67" fmla="*/ 272 h 285"/>
              <a:gd name="T68" fmla="*/ 76 w 340"/>
              <a:gd name="T69" fmla="*/ 285 h 285"/>
              <a:gd name="T70" fmla="*/ 101 w 340"/>
              <a:gd name="T71" fmla="*/ 282 h 285"/>
              <a:gd name="T72" fmla="*/ 128 w 340"/>
              <a:gd name="T73" fmla="*/ 275 h 285"/>
              <a:gd name="T74" fmla="*/ 150 w 340"/>
              <a:gd name="T75" fmla="*/ 276 h 285"/>
              <a:gd name="T76" fmla="*/ 165 w 340"/>
              <a:gd name="T77" fmla="*/ 272 h 285"/>
              <a:gd name="T78" fmla="*/ 187 w 340"/>
              <a:gd name="T79" fmla="*/ 265 h 285"/>
              <a:gd name="T80" fmla="*/ 194 w 340"/>
              <a:gd name="T81" fmla="*/ 249 h 285"/>
              <a:gd name="T82" fmla="*/ 206 w 340"/>
              <a:gd name="T83" fmla="*/ 227 h 285"/>
              <a:gd name="T84" fmla="*/ 233 w 340"/>
              <a:gd name="T85" fmla="*/ 221 h 285"/>
              <a:gd name="T86" fmla="*/ 255 w 340"/>
              <a:gd name="T87" fmla="*/ 221 h 285"/>
              <a:gd name="T88" fmla="*/ 289 w 340"/>
              <a:gd name="T89" fmla="*/ 224 h 285"/>
              <a:gd name="T90" fmla="*/ 308 w 340"/>
              <a:gd name="T91" fmla="*/ 215 h 285"/>
              <a:gd name="T92" fmla="*/ 313 w 340"/>
              <a:gd name="T93" fmla="*/ 199 h 285"/>
              <a:gd name="T94" fmla="*/ 326 w 340"/>
              <a:gd name="T95" fmla="*/ 181 h 285"/>
              <a:gd name="T96" fmla="*/ 339 w 340"/>
              <a:gd name="T97" fmla="*/ 177 h 285"/>
              <a:gd name="T98" fmla="*/ 340 w 340"/>
              <a:gd name="T99" fmla="*/ 172 h 285"/>
              <a:gd name="T100" fmla="*/ 340 w 340"/>
              <a:gd name="T101" fmla="*/ 16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40" h="285">
                <a:moveTo>
                  <a:pt x="340" y="160"/>
                </a:moveTo>
                <a:lnTo>
                  <a:pt x="340" y="160"/>
                </a:lnTo>
                <a:cubicBezTo>
                  <a:pt x="338" y="155"/>
                  <a:pt x="337" y="151"/>
                  <a:pt x="337" y="147"/>
                </a:cubicBezTo>
                <a:cubicBezTo>
                  <a:pt x="336" y="144"/>
                  <a:pt x="336" y="139"/>
                  <a:pt x="337" y="132"/>
                </a:cubicBezTo>
                <a:cubicBezTo>
                  <a:pt x="337" y="125"/>
                  <a:pt x="337" y="120"/>
                  <a:pt x="337" y="117"/>
                </a:cubicBezTo>
                <a:cubicBezTo>
                  <a:pt x="331" y="97"/>
                  <a:pt x="327" y="81"/>
                  <a:pt x="324" y="68"/>
                </a:cubicBezTo>
                <a:cubicBezTo>
                  <a:pt x="322" y="62"/>
                  <a:pt x="316" y="57"/>
                  <a:pt x="307" y="53"/>
                </a:cubicBezTo>
                <a:cubicBezTo>
                  <a:pt x="295" y="50"/>
                  <a:pt x="287" y="47"/>
                  <a:pt x="282" y="45"/>
                </a:cubicBezTo>
                <a:cubicBezTo>
                  <a:pt x="276" y="42"/>
                  <a:pt x="271" y="37"/>
                  <a:pt x="265" y="28"/>
                </a:cubicBezTo>
                <a:cubicBezTo>
                  <a:pt x="260" y="20"/>
                  <a:pt x="255" y="14"/>
                  <a:pt x="252" y="12"/>
                </a:cubicBezTo>
                <a:lnTo>
                  <a:pt x="252" y="12"/>
                </a:lnTo>
                <a:lnTo>
                  <a:pt x="252" y="12"/>
                </a:lnTo>
                <a:lnTo>
                  <a:pt x="247" y="11"/>
                </a:lnTo>
                <a:cubicBezTo>
                  <a:pt x="244" y="10"/>
                  <a:pt x="240" y="6"/>
                  <a:pt x="236" y="0"/>
                </a:cubicBezTo>
                <a:cubicBezTo>
                  <a:pt x="236" y="1"/>
                  <a:pt x="231" y="3"/>
                  <a:pt x="222" y="8"/>
                </a:cubicBezTo>
                <a:cubicBezTo>
                  <a:pt x="214" y="12"/>
                  <a:pt x="208" y="14"/>
                  <a:pt x="204" y="14"/>
                </a:cubicBezTo>
                <a:cubicBezTo>
                  <a:pt x="202" y="14"/>
                  <a:pt x="199" y="13"/>
                  <a:pt x="196" y="12"/>
                </a:cubicBezTo>
                <a:cubicBezTo>
                  <a:pt x="193" y="10"/>
                  <a:pt x="191" y="9"/>
                  <a:pt x="190" y="9"/>
                </a:cubicBezTo>
                <a:cubicBezTo>
                  <a:pt x="186" y="9"/>
                  <a:pt x="184" y="9"/>
                  <a:pt x="183" y="10"/>
                </a:cubicBezTo>
                <a:cubicBezTo>
                  <a:pt x="183" y="12"/>
                  <a:pt x="183" y="13"/>
                  <a:pt x="184" y="14"/>
                </a:cubicBezTo>
                <a:lnTo>
                  <a:pt x="183" y="19"/>
                </a:lnTo>
                <a:cubicBezTo>
                  <a:pt x="179" y="17"/>
                  <a:pt x="176" y="16"/>
                  <a:pt x="174" y="16"/>
                </a:cubicBezTo>
                <a:cubicBezTo>
                  <a:pt x="171" y="15"/>
                  <a:pt x="168" y="17"/>
                  <a:pt x="165" y="20"/>
                </a:cubicBezTo>
                <a:cubicBezTo>
                  <a:pt x="161" y="24"/>
                  <a:pt x="158" y="26"/>
                  <a:pt x="156" y="27"/>
                </a:cubicBezTo>
                <a:cubicBezTo>
                  <a:pt x="155" y="27"/>
                  <a:pt x="152" y="27"/>
                  <a:pt x="146" y="27"/>
                </a:cubicBezTo>
                <a:cubicBezTo>
                  <a:pt x="145" y="27"/>
                  <a:pt x="145" y="27"/>
                  <a:pt x="144" y="27"/>
                </a:cubicBezTo>
                <a:cubicBezTo>
                  <a:pt x="139" y="27"/>
                  <a:pt x="135" y="27"/>
                  <a:pt x="133" y="27"/>
                </a:cubicBezTo>
                <a:cubicBezTo>
                  <a:pt x="131" y="28"/>
                  <a:pt x="130" y="29"/>
                  <a:pt x="129" y="31"/>
                </a:cubicBezTo>
                <a:cubicBezTo>
                  <a:pt x="129" y="33"/>
                  <a:pt x="128" y="34"/>
                  <a:pt x="125" y="35"/>
                </a:cubicBezTo>
                <a:cubicBezTo>
                  <a:pt x="120" y="35"/>
                  <a:pt x="117" y="35"/>
                  <a:pt x="114" y="36"/>
                </a:cubicBezTo>
                <a:cubicBezTo>
                  <a:pt x="110" y="37"/>
                  <a:pt x="108" y="44"/>
                  <a:pt x="107" y="58"/>
                </a:cubicBezTo>
                <a:cubicBezTo>
                  <a:pt x="106" y="58"/>
                  <a:pt x="102" y="56"/>
                  <a:pt x="95" y="51"/>
                </a:cubicBezTo>
                <a:cubicBezTo>
                  <a:pt x="88" y="46"/>
                  <a:pt x="84" y="44"/>
                  <a:pt x="83" y="44"/>
                </a:cubicBezTo>
                <a:cubicBezTo>
                  <a:pt x="81" y="43"/>
                  <a:pt x="78" y="44"/>
                  <a:pt x="76" y="46"/>
                </a:cubicBezTo>
                <a:cubicBezTo>
                  <a:pt x="72" y="49"/>
                  <a:pt x="69" y="50"/>
                  <a:pt x="67" y="51"/>
                </a:cubicBezTo>
                <a:cubicBezTo>
                  <a:pt x="60" y="54"/>
                  <a:pt x="55" y="56"/>
                  <a:pt x="52" y="57"/>
                </a:cubicBezTo>
                <a:cubicBezTo>
                  <a:pt x="41" y="61"/>
                  <a:pt x="35" y="69"/>
                  <a:pt x="34" y="83"/>
                </a:cubicBezTo>
                <a:cubicBezTo>
                  <a:pt x="33" y="85"/>
                  <a:pt x="34" y="87"/>
                  <a:pt x="36" y="90"/>
                </a:cubicBezTo>
                <a:cubicBezTo>
                  <a:pt x="38" y="94"/>
                  <a:pt x="39" y="96"/>
                  <a:pt x="39" y="97"/>
                </a:cubicBezTo>
                <a:cubicBezTo>
                  <a:pt x="39" y="102"/>
                  <a:pt x="34" y="105"/>
                  <a:pt x="26" y="106"/>
                </a:cubicBezTo>
                <a:cubicBezTo>
                  <a:pt x="24" y="106"/>
                  <a:pt x="19" y="106"/>
                  <a:pt x="11" y="105"/>
                </a:cubicBezTo>
                <a:cubicBezTo>
                  <a:pt x="11" y="107"/>
                  <a:pt x="10" y="110"/>
                  <a:pt x="10" y="112"/>
                </a:cubicBezTo>
                <a:cubicBezTo>
                  <a:pt x="10" y="114"/>
                  <a:pt x="11" y="116"/>
                  <a:pt x="11" y="118"/>
                </a:cubicBezTo>
                <a:cubicBezTo>
                  <a:pt x="11" y="120"/>
                  <a:pt x="10" y="121"/>
                  <a:pt x="9" y="123"/>
                </a:cubicBezTo>
                <a:cubicBezTo>
                  <a:pt x="7" y="124"/>
                  <a:pt x="6" y="126"/>
                  <a:pt x="6" y="128"/>
                </a:cubicBezTo>
                <a:cubicBezTo>
                  <a:pt x="6" y="129"/>
                  <a:pt x="6" y="131"/>
                  <a:pt x="7" y="134"/>
                </a:cubicBezTo>
                <a:cubicBezTo>
                  <a:pt x="7" y="137"/>
                  <a:pt x="8" y="139"/>
                  <a:pt x="9" y="140"/>
                </a:cubicBezTo>
                <a:cubicBezTo>
                  <a:pt x="8" y="140"/>
                  <a:pt x="8" y="140"/>
                  <a:pt x="8" y="141"/>
                </a:cubicBezTo>
                <a:cubicBezTo>
                  <a:pt x="8" y="142"/>
                  <a:pt x="8" y="144"/>
                  <a:pt x="7" y="147"/>
                </a:cubicBezTo>
                <a:cubicBezTo>
                  <a:pt x="7" y="148"/>
                  <a:pt x="7" y="149"/>
                  <a:pt x="8" y="151"/>
                </a:cubicBezTo>
                <a:cubicBezTo>
                  <a:pt x="8" y="151"/>
                  <a:pt x="9" y="152"/>
                  <a:pt x="10" y="153"/>
                </a:cubicBezTo>
                <a:lnTo>
                  <a:pt x="9" y="157"/>
                </a:lnTo>
                <a:cubicBezTo>
                  <a:pt x="4" y="158"/>
                  <a:pt x="0" y="159"/>
                  <a:pt x="0" y="162"/>
                </a:cubicBezTo>
                <a:cubicBezTo>
                  <a:pt x="0" y="165"/>
                  <a:pt x="2" y="170"/>
                  <a:pt x="5" y="177"/>
                </a:cubicBezTo>
                <a:cubicBezTo>
                  <a:pt x="9" y="184"/>
                  <a:pt x="11" y="188"/>
                  <a:pt x="13" y="190"/>
                </a:cubicBezTo>
                <a:cubicBezTo>
                  <a:pt x="11" y="194"/>
                  <a:pt x="9" y="197"/>
                  <a:pt x="8" y="199"/>
                </a:cubicBezTo>
                <a:cubicBezTo>
                  <a:pt x="8" y="200"/>
                  <a:pt x="7" y="203"/>
                  <a:pt x="7" y="207"/>
                </a:cubicBezTo>
                <a:cubicBezTo>
                  <a:pt x="6" y="215"/>
                  <a:pt x="9" y="222"/>
                  <a:pt x="15" y="22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6" y="230"/>
                  <a:pt x="18" y="233"/>
                  <a:pt x="20" y="236"/>
                </a:cubicBezTo>
                <a:cubicBezTo>
                  <a:pt x="22" y="239"/>
                  <a:pt x="22" y="242"/>
                  <a:pt x="21" y="246"/>
                </a:cubicBezTo>
                <a:cubicBezTo>
                  <a:pt x="23" y="247"/>
                  <a:pt x="27" y="248"/>
                  <a:pt x="32" y="249"/>
                </a:cubicBezTo>
                <a:cubicBezTo>
                  <a:pt x="34" y="250"/>
                  <a:pt x="34" y="252"/>
                  <a:pt x="34" y="254"/>
                </a:cubicBezTo>
                <a:cubicBezTo>
                  <a:pt x="35" y="257"/>
                  <a:pt x="35" y="259"/>
                  <a:pt x="36" y="261"/>
                </a:cubicBezTo>
                <a:cubicBezTo>
                  <a:pt x="36" y="262"/>
                  <a:pt x="37" y="265"/>
                  <a:pt x="39" y="270"/>
                </a:cubicBezTo>
                <a:cubicBezTo>
                  <a:pt x="41" y="275"/>
                  <a:pt x="43" y="278"/>
                  <a:pt x="45" y="278"/>
                </a:cubicBezTo>
                <a:cubicBezTo>
                  <a:pt x="49" y="278"/>
                  <a:pt x="52" y="277"/>
                  <a:pt x="54" y="275"/>
                </a:cubicBezTo>
                <a:cubicBezTo>
                  <a:pt x="57" y="273"/>
                  <a:pt x="59" y="272"/>
                  <a:pt x="60" y="272"/>
                </a:cubicBezTo>
                <a:cubicBezTo>
                  <a:pt x="66" y="273"/>
                  <a:pt x="71" y="276"/>
                  <a:pt x="74" y="280"/>
                </a:cubicBezTo>
                <a:cubicBezTo>
                  <a:pt x="75" y="281"/>
                  <a:pt x="76" y="283"/>
                  <a:pt x="76" y="285"/>
                </a:cubicBezTo>
                <a:cubicBezTo>
                  <a:pt x="80" y="284"/>
                  <a:pt x="86" y="284"/>
                  <a:pt x="94" y="285"/>
                </a:cubicBezTo>
                <a:cubicBezTo>
                  <a:pt x="96" y="285"/>
                  <a:pt x="98" y="284"/>
                  <a:pt x="101" y="282"/>
                </a:cubicBezTo>
                <a:cubicBezTo>
                  <a:pt x="105" y="280"/>
                  <a:pt x="107" y="279"/>
                  <a:pt x="110" y="279"/>
                </a:cubicBezTo>
                <a:cubicBezTo>
                  <a:pt x="120" y="280"/>
                  <a:pt x="126" y="278"/>
                  <a:pt x="128" y="275"/>
                </a:cubicBezTo>
                <a:cubicBezTo>
                  <a:pt x="130" y="273"/>
                  <a:pt x="134" y="272"/>
                  <a:pt x="141" y="272"/>
                </a:cubicBezTo>
                <a:cubicBezTo>
                  <a:pt x="144" y="273"/>
                  <a:pt x="147" y="274"/>
                  <a:pt x="150" y="276"/>
                </a:cubicBezTo>
                <a:cubicBezTo>
                  <a:pt x="153" y="278"/>
                  <a:pt x="155" y="279"/>
                  <a:pt x="156" y="279"/>
                </a:cubicBezTo>
                <a:cubicBezTo>
                  <a:pt x="157" y="279"/>
                  <a:pt x="160" y="277"/>
                  <a:pt x="165" y="272"/>
                </a:cubicBezTo>
                <a:cubicBezTo>
                  <a:pt x="169" y="267"/>
                  <a:pt x="173" y="265"/>
                  <a:pt x="175" y="266"/>
                </a:cubicBezTo>
                <a:cubicBezTo>
                  <a:pt x="181" y="266"/>
                  <a:pt x="185" y="266"/>
                  <a:pt x="187" y="265"/>
                </a:cubicBezTo>
                <a:cubicBezTo>
                  <a:pt x="187" y="261"/>
                  <a:pt x="186" y="258"/>
                  <a:pt x="187" y="257"/>
                </a:cubicBezTo>
                <a:cubicBezTo>
                  <a:pt x="187" y="253"/>
                  <a:pt x="190" y="250"/>
                  <a:pt x="194" y="249"/>
                </a:cubicBezTo>
                <a:cubicBezTo>
                  <a:pt x="199" y="247"/>
                  <a:pt x="202" y="243"/>
                  <a:pt x="203" y="237"/>
                </a:cubicBezTo>
                <a:cubicBezTo>
                  <a:pt x="203" y="232"/>
                  <a:pt x="204" y="228"/>
                  <a:pt x="206" y="227"/>
                </a:cubicBezTo>
                <a:cubicBezTo>
                  <a:pt x="208" y="225"/>
                  <a:pt x="213" y="225"/>
                  <a:pt x="220" y="224"/>
                </a:cubicBezTo>
                <a:cubicBezTo>
                  <a:pt x="225" y="224"/>
                  <a:pt x="229" y="223"/>
                  <a:pt x="233" y="221"/>
                </a:cubicBezTo>
                <a:cubicBezTo>
                  <a:pt x="237" y="219"/>
                  <a:pt x="241" y="218"/>
                  <a:pt x="245" y="218"/>
                </a:cubicBezTo>
                <a:cubicBezTo>
                  <a:pt x="248" y="219"/>
                  <a:pt x="251" y="220"/>
                  <a:pt x="255" y="221"/>
                </a:cubicBezTo>
                <a:cubicBezTo>
                  <a:pt x="258" y="223"/>
                  <a:pt x="262" y="225"/>
                  <a:pt x="266" y="225"/>
                </a:cubicBezTo>
                <a:cubicBezTo>
                  <a:pt x="273" y="226"/>
                  <a:pt x="281" y="225"/>
                  <a:pt x="289" y="224"/>
                </a:cubicBezTo>
                <a:cubicBezTo>
                  <a:pt x="298" y="222"/>
                  <a:pt x="301" y="219"/>
                  <a:pt x="299" y="214"/>
                </a:cubicBezTo>
                <a:cubicBezTo>
                  <a:pt x="301" y="214"/>
                  <a:pt x="304" y="215"/>
                  <a:pt x="308" y="215"/>
                </a:cubicBezTo>
                <a:cubicBezTo>
                  <a:pt x="312" y="215"/>
                  <a:pt x="314" y="213"/>
                  <a:pt x="314" y="211"/>
                </a:cubicBezTo>
                <a:cubicBezTo>
                  <a:pt x="314" y="208"/>
                  <a:pt x="314" y="204"/>
                  <a:pt x="313" y="199"/>
                </a:cubicBezTo>
                <a:cubicBezTo>
                  <a:pt x="312" y="193"/>
                  <a:pt x="312" y="190"/>
                  <a:pt x="312" y="188"/>
                </a:cubicBezTo>
                <a:cubicBezTo>
                  <a:pt x="312" y="185"/>
                  <a:pt x="317" y="183"/>
                  <a:pt x="326" y="181"/>
                </a:cubicBezTo>
                <a:cubicBezTo>
                  <a:pt x="330" y="180"/>
                  <a:pt x="333" y="179"/>
                  <a:pt x="337" y="179"/>
                </a:cubicBezTo>
                <a:cubicBezTo>
                  <a:pt x="338" y="179"/>
                  <a:pt x="338" y="178"/>
                  <a:pt x="339" y="177"/>
                </a:cubicBezTo>
                <a:cubicBezTo>
                  <a:pt x="339" y="177"/>
                  <a:pt x="339" y="177"/>
                  <a:pt x="339" y="177"/>
                </a:cubicBezTo>
                <a:cubicBezTo>
                  <a:pt x="339" y="176"/>
                  <a:pt x="340" y="174"/>
                  <a:pt x="340" y="172"/>
                </a:cubicBezTo>
                <a:cubicBezTo>
                  <a:pt x="340" y="168"/>
                  <a:pt x="340" y="163"/>
                  <a:pt x="340" y="160"/>
                </a:cubicBezTo>
                <a:lnTo>
                  <a:pt x="340" y="16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" name="Freeform 230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" name="Freeform 231"/>
          <p:cNvSpPr/>
          <p:nvPr/>
        </p:nvSpPr>
        <p:spPr bwMode="auto">
          <a:xfrm>
            <a:off x="8100447" y="3923566"/>
            <a:ext cx="90837" cy="138003"/>
          </a:xfrm>
          <a:custGeom>
            <a:avLst/>
            <a:gdLst>
              <a:gd name="T0" fmla="*/ 85 w 88"/>
              <a:gd name="T1" fmla="*/ 83 h 131"/>
              <a:gd name="T2" fmla="*/ 85 w 88"/>
              <a:gd name="T3" fmla="*/ 73 h 131"/>
              <a:gd name="T4" fmla="*/ 75 w 88"/>
              <a:gd name="T5" fmla="*/ 71 h 131"/>
              <a:gd name="T6" fmla="*/ 71 w 88"/>
              <a:gd name="T7" fmla="*/ 67 h 131"/>
              <a:gd name="T8" fmla="*/ 65 w 88"/>
              <a:gd name="T9" fmla="*/ 60 h 131"/>
              <a:gd name="T10" fmla="*/ 63 w 88"/>
              <a:gd name="T11" fmla="*/ 55 h 131"/>
              <a:gd name="T12" fmla="*/ 58 w 88"/>
              <a:gd name="T13" fmla="*/ 46 h 131"/>
              <a:gd name="T14" fmla="*/ 56 w 88"/>
              <a:gd name="T15" fmla="*/ 42 h 131"/>
              <a:gd name="T16" fmla="*/ 51 w 88"/>
              <a:gd name="T17" fmla="*/ 29 h 131"/>
              <a:gd name="T18" fmla="*/ 52 w 88"/>
              <a:gd name="T19" fmla="*/ 20 h 131"/>
              <a:gd name="T20" fmla="*/ 54 w 88"/>
              <a:gd name="T21" fmla="*/ 7 h 131"/>
              <a:gd name="T22" fmla="*/ 53 w 88"/>
              <a:gd name="T23" fmla="*/ 3 h 131"/>
              <a:gd name="T24" fmla="*/ 49 w 88"/>
              <a:gd name="T25" fmla="*/ 2 h 131"/>
              <a:gd name="T26" fmla="*/ 43 w 88"/>
              <a:gd name="T27" fmla="*/ 4 h 131"/>
              <a:gd name="T28" fmla="*/ 38 w 88"/>
              <a:gd name="T29" fmla="*/ 1 h 131"/>
              <a:gd name="T30" fmla="*/ 34 w 88"/>
              <a:gd name="T31" fmla="*/ 4 h 131"/>
              <a:gd name="T32" fmla="*/ 28 w 88"/>
              <a:gd name="T33" fmla="*/ 12 h 131"/>
              <a:gd name="T34" fmla="*/ 21 w 88"/>
              <a:gd name="T35" fmla="*/ 18 h 131"/>
              <a:gd name="T36" fmla="*/ 19 w 88"/>
              <a:gd name="T37" fmla="*/ 21 h 131"/>
              <a:gd name="T38" fmla="*/ 15 w 88"/>
              <a:gd name="T39" fmla="*/ 27 h 131"/>
              <a:gd name="T40" fmla="*/ 11 w 88"/>
              <a:gd name="T41" fmla="*/ 35 h 131"/>
              <a:gd name="T42" fmla="*/ 4 w 88"/>
              <a:gd name="T43" fmla="*/ 42 h 131"/>
              <a:gd name="T44" fmla="*/ 4 w 88"/>
              <a:gd name="T45" fmla="*/ 51 h 131"/>
              <a:gd name="T46" fmla="*/ 2 w 88"/>
              <a:gd name="T47" fmla="*/ 61 h 131"/>
              <a:gd name="T48" fmla="*/ 6 w 88"/>
              <a:gd name="T49" fmla="*/ 70 h 131"/>
              <a:gd name="T50" fmla="*/ 6 w 88"/>
              <a:gd name="T51" fmla="*/ 76 h 131"/>
              <a:gd name="T52" fmla="*/ 14 w 88"/>
              <a:gd name="T53" fmla="*/ 81 h 131"/>
              <a:gd name="T54" fmla="*/ 12 w 88"/>
              <a:gd name="T55" fmla="*/ 87 h 131"/>
              <a:gd name="T56" fmla="*/ 13 w 88"/>
              <a:gd name="T57" fmla="*/ 92 h 131"/>
              <a:gd name="T58" fmla="*/ 9 w 88"/>
              <a:gd name="T59" fmla="*/ 102 h 131"/>
              <a:gd name="T60" fmla="*/ 3 w 88"/>
              <a:gd name="T61" fmla="*/ 109 h 131"/>
              <a:gd name="T62" fmla="*/ 5 w 88"/>
              <a:gd name="T63" fmla="*/ 113 h 131"/>
              <a:gd name="T64" fmla="*/ 18 w 88"/>
              <a:gd name="T65" fmla="*/ 118 h 131"/>
              <a:gd name="T66" fmla="*/ 22 w 88"/>
              <a:gd name="T67" fmla="*/ 126 h 131"/>
              <a:gd name="T68" fmla="*/ 35 w 88"/>
              <a:gd name="T69" fmla="*/ 125 h 131"/>
              <a:gd name="T70" fmla="*/ 40 w 88"/>
              <a:gd name="T71" fmla="*/ 121 h 131"/>
              <a:gd name="T72" fmla="*/ 45 w 88"/>
              <a:gd name="T73" fmla="*/ 120 h 131"/>
              <a:gd name="T74" fmla="*/ 51 w 88"/>
              <a:gd name="T75" fmla="*/ 123 h 131"/>
              <a:gd name="T76" fmla="*/ 60 w 88"/>
              <a:gd name="T77" fmla="*/ 129 h 131"/>
              <a:gd name="T78" fmla="*/ 65 w 88"/>
              <a:gd name="T79" fmla="*/ 131 h 131"/>
              <a:gd name="T80" fmla="*/ 66 w 88"/>
              <a:gd name="T81" fmla="*/ 129 h 131"/>
              <a:gd name="T82" fmla="*/ 67 w 88"/>
              <a:gd name="T83" fmla="*/ 124 h 131"/>
              <a:gd name="T84" fmla="*/ 69 w 88"/>
              <a:gd name="T85" fmla="*/ 113 h 131"/>
              <a:gd name="T86" fmla="*/ 75 w 88"/>
              <a:gd name="T87" fmla="*/ 102 h 131"/>
              <a:gd name="T88" fmla="*/ 78 w 88"/>
              <a:gd name="T89" fmla="*/ 96 h 131"/>
              <a:gd name="T90" fmla="*/ 86 w 88"/>
              <a:gd name="T91" fmla="*/ 88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8" h="131">
                <a:moveTo>
                  <a:pt x="86" y="84"/>
                </a:moveTo>
                <a:lnTo>
                  <a:pt x="86" y="84"/>
                </a:lnTo>
                <a:cubicBezTo>
                  <a:pt x="85" y="84"/>
                  <a:pt x="86" y="83"/>
                  <a:pt x="85" y="83"/>
                </a:cubicBezTo>
                <a:cubicBezTo>
                  <a:pt x="85" y="80"/>
                  <a:pt x="86" y="79"/>
                  <a:pt x="87" y="78"/>
                </a:cubicBezTo>
                <a:cubicBezTo>
                  <a:pt x="87" y="77"/>
                  <a:pt x="87" y="77"/>
                  <a:pt x="87" y="76"/>
                </a:cubicBezTo>
                <a:cubicBezTo>
                  <a:pt x="88" y="74"/>
                  <a:pt x="87" y="73"/>
                  <a:pt x="85" y="73"/>
                </a:cubicBezTo>
                <a:cubicBezTo>
                  <a:pt x="84" y="73"/>
                  <a:pt x="83" y="73"/>
                  <a:pt x="82" y="73"/>
                </a:cubicBezTo>
                <a:cubicBezTo>
                  <a:pt x="80" y="73"/>
                  <a:pt x="79" y="73"/>
                  <a:pt x="78" y="72"/>
                </a:cubicBezTo>
                <a:cubicBezTo>
                  <a:pt x="77" y="71"/>
                  <a:pt x="76" y="71"/>
                  <a:pt x="75" y="71"/>
                </a:cubicBezTo>
                <a:cubicBezTo>
                  <a:pt x="74" y="71"/>
                  <a:pt x="74" y="70"/>
                  <a:pt x="74" y="70"/>
                </a:cubicBezTo>
                <a:cubicBezTo>
                  <a:pt x="73" y="70"/>
                  <a:pt x="72" y="69"/>
                  <a:pt x="72" y="68"/>
                </a:cubicBezTo>
                <a:cubicBezTo>
                  <a:pt x="71" y="68"/>
                  <a:pt x="71" y="68"/>
                  <a:pt x="71" y="67"/>
                </a:cubicBezTo>
                <a:cubicBezTo>
                  <a:pt x="71" y="65"/>
                  <a:pt x="70" y="63"/>
                  <a:pt x="68" y="62"/>
                </a:cubicBezTo>
                <a:cubicBezTo>
                  <a:pt x="67" y="62"/>
                  <a:pt x="67" y="61"/>
                  <a:pt x="66" y="61"/>
                </a:cubicBezTo>
                <a:cubicBezTo>
                  <a:pt x="66" y="60"/>
                  <a:pt x="66" y="60"/>
                  <a:pt x="65" y="60"/>
                </a:cubicBezTo>
                <a:cubicBezTo>
                  <a:pt x="65" y="59"/>
                  <a:pt x="65" y="59"/>
                  <a:pt x="65" y="58"/>
                </a:cubicBezTo>
                <a:cubicBezTo>
                  <a:pt x="66" y="57"/>
                  <a:pt x="66" y="56"/>
                  <a:pt x="64" y="56"/>
                </a:cubicBezTo>
                <a:cubicBezTo>
                  <a:pt x="64" y="56"/>
                  <a:pt x="63" y="55"/>
                  <a:pt x="63" y="55"/>
                </a:cubicBezTo>
                <a:cubicBezTo>
                  <a:pt x="62" y="55"/>
                  <a:pt x="61" y="54"/>
                  <a:pt x="61" y="53"/>
                </a:cubicBezTo>
                <a:cubicBezTo>
                  <a:pt x="60" y="53"/>
                  <a:pt x="60" y="51"/>
                  <a:pt x="60" y="50"/>
                </a:cubicBezTo>
                <a:cubicBezTo>
                  <a:pt x="61" y="48"/>
                  <a:pt x="60" y="47"/>
                  <a:pt x="58" y="46"/>
                </a:cubicBezTo>
                <a:cubicBezTo>
                  <a:pt x="58" y="46"/>
                  <a:pt x="58" y="46"/>
                  <a:pt x="57" y="46"/>
                </a:cubicBezTo>
                <a:cubicBezTo>
                  <a:pt x="57" y="45"/>
                  <a:pt x="56" y="44"/>
                  <a:pt x="56" y="42"/>
                </a:cubicBezTo>
                <a:cubicBezTo>
                  <a:pt x="56" y="42"/>
                  <a:pt x="56" y="42"/>
                  <a:pt x="56" y="42"/>
                </a:cubicBezTo>
                <a:cubicBezTo>
                  <a:pt x="54" y="39"/>
                  <a:pt x="53" y="37"/>
                  <a:pt x="53" y="33"/>
                </a:cubicBezTo>
                <a:cubicBezTo>
                  <a:pt x="52" y="32"/>
                  <a:pt x="52" y="31"/>
                  <a:pt x="52" y="30"/>
                </a:cubicBezTo>
                <a:cubicBezTo>
                  <a:pt x="51" y="30"/>
                  <a:pt x="51" y="29"/>
                  <a:pt x="51" y="29"/>
                </a:cubicBezTo>
                <a:cubicBezTo>
                  <a:pt x="51" y="28"/>
                  <a:pt x="51" y="27"/>
                  <a:pt x="51" y="26"/>
                </a:cubicBezTo>
                <a:cubicBezTo>
                  <a:pt x="51" y="24"/>
                  <a:pt x="51" y="22"/>
                  <a:pt x="52" y="21"/>
                </a:cubicBezTo>
                <a:lnTo>
                  <a:pt x="52" y="20"/>
                </a:lnTo>
                <a:cubicBezTo>
                  <a:pt x="52" y="17"/>
                  <a:pt x="53" y="15"/>
                  <a:pt x="53" y="12"/>
                </a:cubicBezTo>
                <a:cubicBezTo>
                  <a:pt x="53" y="11"/>
                  <a:pt x="54" y="9"/>
                  <a:pt x="54" y="9"/>
                </a:cubicBezTo>
                <a:cubicBezTo>
                  <a:pt x="54" y="8"/>
                  <a:pt x="54" y="8"/>
                  <a:pt x="54" y="7"/>
                </a:cubicBezTo>
                <a:cubicBezTo>
                  <a:pt x="54" y="7"/>
                  <a:pt x="54" y="6"/>
                  <a:pt x="55" y="6"/>
                </a:cubicBezTo>
                <a:lnTo>
                  <a:pt x="55" y="5"/>
                </a:lnTo>
                <a:cubicBezTo>
                  <a:pt x="54" y="4"/>
                  <a:pt x="54" y="4"/>
                  <a:pt x="53" y="3"/>
                </a:cubicBezTo>
                <a:cubicBezTo>
                  <a:pt x="53" y="3"/>
                  <a:pt x="52" y="3"/>
                  <a:pt x="52" y="3"/>
                </a:cubicBezTo>
                <a:cubicBezTo>
                  <a:pt x="51" y="3"/>
                  <a:pt x="51" y="2"/>
                  <a:pt x="51" y="2"/>
                </a:cubicBezTo>
                <a:cubicBezTo>
                  <a:pt x="50" y="2"/>
                  <a:pt x="50" y="2"/>
                  <a:pt x="49" y="2"/>
                </a:cubicBezTo>
                <a:cubicBezTo>
                  <a:pt x="49" y="4"/>
                  <a:pt x="48" y="5"/>
                  <a:pt x="47" y="5"/>
                </a:cubicBezTo>
                <a:cubicBezTo>
                  <a:pt x="46" y="5"/>
                  <a:pt x="45" y="5"/>
                  <a:pt x="44" y="4"/>
                </a:cubicBezTo>
                <a:cubicBezTo>
                  <a:pt x="44" y="4"/>
                  <a:pt x="44" y="4"/>
                  <a:pt x="43" y="4"/>
                </a:cubicBezTo>
                <a:cubicBezTo>
                  <a:pt x="44" y="3"/>
                  <a:pt x="44" y="2"/>
                  <a:pt x="43" y="1"/>
                </a:cubicBezTo>
                <a:cubicBezTo>
                  <a:pt x="43" y="1"/>
                  <a:pt x="43" y="0"/>
                  <a:pt x="42" y="0"/>
                </a:cubicBezTo>
                <a:cubicBezTo>
                  <a:pt x="40" y="0"/>
                  <a:pt x="39" y="0"/>
                  <a:pt x="38" y="1"/>
                </a:cubicBezTo>
                <a:cubicBezTo>
                  <a:pt x="38" y="1"/>
                  <a:pt x="38" y="1"/>
                  <a:pt x="37" y="2"/>
                </a:cubicBezTo>
                <a:cubicBezTo>
                  <a:pt x="37" y="2"/>
                  <a:pt x="36" y="3"/>
                  <a:pt x="35" y="3"/>
                </a:cubicBezTo>
                <a:cubicBezTo>
                  <a:pt x="34" y="3"/>
                  <a:pt x="34" y="3"/>
                  <a:pt x="34" y="4"/>
                </a:cubicBezTo>
                <a:cubicBezTo>
                  <a:pt x="32" y="5"/>
                  <a:pt x="31" y="6"/>
                  <a:pt x="30" y="8"/>
                </a:cubicBezTo>
                <a:cubicBezTo>
                  <a:pt x="30" y="9"/>
                  <a:pt x="30" y="9"/>
                  <a:pt x="30" y="10"/>
                </a:cubicBezTo>
                <a:cubicBezTo>
                  <a:pt x="30" y="11"/>
                  <a:pt x="30" y="12"/>
                  <a:pt x="28" y="12"/>
                </a:cubicBezTo>
                <a:cubicBezTo>
                  <a:pt x="28" y="12"/>
                  <a:pt x="27" y="12"/>
                  <a:pt x="27" y="12"/>
                </a:cubicBezTo>
                <a:cubicBezTo>
                  <a:pt x="25" y="13"/>
                  <a:pt x="24" y="14"/>
                  <a:pt x="22" y="15"/>
                </a:cubicBezTo>
                <a:cubicBezTo>
                  <a:pt x="21" y="16"/>
                  <a:pt x="21" y="17"/>
                  <a:pt x="21" y="18"/>
                </a:cubicBezTo>
                <a:cubicBezTo>
                  <a:pt x="21" y="18"/>
                  <a:pt x="22" y="19"/>
                  <a:pt x="22" y="19"/>
                </a:cubicBezTo>
                <a:cubicBezTo>
                  <a:pt x="21" y="20"/>
                  <a:pt x="21" y="21"/>
                  <a:pt x="20" y="20"/>
                </a:cubicBezTo>
                <a:cubicBezTo>
                  <a:pt x="20" y="20"/>
                  <a:pt x="19" y="20"/>
                  <a:pt x="19" y="21"/>
                </a:cubicBezTo>
                <a:cubicBezTo>
                  <a:pt x="18" y="21"/>
                  <a:pt x="17" y="23"/>
                  <a:pt x="17" y="24"/>
                </a:cubicBezTo>
                <a:cubicBezTo>
                  <a:pt x="17" y="25"/>
                  <a:pt x="16" y="26"/>
                  <a:pt x="15" y="26"/>
                </a:cubicBezTo>
                <a:cubicBezTo>
                  <a:pt x="15" y="26"/>
                  <a:pt x="15" y="26"/>
                  <a:pt x="15" y="27"/>
                </a:cubicBezTo>
                <a:cubicBezTo>
                  <a:pt x="14" y="28"/>
                  <a:pt x="14" y="30"/>
                  <a:pt x="15" y="30"/>
                </a:cubicBezTo>
                <a:cubicBezTo>
                  <a:pt x="15" y="31"/>
                  <a:pt x="16" y="31"/>
                  <a:pt x="15" y="32"/>
                </a:cubicBezTo>
                <a:cubicBezTo>
                  <a:pt x="15" y="34"/>
                  <a:pt x="13" y="36"/>
                  <a:pt x="11" y="35"/>
                </a:cubicBezTo>
                <a:cubicBezTo>
                  <a:pt x="11" y="36"/>
                  <a:pt x="10" y="36"/>
                  <a:pt x="10" y="36"/>
                </a:cubicBezTo>
                <a:cubicBezTo>
                  <a:pt x="9" y="37"/>
                  <a:pt x="8" y="38"/>
                  <a:pt x="7" y="38"/>
                </a:cubicBezTo>
                <a:cubicBezTo>
                  <a:pt x="6" y="39"/>
                  <a:pt x="5" y="41"/>
                  <a:pt x="4" y="42"/>
                </a:cubicBezTo>
                <a:cubicBezTo>
                  <a:pt x="4" y="42"/>
                  <a:pt x="4" y="43"/>
                  <a:pt x="4" y="43"/>
                </a:cubicBezTo>
                <a:cubicBezTo>
                  <a:pt x="3" y="46"/>
                  <a:pt x="3" y="48"/>
                  <a:pt x="4" y="50"/>
                </a:cubicBezTo>
                <a:cubicBezTo>
                  <a:pt x="4" y="51"/>
                  <a:pt x="4" y="51"/>
                  <a:pt x="4" y="51"/>
                </a:cubicBezTo>
                <a:cubicBezTo>
                  <a:pt x="3" y="52"/>
                  <a:pt x="1" y="53"/>
                  <a:pt x="1" y="54"/>
                </a:cubicBezTo>
                <a:cubicBezTo>
                  <a:pt x="0" y="54"/>
                  <a:pt x="0" y="55"/>
                  <a:pt x="0" y="55"/>
                </a:cubicBezTo>
                <a:cubicBezTo>
                  <a:pt x="1" y="57"/>
                  <a:pt x="1" y="59"/>
                  <a:pt x="2" y="61"/>
                </a:cubicBezTo>
                <a:cubicBezTo>
                  <a:pt x="2" y="61"/>
                  <a:pt x="2" y="62"/>
                  <a:pt x="2" y="62"/>
                </a:cubicBezTo>
                <a:cubicBezTo>
                  <a:pt x="3" y="63"/>
                  <a:pt x="3" y="65"/>
                  <a:pt x="3" y="68"/>
                </a:cubicBezTo>
                <a:cubicBezTo>
                  <a:pt x="5" y="68"/>
                  <a:pt x="6" y="69"/>
                  <a:pt x="6" y="70"/>
                </a:cubicBezTo>
                <a:cubicBezTo>
                  <a:pt x="6" y="71"/>
                  <a:pt x="6" y="72"/>
                  <a:pt x="7" y="73"/>
                </a:cubicBezTo>
                <a:cubicBezTo>
                  <a:pt x="7" y="74"/>
                  <a:pt x="7" y="74"/>
                  <a:pt x="7" y="74"/>
                </a:cubicBezTo>
                <a:lnTo>
                  <a:pt x="6" y="76"/>
                </a:lnTo>
                <a:cubicBezTo>
                  <a:pt x="6" y="79"/>
                  <a:pt x="8" y="80"/>
                  <a:pt x="11" y="80"/>
                </a:cubicBezTo>
                <a:cubicBezTo>
                  <a:pt x="12" y="80"/>
                  <a:pt x="13" y="80"/>
                  <a:pt x="13" y="81"/>
                </a:cubicBezTo>
                <a:cubicBezTo>
                  <a:pt x="13" y="81"/>
                  <a:pt x="14" y="81"/>
                  <a:pt x="14" y="81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4"/>
                  <a:pt x="13" y="86"/>
                  <a:pt x="12" y="86"/>
                </a:cubicBezTo>
                <a:cubicBezTo>
                  <a:pt x="11" y="86"/>
                  <a:pt x="11" y="86"/>
                  <a:pt x="12" y="87"/>
                </a:cubicBezTo>
                <a:cubicBezTo>
                  <a:pt x="11" y="88"/>
                  <a:pt x="12" y="88"/>
                  <a:pt x="12" y="88"/>
                </a:cubicBezTo>
                <a:cubicBezTo>
                  <a:pt x="13" y="89"/>
                  <a:pt x="14" y="90"/>
                  <a:pt x="14" y="92"/>
                </a:cubicBezTo>
                <a:cubicBezTo>
                  <a:pt x="14" y="92"/>
                  <a:pt x="14" y="92"/>
                  <a:pt x="13" y="92"/>
                </a:cubicBezTo>
                <a:cubicBezTo>
                  <a:pt x="12" y="94"/>
                  <a:pt x="11" y="95"/>
                  <a:pt x="9" y="96"/>
                </a:cubicBezTo>
                <a:cubicBezTo>
                  <a:pt x="8" y="97"/>
                  <a:pt x="8" y="99"/>
                  <a:pt x="9" y="101"/>
                </a:cubicBezTo>
                <a:cubicBezTo>
                  <a:pt x="8" y="101"/>
                  <a:pt x="9" y="102"/>
                  <a:pt x="9" y="102"/>
                </a:cubicBezTo>
                <a:cubicBezTo>
                  <a:pt x="9" y="105"/>
                  <a:pt x="8" y="106"/>
                  <a:pt x="6" y="106"/>
                </a:cubicBezTo>
                <a:cubicBezTo>
                  <a:pt x="6" y="106"/>
                  <a:pt x="6" y="106"/>
                  <a:pt x="5" y="106"/>
                </a:cubicBezTo>
                <a:cubicBezTo>
                  <a:pt x="4" y="107"/>
                  <a:pt x="4" y="108"/>
                  <a:pt x="3" y="109"/>
                </a:cubicBezTo>
                <a:lnTo>
                  <a:pt x="3" y="109"/>
                </a:lnTo>
                <a:cubicBezTo>
                  <a:pt x="3" y="111"/>
                  <a:pt x="3" y="112"/>
                  <a:pt x="4" y="113"/>
                </a:cubicBezTo>
                <a:cubicBezTo>
                  <a:pt x="5" y="113"/>
                  <a:pt x="5" y="113"/>
                  <a:pt x="5" y="113"/>
                </a:cubicBezTo>
                <a:cubicBezTo>
                  <a:pt x="6" y="115"/>
                  <a:pt x="8" y="116"/>
                  <a:pt x="11" y="116"/>
                </a:cubicBezTo>
                <a:cubicBezTo>
                  <a:pt x="13" y="116"/>
                  <a:pt x="15" y="117"/>
                  <a:pt x="17" y="117"/>
                </a:cubicBezTo>
                <a:cubicBezTo>
                  <a:pt x="17" y="117"/>
                  <a:pt x="18" y="118"/>
                  <a:pt x="18" y="118"/>
                </a:cubicBezTo>
                <a:cubicBezTo>
                  <a:pt x="19" y="119"/>
                  <a:pt x="20" y="121"/>
                  <a:pt x="20" y="123"/>
                </a:cubicBezTo>
                <a:cubicBezTo>
                  <a:pt x="20" y="124"/>
                  <a:pt x="21" y="124"/>
                  <a:pt x="21" y="125"/>
                </a:cubicBezTo>
                <a:cubicBezTo>
                  <a:pt x="21" y="125"/>
                  <a:pt x="21" y="125"/>
                  <a:pt x="22" y="126"/>
                </a:cubicBezTo>
                <a:cubicBezTo>
                  <a:pt x="24" y="126"/>
                  <a:pt x="26" y="126"/>
                  <a:pt x="27" y="126"/>
                </a:cubicBezTo>
                <a:cubicBezTo>
                  <a:pt x="27" y="125"/>
                  <a:pt x="28" y="125"/>
                  <a:pt x="28" y="125"/>
                </a:cubicBezTo>
                <a:cubicBezTo>
                  <a:pt x="31" y="126"/>
                  <a:pt x="33" y="126"/>
                  <a:pt x="35" y="125"/>
                </a:cubicBezTo>
                <a:cubicBezTo>
                  <a:pt x="36" y="125"/>
                  <a:pt x="36" y="124"/>
                  <a:pt x="36" y="124"/>
                </a:cubicBezTo>
                <a:cubicBezTo>
                  <a:pt x="36" y="123"/>
                  <a:pt x="36" y="123"/>
                  <a:pt x="36" y="123"/>
                </a:cubicBezTo>
                <a:cubicBezTo>
                  <a:pt x="37" y="122"/>
                  <a:pt x="38" y="121"/>
                  <a:pt x="40" y="121"/>
                </a:cubicBezTo>
                <a:lnTo>
                  <a:pt x="41" y="121"/>
                </a:lnTo>
                <a:cubicBezTo>
                  <a:pt x="43" y="121"/>
                  <a:pt x="44" y="121"/>
                  <a:pt x="44" y="121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5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9" y="122"/>
                  <a:pt x="50" y="122"/>
                  <a:pt x="51" y="123"/>
                </a:cubicBezTo>
                <a:cubicBezTo>
                  <a:pt x="51" y="124"/>
                  <a:pt x="52" y="124"/>
                  <a:pt x="52" y="124"/>
                </a:cubicBezTo>
                <a:cubicBezTo>
                  <a:pt x="52" y="124"/>
                  <a:pt x="53" y="125"/>
                  <a:pt x="54" y="125"/>
                </a:cubicBezTo>
                <a:cubicBezTo>
                  <a:pt x="55" y="127"/>
                  <a:pt x="57" y="128"/>
                  <a:pt x="60" y="129"/>
                </a:cubicBezTo>
                <a:cubicBezTo>
                  <a:pt x="60" y="129"/>
                  <a:pt x="61" y="129"/>
                  <a:pt x="61" y="130"/>
                </a:cubicBezTo>
                <a:cubicBezTo>
                  <a:pt x="62" y="130"/>
                  <a:pt x="63" y="130"/>
                  <a:pt x="64" y="131"/>
                </a:cubicBezTo>
                <a:cubicBezTo>
                  <a:pt x="64" y="131"/>
                  <a:pt x="65" y="131"/>
                  <a:pt x="65" y="131"/>
                </a:cubicBezTo>
                <a:cubicBezTo>
                  <a:pt x="65" y="131"/>
                  <a:pt x="66" y="131"/>
                  <a:pt x="66" y="131"/>
                </a:cubicBezTo>
                <a:cubicBezTo>
                  <a:pt x="66" y="131"/>
                  <a:pt x="66" y="130"/>
                  <a:pt x="66" y="130"/>
                </a:cubicBezTo>
                <a:lnTo>
                  <a:pt x="66" y="129"/>
                </a:lnTo>
                <a:cubicBezTo>
                  <a:pt x="67" y="128"/>
                  <a:pt x="67" y="127"/>
                  <a:pt x="67" y="127"/>
                </a:cubicBezTo>
                <a:cubicBezTo>
                  <a:pt x="67" y="126"/>
                  <a:pt x="68" y="125"/>
                  <a:pt x="67" y="125"/>
                </a:cubicBezTo>
                <a:cubicBezTo>
                  <a:pt x="67" y="125"/>
                  <a:pt x="67" y="124"/>
                  <a:pt x="67" y="124"/>
                </a:cubicBezTo>
                <a:cubicBezTo>
                  <a:pt x="66" y="122"/>
                  <a:pt x="66" y="121"/>
                  <a:pt x="66" y="120"/>
                </a:cubicBezTo>
                <a:cubicBezTo>
                  <a:pt x="66" y="117"/>
                  <a:pt x="67" y="115"/>
                  <a:pt x="68" y="114"/>
                </a:cubicBezTo>
                <a:cubicBezTo>
                  <a:pt x="68" y="114"/>
                  <a:pt x="69" y="114"/>
                  <a:pt x="69" y="113"/>
                </a:cubicBezTo>
                <a:cubicBezTo>
                  <a:pt x="68" y="110"/>
                  <a:pt x="69" y="108"/>
                  <a:pt x="71" y="107"/>
                </a:cubicBezTo>
                <a:cubicBezTo>
                  <a:pt x="73" y="107"/>
                  <a:pt x="74" y="105"/>
                  <a:pt x="75" y="103"/>
                </a:cubicBezTo>
                <a:cubicBezTo>
                  <a:pt x="75" y="103"/>
                  <a:pt x="75" y="102"/>
                  <a:pt x="75" y="102"/>
                </a:cubicBezTo>
                <a:cubicBezTo>
                  <a:pt x="75" y="100"/>
                  <a:pt x="76" y="99"/>
                  <a:pt x="77" y="98"/>
                </a:cubicBezTo>
                <a:cubicBezTo>
                  <a:pt x="77" y="98"/>
                  <a:pt x="78" y="98"/>
                  <a:pt x="78" y="97"/>
                </a:cubicBezTo>
                <a:cubicBezTo>
                  <a:pt x="78" y="97"/>
                  <a:pt x="78" y="97"/>
                  <a:pt x="78" y="96"/>
                </a:cubicBezTo>
                <a:cubicBezTo>
                  <a:pt x="79" y="95"/>
                  <a:pt x="80" y="93"/>
                  <a:pt x="82" y="92"/>
                </a:cubicBezTo>
                <a:cubicBezTo>
                  <a:pt x="82" y="93"/>
                  <a:pt x="83" y="93"/>
                  <a:pt x="83" y="92"/>
                </a:cubicBezTo>
                <a:cubicBezTo>
                  <a:pt x="85" y="92"/>
                  <a:pt x="86" y="90"/>
                  <a:pt x="86" y="88"/>
                </a:cubicBezTo>
                <a:cubicBezTo>
                  <a:pt x="86" y="86"/>
                  <a:pt x="86" y="85"/>
                  <a:pt x="86" y="84"/>
                </a:cubicBezTo>
                <a:lnTo>
                  <a:pt x="86" y="8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" name="Freeform 232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" name="Freeform 233"/>
          <p:cNvSpPr/>
          <p:nvPr/>
        </p:nvSpPr>
        <p:spPr bwMode="auto">
          <a:xfrm>
            <a:off x="9863035" y="2816052"/>
            <a:ext cx="621884" cy="483883"/>
          </a:xfrm>
          <a:custGeom>
            <a:avLst/>
            <a:gdLst>
              <a:gd name="T0" fmla="*/ 566 w 595"/>
              <a:gd name="T1" fmla="*/ 114 h 463"/>
              <a:gd name="T2" fmla="*/ 524 w 595"/>
              <a:gd name="T3" fmla="*/ 91 h 463"/>
              <a:gd name="T4" fmla="*/ 461 w 595"/>
              <a:gd name="T5" fmla="*/ 45 h 463"/>
              <a:gd name="T6" fmla="*/ 429 w 595"/>
              <a:gd name="T7" fmla="*/ 42 h 463"/>
              <a:gd name="T8" fmla="*/ 404 w 595"/>
              <a:gd name="T9" fmla="*/ 35 h 463"/>
              <a:gd name="T10" fmla="*/ 360 w 595"/>
              <a:gd name="T11" fmla="*/ 12 h 463"/>
              <a:gd name="T12" fmla="*/ 332 w 595"/>
              <a:gd name="T13" fmla="*/ 28 h 463"/>
              <a:gd name="T14" fmla="*/ 299 w 595"/>
              <a:gd name="T15" fmla="*/ 32 h 463"/>
              <a:gd name="T16" fmla="*/ 255 w 595"/>
              <a:gd name="T17" fmla="*/ 27 h 463"/>
              <a:gd name="T18" fmla="*/ 202 w 595"/>
              <a:gd name="T19" fmla="*/ 38 h 463"/>
              <a:gd name="T20" fmla="*/ 176 w 595"/>
              <a:gd name="T21" fmla="*/ 26 h 463"/>
              <a:gd name="T22" fmla="*/ 151 w 595"/>
              <a:gd name="T23" fmla="*/ 27 h 463"/>
              <a:gd name="T24" fmla="*/ 120 w 595"/>
              <a:gd name="T25" fmla="*/ 28 h 463"/>
              <a:gd name="T26" fmla="*/ 78 w 595"/>
              <a:gd name="T27" fmla="*/ 41 h 463"/>
              <a:gd name="T28" fmla="*/ 48 w 595"/>
              <a:gd name="T29" fmla="*/ 55 h 463"/>
              <a:gd name="T30" fmla="*/ 16 w 595"/>
              <a:gd name="T31" fmla="*/ 90 h 463"/>
              <a:gd name="T32" fmla="*/ 7 w 595"/>
              <a:gd name="T33" fmla="*/ 119 h 463"/>
              <a:gd name="T34" fmla="*/ 9 w 595"/>
              <a:gd name="T35" fmla="*/ 137 h 463"/>
              <a:gd name="T36" fmla="*/ 15 w 595"/>
              <a:gd name="T37" fmla="*/ 182 h 463"/>
              <a:gd name="T38" fmla="*/ 0 w 595"/>
              <a:gd name="T39" fmla="*/ 236 h 463"/>
              <a:gd name="T40" fmla="*/ 6 w 595"/>
              <a:gd name="T41" fmla="*/ 237 h 463"/>
              <a:gd name="T42" fmla="*/ 21 w 595"/>
              <a:gd name="T43" fmla="*/ 183 h 463"/>
              <a:gd name="T44" fmla="*/ 27 w 595"/>
              <a:gd name="T45" fmla="*/ 195 h 463"/>
              <a:gd name="T46" fmla="*/ 34 w 595"/>
              <a:gd name="T47" fmla="*/ 223 h 463"/>
              <a:gd name="T48" fmla="*/ 48 w 595"/>
              <a:gd name="T49" fmla="*/ 237 h 463"/>
              <a:gd name="T50" fmla="*/ 74 w 595"/>
              <a:gd name="T51" fmla="*/ 250 h 463"/>
              <a:gd name="T52" fmla="*/ 115 w 595"/>
              <a:gd name="T53" fmla="*/ 268 h 463"/>
              <a:gd name="T54" fmla="*/ 145 w 595"/>
              <a:gd name="T55" fmla="*/ 266 h 463"/>
              <a:gd name="T56" fmla="*/ 169 w 595"/>
              <a:gd name="T57" fmla="*/ 264 h 463"/>
              <a:gd name="T58" fmla="*/ 201 w 595"/>
              <a:gd name="T59" fmla="*/ 297 h 463"/>
              <a:gd name="T60" fmla="*/ 195 w 595"/>
              <a:gd name="T61" fmla="*/ 327 h 463"/>
              <a:gd name="T62" fmla="*/ 190 w 595"/>
              <a:gd name="T63" fmla="*/ 353 h 463"/>
              <a:gd name="T64" fmla="*/ 205 w 595"/>
              <a:gd name="T65" fmla="*/ 383 h 463"/>
              <a:gd name="T66" fmla="*/ 235 w 595"/>
              <a:gd name="T67" fmla="*/ 396 h 463"/>
              <a:gd name="T68" fmla="*/ 280 w 595"/>
              <a:gd name="T69" fmla="*/ 443 h 463"/>
              <a:gd name="T70" fmla="*/ 289 w 595"/>
              <a:gd name="T71" fmla="*/ 456 h 463"/>
              <a:gd name="T72" fmla="*/ 306 w 595"/>
              <a:gd name="T73" fmla="*/ 457 h 463"/>
              <a:gd name="T74" fmla="*/ 340 w 595"/>
              <a:gd name="T75" fmla="*/ 453 h 463"/>
              <a:gd name="T76" fmla="*/ 362 w 595"/>
              <a:gd name="T77" fmla="*/ 448 h 463"/>
              <a:gd name="T78" fmla="*/ 390 w 595"/>
              <a:gd name="T79" fmla="*/ 442 h 463"/>
              <a:gd name="T80" fmla="*/ 419 w 595"/>
              <a:gd name="T81" fmla="*/ 432 h 463"/>
              <a:gd name="T82" fmla="*/ 418 w 595"/>
              <a:gd name="T83" fmla="*/ 414 h 463"/>
              <a:gd name="T84" fmla="*/ 446 w 595"/>
              <a:gd name="T85" fmla="*/ 404 h 463"/>
              <a:gd name="T86" fmla="*/ 464 w 595"/>
              <a:gd name="T87" fmla="*/ 381 h 463"/>
              <a:gd name="T88" fmla="*/ 483 w 595"/>
              <a:gd name="T89" fmla="*/ 374 h 463"/>
              <a:gd name="T90" fmla="*/ 490 w 595"/>
              <a:gd name="T91" fmla="*/ 396 h 463"/>
              <a:gd name="T92" fmla="*/ 519 w 595"/>
              <a:gd name="T93" fmla="*/ 380 h 463"/>
              <a:gd name="T94" fmla="*/ 501 w 595"/>
              <a:gd name="T95" fmla="*/ 367 h 463"/>
              <a:gd name="T96" fmla="*/ 490 w 595"/>
              <a:gd name="T97" fmla="*/ 361 h 463"/>
              <a:gd name="T98" fmla="*/ 495 w 595"/>
              <a:gd name="T99" fmla="*/ 333 h 463"/>
              <a:gd name="T100" fmla="*/ 503 w 595"/>
              <a:gd name="T101" fmla="*/ 309 h 463"/>
              <a:gd name="T102" fmla="*/ 501 w 595"/>
              <a:gd name="T103" fmla="*/ 289 h 463"/>
              <a:gd name="T104" fmla="*/ 501 w 595"/>
              <a:gd name="T105" fmla="*/ 276 h 463"/>
              <a:gd name="T106" fmla="*/ 512 w 595"/>
              <a:gd name="T107" fmla="*/ 258 h 463"/>
              <a:gd name="T108" fmla="*/ 543 w 595"/>
              <a:gd name="T109" fmla="*/ 230 h 463"/>
              <a:gd name="T110" fmla="*/ 558 w 595"/>
              <a:gd name="T111" fmla="*/ 212 h 463"/>
              <a:gd name="T112" fmla="*/ 578 w 595"/>
              <a:gd name="T113" fmla="*/ 211 h 463"/>
              <a:gd name="T114" fmla="*/ 588 w 595"/>
              <a:gd name="T115" fmla="*/ 189 h 463"/>
              <a:gd name="T116" fmla="*/ 574 w 595"/>
              <a:gd name="T117" fmla="*/ 175 h 463"/>
              <a:gd name="T118" fmla="*/ 565 w 595"/>
              <a:gd name="T119" fmla="*/ 157 h 463"/>
              <a:gd name="T120" fmla="*/ 568 w 595"/>
              <a:gd name="T121" fmla="*/ 136 h 463"/>
              <a:gd name="T122" fmla="*/ 566 w 595"/>
              <a:gd name="T123" fmla="*/ 114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5" h="462">
                <a:moveTo>
                  <a:pt x="566" y="114"/>
                </a:moveTo>
                <a:lnTo>
                  <a:pt x="566" y="114"/>
                </a:lnTo>
                <a:lnTo>
                  <a:pt x="566" y="114"/>
                </a:lnTo>
                <a:cubicBezTo>
                  <a:pt x="563" y="113"/>
                  <a:pt x="557" y="112"/>
                  <a:pt x="548" y="111"/>
                </a:cubicBezTo>
                <a:cubicBezTo>
                  <a:pt x="542" y="110"/>
                  <a:pt x="537" y="108"/>
                  <a:pt x="534" y="104"/>
                </a:cubicBezTo>
                <a:cubicBezTo>
                  <a:pt x="528" y="96"/>
                  <a:pt x="524" y="92"/>
                  <a:pt x="524" y="91"/>
                </a:cubicBezTo>
                <a:cubicBezTo>
                  <a:pt x="512" y="81"/>
                  <a:pt x="503" y="75"/>
                  <a:pt x="497" y="73"/>
                </a:cubicBezTo>
                <a:cubicBezTo>
                  <a:pt x="486" y="68"/>
                  <a:pt x="478" y="62"/>
                  <a:pt x="474" y="54"/>
                </a:cubicBezTo>
                <a:cubicBezTo>
                  <a:pt x="472" y="50"/>
                  <a:pt x="467" y="47"/>
                  <a:pt x="461" y="45"/>
                </a:cubicBezTo>
                <a:cubicBezTo>
                  <a:pt x="453" y="44"/>
                  <a:pt x="448" y="42"/>
                  <a:pt x="444" y="41"/>
                </a:cubicBezTo>
                <a:cubicBezTo>
                  <a:pt x="443" y="43"/>
                  <a:pt x="440" y="44"/>
                  <a:pt x="435" y="43"/>
                </a:cubicBezTo>
                <a:cubicBezTo>
                  <a:pt x="432" y="43"/>
                  <a:pt x="430" y="42"/>
                  <a:pt x="429" y="42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425" y="40"/>
                  <a:pt x="419" y="39"/>
                  <a:pt x="411" y="38"/>
                </a:cubicBezTo>
                <a:cubicBezTo>
                  <a:pt x="408" y="38"/>
                  <a:pt x="405" y="37"/>
                  <a:pt x="404" y="35"/>
                </a:cubicBezTo>
                <a:cubicBezTo>
                  <a:pt x="404" y="35"/>
                  <a:pt x="402" y="33"/>
                  <a:pt x="399" y="27"/>
                </a:cubicBezTo>
                <a:cubicBezTo>
                  <a:pt x="391" y="10"/>
                  <a:pt x="385" y="1"/>
                  <a:pt x="382" y="1"/>
                </a:cubicBezTo>
                <a:cubicBezTo>
                  <a:pt x="375" y="0"/>
                  <a:pt x="368" y="4"/>
                  <a:pt x="360" y="12"/>
                </a:cubicBezTo>
                <a:cubicBezTo>
                  <a:pt x="355" y="16"/>
                  <a:pt x="353" y="20"/>
                  <a:pt x="352" y="22"/>
                </a:cubicBezTo>
                <a:cubicBezTo>
                  <a:pt x="350" y="28"/>
                  <a:pt x="347" y="31"/>
                  <a:pt x="342" y="30"/>
                </a:cubicBezTo>
                <a:cubicBezTo>
                  <a:pt x="338" y="29"/>
                  <a:pt x="334" y="28"/>
                  <a:pt x="332" y="28"/>
                </a:cubicBezTo>
                <a:cubicBezTo>
                  <a:pt x="328" y="27"/>
                  <a:pt x="325" y="29"/>
                  <a:pt x="321" y="32"/>
                </a:cubicBezTo>
                <a:cubicBezTo>
                  <a:pt x="316" y="35"/>
                  <a:pt x="312" y="36"/>
                  <a:pt x="308" y="35"/>
                </a:cubicBezTo>
                <a:cubicBezTo>
                  <a:pt x="305" y="35"/>
                  <a:pt x="302" y="34"/>
                  <a:pt x="299" y="32"/>
                </a:cubicBezTo>
                <a:cubicBezTo>
                  <a:pt x="297" y="30"/>
                  <a:pt x="293" y="28"/>
                  <a:pt x="289" y="27"/>
                </a:cubicBezTo>
                <a:cubicBezTo>
                  <a:pt x="280" y="25"/>
                  <a:pt x="272" y="24"/>
                  <a:pt x="266" y="23"/>
                </a:cubicBezTo>
                <a:cubicBezTo>
                  <a:pt x="262" y="23"/>
                  <a:pt x="258" y="24"/>
                  <a:pt x="255" y="27"/>
                </a:cubicBezTo>
                <a:cubicBezTo>
                  <a:pt x="252" y="30"/>
                  <a:pt x="249" y="32"/>
                  <a:pt x="244" y="31"/>
                </a:cubicBezTo>
                <a:cubicBezTo>
                  <a:pt x="232" y="27"/>
                  <a:pt x="226" y="25"/>
                  <a:pt x="224" y="25"/>
                </a:cubicBezTo>
                <a:cubicBezTo>
                  <a:pt x="212" y="34"/>
                  <a:pt x="205" y="38"/>
                  <a:pt x="202" y="38"/>
                </a:cubicBezTo>
                <a:cubicBezTo>
                  <a:pt x="202" y="38"/>
                  <a:pt x="200" y="35"/>
                  <a:pt x="195" y="30"/>
                </a:cubicBezTo>
                <a:cubicBezTo>
                  <a:pt x="191" y="25"/>
                  <a:pt x="188" y="22"/>
                  <a:pt x="186" y="22"/>
                </a:cubicBezTo>
                <a:cubicBezTo>
                  <a:pt x="184" y="22"/>
                  <a:pt x="180" y="23"/>
                  <a:pt x="176" y="26"/>
                </a:cubicBezTo>
                <a:cubicBezTo>
                  <a:pt x="172" y="30"/>
                  <a:pt x="169" y="31"/>
                  <a:pt x="167" y="31"/>
                </a:cubicBezTo>
                <a:cubicBezTo>
                  <a:pt x="160" y="29"/>
                  <a:pt x="156" y="28"/>
                  <a:pt x="153" y="27"/>
                </a:cubicBezTo>
                <a:cubicBezTo>
                  <a:pt x="152" y="27"/>
                  <a:pt x="152" y="27"/>
                  <a:pt x="151" y="27"/>
                </a:cubicBezTo>
                <a:cubicBezTo>
                  <a:pt x="145" y="27"/>
                  <a:pt x="140" y="27"/>
                  <a:pt x="136" y="26"/>
                </a:cubicBezTo>
                <a:cubicBezTo>
                  <a:pt x="134" y="26"/>
                  <a:pt x="132" y="27"/>
                  <a:pt x="129" y="27"/>
                </a:cubicBezTo>
                <a:cubicBezTo>
                  <a:pt x="126" y="28"/>
                  <a:pt x="123" y="29"/>
                  <a:pt x="120" y="28"/>
                </a:cubicBezTo>
                <a:cubicBezTo>
                  <a:pt x="116" y="27"/>
                  <a:pt x="113" y="26"/>
                  <a:pt x="111" y="26"/>
                </a:cubicBezTo>
                <a:cubicBezTo>
                  <a:pt x="108" y="26"/>
                  <a:pt x="102" y="28"/>
                  <a:pt x="93" y="32"/>
                </a:cubicBezTo>
                <a:cubicBezTo>
                  <a:pt x="84" y="36"/>
                  <a:pt x="80" y="39"/>
                  <a:pt x="78" y="41"/>
                </a:cubicBezTo>
                <a:cubicBezTo>
                  <a:pt x="75" y="45"/>
                  <a:pt x="69" y="47"/>
                  <a:pt x="61" y="47"/>
                </a:cubicBezTo>
                <a:cubicBezTo>
                  <a:pt x="58" y="47"/>
                  <a:pt x="56" y="48"/>
                  <a:pt x="54" y="50"/>
                </a:cubicBezTo>
                <a:cubicBezTo>
                  <a:pt x="51" y="53"/>
                  <a:pt x="49" y="54"/>
                  <a:pt x="48" y="55"/>
                </a:cubicBezTo>
                <a:cubicBezTo>
                  <a:pt x="41" y="60"/>
                  <a:pt x="36" y="63"/>
                  <a:pt x="34" y="65"/>
                </a:cubicBezTo>
                <a:cubicBezTo>
                  <a:pt x="29" y="68"/>
                  <a:pt x="26" y="73"/>
                  <a:pt x="25" y="78"/>
                </a:cubicBezTo>
                <a:cubicBezTo>
                  <a:pt x="22" y="86"/>
                  <a:pt x="19" y="90"/>
                  <a:pt x="16" y="90"/>
                </a:cubicBezTo>
                <a:cubicBezTo>
                  <a:pt x="12" y="91"/>
                  <a:pt x="8" y="91"/>
                  <a:pt x="6" y="92"/>
                </a:cubicBezTo>
                <a:cubicBezTo>
                  <a:pt x="6" y="94"/>
                  <a:pt x="6" y="97"/>
                  <a:pt x="7" y="100"/>
                </a:cubicBezTo>
                <a:cubicBezTo>
                  <a:pt x="7" y="102"/>
                  <a:pt x="7" y="109"/>
                  <a:pt x="7" y="119"/>
                </a:cubicBezTo>
                <a:cubicBezTo>
                  <a:pt x="7" y="126"/>
                  <a:pt x="8" y="131"/>
                  <a:pt x="9" y="135"/>
                </a:cubicBezTo>
                <a:cubicBezTo>
                  <a:pt x="9" y="136"/>
                  <a:pt x="9" y="136"/>
                  <a:pt x="9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9" y="138"/>
                  <a:pt x="8" y="140"/>
                  <a:pt x="8" y="141"/>
                </a:cubicBezTo>
                <a:cubicBezTo>
                  <a:pt x="14" y="165"/>
                  <a:pt x="17" y="177"/>
                  <a:pt x="17" y="177"/>
                </a:cubicBezTo>
                <a:cubicBezTo>
                  <a:pt x="16" y="178"/>
                  <a:pt x="16" y="179"/>
                  <a:pt x="15" y="182"/>
                </a:cubicBezTo>
                <a:cubicBezTo>
                  <a:pt x="15" y="184"/>
                  <a:pt x="14" y="187"/>
                  <a:pt x="12" y="191"/>
                </a:cubicBezTo>
                <a:cubicBezTo>
                  <a:pt x="10" y="207"/>
                  <a:pt x="7" y="221"/>
                  <a:pt x="1" y="235"/>
                </a:cubicBezTo>
                <a:cubicBezTo>
                  <a:pt x="1" y="235"/>
                  <a:pt x="0" y="236"/>
                  <a:pt x="0" y="236"/>
                </a:cubicBezTo>
                <a:cubicBezTo>
                  <a:pt x="1" y="236"/>
                  <a:pt x="3" y="237"/>
                  <a:pt x="5" y="237"/>
                </a:cubicBezTo>
                <a:cubicBezTo>
                  <a:pt x="5" y="237"/>
                  <a:pt x="5" y="237"/>
                  <a:pt x="6" y="237"/>
                </a:cubicBezTo>
                <a:lnTo>
                  <a:pt x="6" y="237"/>
                </a:lnTo>
                <a:cubicBezTo>
                  <a:pt x="13" y="223"/>
                  <a:pt x="17" y="211"/>
                  <a:pt x="18" y="201"/>
                </a:cubicBezTo>
                <a:cubicBezTo>
                  <a:pt x="19" y="193"/>
                  <a:pt x="20" y="187"/>
                  <a:pt x="21" y="183"/>
                </a:cubicBezTo>
                <a:lnTo>
                  <a:pt x="21" y="183"/>
                </a:lnTo>
                <a:lnTo>
                  <a:pt x="22" y="183"/>
                </a:lnTo>
                <a:cubicBezTo>
                  <a:pt x="22" y="183"/>
                  <a:pt x="23" y="183"/>
                  <a:pt x="24" y="183"/>
                </a:cubicBezTo>
                <a:cubicBezTo>
                  <a:pt x="24" y="187"/>
                  <a:pt x="25" y="191"/>
                  <a:pt x="27" y="195"/>
                </a:cubicBezTo>
                <a:cubicBezTo>
                  <a:pt x="28" y="197"/>
                  <a:pt x="30" y="200"/>
                  <a:pt x="33" y="204"/>
                </a:cubicBezTo>
                <a:cubicBezTo>
                  <a:pt x="33" y="206"/>
                  <a:pt x="33" y="210"/>
                  <a:pt x="31" y="218"/>
                </a:cubicBezTo>
                <a:cubicBezTo>
                  <a:pt x="31" y="220"/>
                  <a:pt x="32" y="221"/>
                  <a:pt x="34" y="223"/>
                </a:cubicBezTo>
                <a:cubicBezTo>
                  <a:pt x="36" y="224"/>
                  <a:pt x="37" y="226"/>
                  <a:pt x="37" y="228"/>
                </a:cubicBezTo>
                <a:cubicBezTo>
                  <a:pt x="36" y="234"/>
                  <a:pt x="36" y="240"/>
                  <a:pt x="37" y="243"/>
                </a:cubicBezTo>
                <a:cubicBezTo>
                  <a:pt x="39" y="242"/>
                  <a:pt x="43" y="240"/>
                  <a:pt x="48" y="237"/>
                </a:cubicBezTo>
                <a:cubicBezTo>
                  <a:pt x="49" y="237"/>
                  <a:pt x="52" y="239"/>
                  <a:pt x="55" y="242"/>
                </a:cubicBezTo>
                <a:cubicBezTo>
                  <a:pt x="59" y="245"/>
                  <a:pt x="62" y="247"/>
                  <a:pt x="64" y="248"/>
                </a:cubicBezTo>
                <a:cubicBezTo>
                  <a:pt x="65" y="249"/>
                  <a:pt x="68" y="249"/>
                  <a:pt x="74" y="250"/>
                </a:cubicBezTo>
                <a:cubicBezTo>
                  <a:pt x="79" y="251"/>
                  <a:pt x="82" y="252"/>
                  <a:pt x="83" y="254"/>
                </a:cubicBezTo>
                <a:cubicBezTo>
                  <a:pt x="86" y="259"/>
                  <a:pt x="93" y="262"/>
                  <a:pt x="103" y="263"/>
                </a:cubicBezTo>
                <a:cubicBezTo>
                  <a:pt x="107" y="263"/>
                  <a:pt x="111" y="265"/>
                  <a:pt x="115" y="268"/>
                </a:cubicBezTo>
                <a:cubicBezTo>
                  <a:pt x="116" y="270"/>
                  <a:pt x="118" y="272"/>
                  <a:pt x="120" y="274"/>
                </a:cubicBezTo>
                <a:cubicBezTo>
                  <a:pt x="122" y="274"/>
                  <a:pt x="125" y="273"/>
                  <a:pt x="129" y="270"/>
                </a:cubicBezTo>
                <a:cubicBezTo>
                  <a:pt x="133" y="267"/>
                  <a:pt x="138" y="265"/>
                  <a:pt x="145" y="266"/>
                </a:cubicBezTo>
                <a:cubicBezTo>
                  <a:pt x="146" y="266"/>
                  <a:pt x="150" y="267"/>
                  <a:pt x="156" y="269"/>
                </a:cubicBezTo>
                <a:cubicBezTo>
                  <a:pt x="157" y="269"/>
                  <a:pt x="159" y="268"/>
                  <a:pt x="162" y="266"/>
                </a:cubicBezTo>
                <a:cubicBezTo>
                  <a:pt x="165" y="265"/>
                  <a:pt x="167" y="264"/>
                  <a:pt x="169" y="264"/>
                </a:cubicBezTo>
                <a:cubicBezTo>
                  <a:pt x="169" y="264"/>
                  <a:pt x="171" y="266"/>
                  <a:pt x="174" y="272"/>
                </a:cubicBezTo>
                <a:cubicBezTo>
                  <a:pt x="178" y="277"/>
                  <a:pt x="184" y="282"/>
                  <a:pt x="191" y="284"/>
                </a:cubicBezTo>
                <a:cubicBezTo>
                  <a:pt x="194" y="285"/>
                  <a:pt x="198" y="290"/>
                  <a:pt x="201" y="297"/>
                </a:cubicBezTo>
                <a:cubicBezTo>
                  <a:pt x="204" y="304"/>
                  <a:pt x="205" y="308"/>
                  <a:pt x="205" y="311"/>
                </a:cubicBezTo>
                <a:cubicBezTo>
                  <a:pt x="205" y="312"/>
                  <a:pt x="203" y="314"/>
                  <a:pt x="200" y="317"/>
                </a:cubicBezTo>
                <a:cubicBezTo>
                  <a:pt x="197" y="321"/>
                  <a:pt x="195" y="324"/>
                  <a:pt x="195" y="327"/>
                </a:cubicBezTo>
                <a:cubicBezTo>
                  <a:pt x="194" y="328"/>
                  <a:pt x="195" y="332"/>
                  <a:pt x="195" y="339"/>
                </a:cubicBezTo>
                <a:cubicBezTo>
                  <a:pt x="195" y="342"/>
                  <a:pt x="194" y="345"/>
                  <a:pt x="193" y="347"/>
                </a:cubicBezTo>
                <a:cubicBezTo>
                  <a:pt x="191" y="349"/>
                  <a:pt x="190" y="351"/>
                  <a:pt x="190" y="353"/>
                </a:cubicBezTo>
                <a:cubicBezTo>
                  <a:pt x="189" y="359"/>
                  <a:pt x="191" y="365"/>
                  <a:pt x="194" y="373"/>
                </a:cubicBezTo>
                <a:cubicBezTo>
                  <a:pt x="196" y="377"/>
                  <a:pt x="198" y="381"/>
                  <a:pt x="201" y="387"/>
                </a:cubicBezTo>
                <a:cubicBezTo>
                  <a:pt x="202" y="386"/>
                  <a:pt x="204" y="385"/>
                  <a:pt x="205" y="383"/>
                </a:cubicBezTo>
                <a:cubicBezTo>
                  <a:pt x="207" y="381"/>
                  <a:pt x="209" y="379"/>
                  <a:pt x="212" y="379"/>
                </a:cubicBezTo>
                <a:cubicBezTo>
                  <a:pt x="216" y="380"/>
                  <a:pt x="220" y="382"/>
                  <a:pt x="224" y="387"/>
                </a:cubicBezTo>
                <a:cubicBezTo>
                  <a:pt x="229" y="392"/>
                  <a:pt x="232" y="395"/>
                  <a:pt x="235" y="396"/>
                </a:cubicBezTo>
                <a:cubicBezTo>
                  <a:pt x="240" y="398"/>
                  <a:pt x="250" y="402"/>
                  <a:pt x="262" y="407"/>
                </a:cubicBezTo>
                <a:cubicBezTo>
                  <a:pt x="271" y="410"/>
                  <a:pt x="277" y="417"/>
                  <a:pt x="279" y="428"/>
                </a:cubicBezTo>
                <a:cubicBezTo>
                  <a:pt x="279" y="431"/>
                  <a:pt x="279" y="436"/>
                  <a:pt x="280" y="443"/>
                </a:cubicBezTo>
                <a:cubicBezTo>
                  <a:pt x="280" y="443"/>
                  <a:pt x="280" y="445"/>
                  <a:pt x="281" y="447"/>
                </a:cubicBezTo>
                <a:cubicBezTo>
                  <a:pt x="282" y="449"/>
                  <a:pt x="283" y="452"/>
                  <a:pt x="284" y="456"/>
                </a:cubicBezTo>
                <a:cubicBezTo>
                  <a:pt x="285" y="456"/>
                  <a:pt x="287" y="455"/>
                  <a:pt x="289" y="456"/>
                </a:cubicBezTo>
                <a:cubicBezTo>
                  <a:pt x="291" y="456"/>
                  <a:pt x="293" y="457"/>
                  <a:pt x="295" y="459"/>
                </a:cubicBezTo>
                <a:cubicBezTo>
                  <a:pt x="297" y="461"/>
                  <a:pt x="299" y="463"/>
                  <a:pt x="300" y="463"/>
                </a:cubicBezTo>
                <a:cubicBezTo>
                  <a:pt x="301" y="460"/>
                  <a:pt x="303" y="458"/>
                  <a:pt x="306" y="457"/>
                </a:cubicBezTo>
                <a:cubicBezTo>
                  <a:pt x="308" y="456"/>
                  <a:pt x="311" y="455"/>
                  <a:pt x="315" y="455"/>
                </a:cubicBezTo>
                <a:cubicBezTo>
                  <a:pt x="316" y="455"/>
                  <a:pt x="322" y="453"/>
                  <a:pt x="333" y="451"/>
                </a:cubicBezTo>
                <a:cubicBezTo>
                  <a:pt x="334" y="451"/>
                  <a:pt x="336" y="452"/>
                  <a:pt x="340" y="453"/>
                </a:cubicBezTo>
                <a:cubicBezTo>
                  <a:pt x="344" y="453"/>
                  <a:pt x="347" y="452"/>
                  <a:pt x="349" y="449"/>
                </a:cubicBezTo>
                <a:cubicBezTo>
                  <a:pt x="350" y="445"/>
                  <a:pt x="352" y="444"/>
                  <a:pt x="356" y="444"/>
                </a:cubicBezTo>
                <a:cubicBezTo>
                  <a:pt x="358" y="444"/>
                  <a:pt x="360" y="446"/>
                  <a:pt x="362" y="448"/>
                </a:cubicBezTo>
                <a:cubicBezTo>
                  <a:pt x="363" y="449"/>
                  <a:pt x="364" y="451"/>
                  <a:pt x="365" y="453"/>
                </a:cubicBezTo>
                <a:cubicBezTo>
                  <a:pt x="366" y="453"/>
                  <a:pt x="369" y="454"/>
                  <a:pt x="377" y="457"/>
                </a:cubicBezTo>
                <a:cubicBezTo>
                  <a:pt x="378" y="453"/>
                  <a:pt x="383" y="448"/>
                  <a:pt x="390" y="442"/>
                </a:cubicBezTo>
                <a:cubicBezTo>
                  <a:pt x="397" y="436"/>
                  <a:pt x="402" y="433"/>
                  <a:pt x="406" y="434"/>
                </a:cubicBezTo>
                <a:cubicBezTo>
                  <a:pt x="407" y="434"/>
                  <a:pt x="409" y="435"/>
                  <a:pt x="413" y="436"/>
                </a:cubicBezTo>
                <a:cubicBezTo>
                  <a:pt x="414" y="436"/>
                  <a:pt x="416" y="435"/>
                  <a:pt x="419" y="432"/>
                </a:cubicBezTo>
                <a:cubicBezTo>
                  <a:pt x="421" y="430"/>
                  <a:pt x="423" y="428"/>
                  <a:pt x="423" y="427"/>
                </a:cubicBezTo>
                <a:cubicBezTo>
                  <a:pt x="423" y="426"/>
                  <a:pt x="422" y="424"/>
                  <a:pt x="420" y="422"/>
                </a:cubicBezTo>
                <a:cubicBezTo>
                  <a:pt x="418" y="419"/>
                  <a:pt x="418" y="417"/>
                  <a:pt x="418" y="414"/>
                </a:cubicBezTo>
                <a:cubicBezTo>
                  <a:pt x="419" y="409"/>
                  <a:pt x="423" y="407"/>
                  <a:pt x="432" y="407"/>
                </a:cubicBezTo>
                <a:cubicBezTo>
                  <a:pt x="434" y="406"/>
                  <a:pt x="437" y="406"/>
                  <a:pt x="441" y="406"/>
                </a:cubicBezTo>
                <a:cubicBezTo>
                  <a:pt x="444" y="406"/>
                  <a:pt x="445" y="406"/>
                  <a:pt x="446" y="404"/>
                </a:cubicBezTo>
                <a:cubicBezTo>
                  <a:pt x="451" y="398"/>
                  <a:pt x="454" y="394"/>
                  <a:pt x="456" y="391"/>
                </a:cubicBezTo>
                <a:cubicBezTo>
                  <a:pt x="456" y="389"/>
                  <a:pt x="458" y="387"/>
                  <a:pt x="459" y="385"/>
                </a:cubicBezTo>
                <a:cubicBezTo>
                  <a:pt x="460" y="382"/>
                  <a:pt x="462" y="381"/>
                  <a:pt x="464" y="381"/>
                </a:cubicBezTo>
                <a:cubicBezTo>
                  <a:pt x="465" y="381"/>
                  <a:pt x="466" y="382"/>
                  <a:pt x="468" y="383"/>
                </a:cubicBezTo>
                <a:cubicBezTo>
                  <a:pt x="470" y="383"/>
                  <a:pt x="472" y="382"/>
                  <a:pt x="476" y="379"/>
                </a:cubicBezTo>
                <a:cubicBezTo>
                  <a:pt x="480" y="376"/>
                  <a:pt x="482" y="374"/>
                  <a:pt x="483" y="374"/>
                </a:cubicBezTo>
                <a:cubicBezTo>
                  <a:pt x="486" y="375"/>
                  <a:pt x="488" y="376"/>
                  <a:pt x="491" y="378"/>
                </a:cubicBezTo>
                <a:cubicBezTo>
                  <a:pt x="493" y="381"/>
                  <a:pt x="494" y="382"/>
                  <a:pt x="494" y="384"/>
                </a:cubicBezTo>
                <a:cubicBezTo>
                  <a:pt x="494" y="386"/>
                  <a:pt x="493" y="390"/>
                  <a:pt x="490" y="396"/>
                </a:cubicBezTo>
                <a:cubicBezTo>
                  <a:pt x="491" y="396"/>
                  <a:pt x="492" y="397"/>
                  <a:pt x="494" y="398"/>
                </a:cubicBezTo>
                <a:cubicBezTo>
                  <a:pt x="498" y="399"/>
                  <a:pt x="503" y="397"/>
                  <a:pt x="509" y="392"/>
                </a:cubicBezTo>
                <a:cubicBezTo>
                  <a:pt x="515" y="387"/>
                  <a:pt x="519" y="384"/>
                  <a:pt x="519" y="380"/>
                </a:cubicBezTo>
                <a:cubicBezTo>
                  <a:pt x="519" y="379"/>
                  <a:pt x="518" y="376"/>
                  <a:pt x="515" y="372"/>
                </a:cubicBezTo>
                <a:cubicBezTo>
                  <a:pt x="512" y="367"/>
                  <a:pt x="509" y="365"/>
                  <a:pt x="507" y="364"/>
                </a:cubicBezTo>
                <a:cubicBezTo>
                  <a:pt x="504" y="364"/>
                  <a:pt x="503" y="365"/>
                  <a:pt x="501" y="367"/>
                </a:cubicBezTo>
                <a:cubicBezTo>
                  <a:pt x="500" y="368"/>
                  <a:pt x="498" y="369"/>
                  <a:pt x="497" y="369"/>
                </a:cubicBezTo>
                <a:cubicBezTo>
                  <a:pt x="496" y="369"/>
                  <a:pt x="494" y="367"/>
                  <a:pt x="492" y="365"/>
                </a:cubicBezTo>
                <a:cubicBezTo>
                  <a:pt x="491" y="363"/>
                  <a:pt x="490" y="361"/>
                  <a:pt x="490" y="361"/>
                </a:cubicBezTo>
                <a:cubicBezTo>
                  <a:pt x="490" y="360"/>
                  <a:pt x="491" y="358"/>
                  <a:pt x="493" y="356"/>
                </a:cubicBezTo>
                <a:cubicBezTo>
                  <a:pt x="495" y="354"/>
                  <a:pt x="496" y="352"/>
                  <a:pt x="496" y="350"/>
                </a:cubicBezTo>
                <a:cubicBezTo>
                  <a:pt x="495" y="342"/>
                  <a:pt x="495" y="336"/>
                  <a:pt x="495" y="333"/>
                </a:cubicBezTo>
                <a:cubicBezTo>
                  <a:pt x="495" y="330"/>
                  <a:pt x="497" y="327"/>
                  <a:pt x="501" y="326"/>
                </a:cubicBezTo>
                <a:cubicBezTo>
                  <a:pt x="504" y="324"/>
                  <a:pt x="506" y="320"/>
                  <a:pt x="507" y="315"/>
                </a:cubicBezTo>
                <a:cubicBezTo>
                  <a:pt x="507" y="313"/>
                  <a:pt x="506" y="311"/>
                  <a:pt x="503" y="309"/>
                </a:cubicBezTo>
                <a:cubicBezTo>
                  <a:pt x="501" y="307"/>
                  <a:pt x="500" y="305"/>
                  <a:pt x="500" y="300"/>
                </a:cubicBezTo>
                <a:cubicBezTo>
                  <a:pt x="502" y="297"/>
                  <a:pt x="503" y="295"/>
                  <a:pt x="503" y="294"/>
                </a:cubicBezTo>
                <a:cubicBezTo>
                  <a:pt x="503" y="292"/>
                  <a:pt x="502" y="291"/>
                  <a:pt x="501" y="289"/>
                </a:cubicBezTo>
                <a:cubicBezTo>
                  <a:pt x="499" y="288"/>
                  <a:pt x="499" y="287"/>
                  <a:pt x="499" y="286"/>
                </a:cubicBezTo>
                <a:cubicBezTo>
                  <a:pt x="500" y="285"/>
                  <a:pt x="501" y="284"/>
                  <a:pt x="502" y="283"/>
                </a:cubicBezTo>
                <a:cubicBezTo>
                  <a:pt x="501" y="280"/>
                  <a:pt x="501" y="277"/>
                  <a:pt x="501" y="276"/>
                </a:cubicBezTo>
                <a:cubicBezTo>
                  <a:pt x="501" y="275"/>
                  <a:pt x="502" y="272"/>
                  <a:pt x="505" y="264"/>
                </a:cubicBezTo>
                <a:cubicBezTo>
                  <a:pt x="505" y="263"/>
                  <a:pt x="506" y="262"/>
                  <a:pt x="508" y="261"/>
                </a:cubicBezTo>
                <a:cubicBezTo>
                  <a:pt x="511" y="260"/>
                  <a:pt x="512" y="259"/>
                  <a:pt x="512" y="258"/>
                </a:cubicBezTo>
                <a:cubicBezTo>
                  <a:pt x="514" y="253"/>
                  <a:pt x="516" y="250"/>
                  <a:pt x="520" y="250"/>
                </a:cubicBezTo>
                <a:cubicBezTo>
                  <a:pt x="522" y="249"/>
                  <a:pt x="525" y="249"/>
                  <a:pt x="529" y="249"/>
                </a:cubicBezTo>
                <a:cubicBezTo>
                  <a:pt x="535" y="246"/>
                  <a:pt x="540" y="240"/>
                  <a:pt x="543" y="230"/>
                </a:cubicBezTo>
                <a:cubicBezTo>
                  <a:pt x="544" y="225"/>
                  <a:pt x="545" y="221"/>
                  <a:pt x="545" y="218"/>
                </a:cubicBezTo>
                <a:cubicBezTo>
                  <a:pt x="547" y="213"/>
                  <a:pt x="549" y="210"/>
                  <a:pt x="552" y="211"/>
                </a:cubicBezTo>
                <a:cubicBezTo>
                  <a:pt x="553" y="211"/>
                  <a:pt x="555" y="212"/>
                  <a:pt x="558" y="212"/>
                </a:cubicBezTo>
                <a:cubicBezTo>
                  <a:pt x="559" y="212"/>
                  <a:pt x="561" y="212"/>
                  <a:pt x="563" y="210"/>
                </a:cubicBezTo>
                <a:cubicBezTo>
                  <a:pt x="564" y="208"/>
                  <a:pt x="566" y="207"/>
                  <a:pt x="568" y="207"/>
                </a:cubicBezTo>
                <a:cubicBezTo>
                  <a:pt x="569" y="207"/>
                  <a:pt x="573" y="208"/>
                  <a:pt x="578" y="211"/>
                </a:cubicBezTo>
                <a:cubicBezTo>
                  <a:pt x="582" y="211"/>
                  <a:pt x="584" y="210"/>
                  <a:pt x="584" y="207"/>
                </a:cubicBezTo>
                <a:cubicBezTo>
                  <a:pt x="582" y="202"/>
                  <a:pt x="582" y="198"/>
                  <a:pt x="582" y="195"/>
                </a:cubicBezTo>
                <a:cubicBezTo>
                  <a:pt x="582" y="194"/>
                  <a:pt x="584" y="192"/>
                  <a:pt x="588" y="189"/>
                </a:cubicBezTo>
                <a:cubicBezTo>
                  <a:pt x="592" y="186"/>
                  <a:pt x="594" y="184"/>
                  <a:pt x="594" y="183"/>
                </a:cubicBezTo>
                <a:cubicBezTo>
                  <a:pt x="595" y="177"/>
                  <a:pt x="590" y="174"/>
                  <a:pt x="578" y="173"/>
                </a:cubicBezTo>
                <a:cubicBezTo>
                  <a:pt x="576" y="173"/>
                  <a:pt x="575" y="174"/>
                  <a:pt x="574" y="175"/>
                </a:cubicBezTo>
                <a:cubicBezTo>
                  <a:pt x="573" y="177"/>
                  <a:pt x="571" y="177"/>
                  <a:pt x="569" y="177"/>
                </a:cubicBezTo>
                <a:cubicBezTo>
                  <a:pt x="564" y="176"/>
                  <a:pt x="562" y="173"/>
                  <a:pt x="562" y="168"/>
                </a:cubicBezTo>
                <a:lnTo>
                  <a:pt x="565" y="157"/>
                </a:lnTo>
                <a:cubicBezTo>
                  <a:pt x="564" y="152"/>
                  <a:pt x="564" y="150"/>
                  <a:pt x="564" y="149"/>
                </a:cubicBezTo>
                <a:cubicBezTo>
                  <a:pt x="565" y="144"/>
                  <a:pt x="565" y="141"/>
                  <a:pt x="565" y="140"/>
                </a:cubicBezTo>
                <a:cubicBezTo>
                  <a:pt x="565" y="140"/>
                  <a:pt x="566" y="138"/>
                  <a:pt x="568" y="136"/>
                </a:cubicBezTo>
                <a:cubicBezTo>
                  <a:pt x="570" y="134"/>
                  <a:pt x="571" y="131"/>
                  <a:pt x="571" y="128"/>
                </a:cubicBezTo>
                <a:cubicBezTo>
                  <a:pt x="572" y="121"/>
                  <a:pt x="570" y="116"/>
                  <a:pt x="566" y="114"/>
                </a:cubicBezTo>
                <a:lnTo>
                  <a:pt x="566" y="114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" name="Freeform 234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" name="Freeform 235"/>
          <p:cNvSpPr/>
          <p:nvPr/>
        </p:nvSpPr>
        <p:spPr bwMode="auto">
          <a:xfrm>
            <a:off x="8491745" y="4514007"/>
            <a:ext cx="24456" cy="47166"/>
          </a:xfrm>
          <a:custGeom>
            <a:avLst/>
            <a:gdLst>
              <a:gd name="T0" fmla="*/ 12 w 24"/>
              <a:gd name="T1" fmla="*/ 0 h 45"/>
              <a:gd name="T2" fmla="*/ 12 w 24"/>
              <a:gd name="T3" fmla="*/ 0 h 45"/>
              <a:gd name="T4" fmla="*/ 8 w 24"/>
              <a:gd name="T5" fmla="*/ 5 h 45"/>
              <a:gd name="T6" fmla="*/ 3 w 24"/>
              <a:gd name="T7" fmla="*/ 15 h 45"/>
              <a:gd name="T8" fmla="*/ 5 w 24"/>
              <a:gd name="T9" fmla="*/ 23 h 45"/>
              <a:gd name="T10" fmla="*/ 7 w 24"/>
              <a:gd name="T11" fmla="*/ 31 h 45"/>
              <a:gd name="T12" fmla="*/ 4 w 24"/>
              <a:gd name="T13" fmla="*/ 36 h 45"/>
              <a:gd name="T14" fmla="*/ 0 w 24"/>
              <a:gd name="T15" fmla="*/ 42 h 45"/>
              <a:gd name="T16" fmla="*/ 0 w 24"/>
              <a:gd name="T17" fmla="*/ 45 h 45"/>
              <a:gd name="T18" fmla="*/ 6 w 24"/>
              <a:gd name="T19" fmla="*/ 41 h 45"/>
              <a:gd name="T20" fmla="*/ 11 w 24"/>
              <a:gd name="T21" fmla="*/ 39 h 45"/>
              <a:gd name="T22" fmla="*/ 13 w 24"/>
              <a:gd name="T23" fmla="*/ 41 h 45"/>
              <a:gd name="T24" fmla="*/ 16 w 24"/>
              <a:gd name="T25" fmla="*/ 43 h 45"/>
              <a:gd name="T26" fmla="*/ 19 w 24"/>
              <a:gd name="T27" fmla="*/ 42 h 45"/>
              <a:gd name="T28" fmla="*/ 22 w 24"/>
              <a:gd name="T29" fmla="*/ 41 h 45"/>
              <a:gd name="T30" fmla="*/ 22 w 24"/>
              <a:gd name="T31" fmla="*/ 39 h 45"/>
              <a:gd name="T32" fmla="*/ 21 w 24"/>
              <a:gd name="T33" fmla="*/ 36 h 45"/>
              <a:gd name="T34" fmla="*/ 23 w 24"/>
              <a:gd name="T35" fmla="*/ 35 h 45"/>
              <a:gd name="T36" fmla="*/ 24 w 24"/>
              <a:gd name="T37" fmla="*/ 33 h 45"/>
              <a:gd name="T38" fmla="*/ 23 w 24"/>
              <a:gd name="T39" fmla="*/ 29 h 45"/>
              <a:gd name="T40" fmla="*/ 22 w 24"/>
              <a:gd name="T41" fmla="*/ 27 h 45"/>
              <a:gd name="T42" fmla="*/ 22 w 24"/>
              <a:gd name="T43" fmla="*/ 24 h 45"/>
              <a:gd name="T44" fmla="*/ 22 w 24"/>
              <a:gd name="T45" fmla="*/ 23 h 45"/>
              <a:gd name="T46" fmla="*/ 20 w 24"/>
              <a:gd name="T47" fmla="*/ 23 h 45"/>
              <a:gd name="T48" fmla="*/ 19 w 24"/>
              <a:gd name="T49" fmla="*/ 22 h 45"/>
              <a:gd name="T50" fmla="*/ 19 w 24"/>
              <a:gd name="T51" fmla="*/ 21 h 45"/>
              <a:gd name="T52" fmla="*/ 17 w 24"/>
              <a:gd name="T53" fmla="*/ 19 h 45"/>
              <a:gd name="T54" fmla="*/ 18 w 24"/>
              <a:gd name="T55" fmla="*/ 17 h 45"/>
              <a:gd name="T56" fmla="*/ 17 w 24"/>
              <a:gd name="T57" fmla="*/ 14 h 45"/>
              <a:gd name="T58" fmla="*/ 18 w 24"/>
              <a:gd name="T59" fmla="*/ 13 h 45"/>
              <a:gd name="T60" fmla="*/ 16 w 24"/>
              <a:gd name="T61" fmla="*/ 10 h 45"/>
              <a:gd name="T62" fmla="*/ 14 w 24"/>
              <a:gd name="T63" fmla="*/ 9 h 45"/>
              <a:gd name="T64" fmla="*/ 15 w 24"/>
              <a:gd name="T65" fmla="*/ 6 h 45"/>
              <a:gd name="T66" fmla="*/ 14 w 24"/>
              <a:gd name="T67" fmla="*/ 3 h 45"/>
              <a:gd name="T68" fmla="*/ 12 w 24"/>
              <a:gd name="T69" fmla="*/ 0 h 45"/>
              <a:gd name="T70" fmla="*/ 12 w 24"/>
              <a:gd name="T71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4" h="45">
                <a:moveTo>
                  <a:pt x="12" y="0"/>
                </a:moveTo>
                <a:lnTo>
                  <a:pt x="12" y="0"/>
                </a:lnTo>
                <a:cubicBezTo>
                  <a:pt x="11" y="1"/>
                  <a:pt x="10" y="3"/>
                  <a:pt x="8" y="5"/>
                </a:cubicBezTo>
                <a:cubicBezTo>
                  <a:pt x="5" y="8"/>
                  <a:pt x="4" y="12"/>
                  <a:pt x="3" y="15"/>
                </a:cubicBezTo>
                <a:cubicBezTo>
                  <a:pt x="3" y="17"/>
                  <a:pt x="4" y="19"/>
                  <a:pt x="5" y="23"/>
                </a:cubicBezTo>
                <a:cubicBezTo>
                  <a:pt x="7" y="26"/>
                  <a:pt x="7" y="29"/>
                  <a:pt x="7" y="31"/>
                </a:cubicBezTo>
                <a:cubicBezTo>
                  <a:pt x="7" y="31"/>
                  <a:pt x="6" y="33"/>
                  <a:pt x="4" y="36"/>
                </a:cubicBezTo>
                <a:cubicBezTo>
                  <a:pt x="1" y="38"/>
                  <a:pt x="0" y="40"/>
                  <a:pt x="0" y="42"/>
                </a:cubicBezTo>
                <a:cubicBezTo>
                  <a:pt x="0" y="43"/>
                  <a:pt x="0" y="44"/>
                  <a:pt x="0" y="45"/>
                </a:cubicBezTo>
                <a:cubicBezTo>
                  <a:pt x="1" y="44"/>
                  <a:pt x="3" y="43"/>
                  <a:pt x="6" y="41"/>
                </a:cubicBezTo>
                <a:cubicBezTo>
                  <a:pt x="9" y="40"/>
                  <a:pt x="11" y="39"/>
                  <a:pt x="11" y="39"/>
                </a:cubicBezTo>
                <a:cubicBezTo>
                  <a:pt x="12" y="39"/>
                  <a:pt x="12" y="40"/>
                  <a:pt x="13" y="41"/>
                </a:cubicBezTo>
                <a:cubicBezTo>
                  <a:pt x="14" y="42"/>
                  <a:pt x="15" y="43"/>
                  <a:pt x="16" y="43"/>
                </a:cubicBezTo>
                <a:cubicBezTo>
                  <a:pt x="16" y="43"/>
                  <a:pt x="17" y="43"/>
                  <a:pt x="19" y="42"/>
                </a:cubicBezTo>
                <a:cubicBezTo>
                  <a:pt x="20" y="42"/>
                  <a:pt x="21" y="41"/>
                  <a:pt x="22" y="41"/>
                </a:cubicBezTo>
                <a:cubicBezTo>
                  <a:pt x="22" y="40"/>
                  <a:pt x="22" y="40"/>
                  <a:pt x="22" y="39"/>
                </a:cubicBezTo>
                <a:cubicBezTo>
                  <a:pt x="22" y="38"/>
                  <a:pt x="21" y="37"/>
                  <a:pt x="21" y="36"/>
                </a:cubicBezTo>
                <a:cubicBezTo>
                  <a:pt x="22" y="35"/>
                  <a:pt x="22" y="35"/>
                  <a:pt x="23" y="35"/>
                </a:cubicBezTo>
                <a:cubicBezTo>
                  <a:pt x="23" y="35"/>
                  <a:pt x="24" y="34"/>
                  <a:pt x="24" y="33"/>
                </a:cubicBezTo>
                <a:cubicBezTo>
                  <a:pt x="24" y="31"/>
                  <a:pt x="24" y="30"/>
                  <a:pt x="23" y="29"/>
                </a:cubicBezTo>
                <a:cubicBezTo>
                  <a:pt x="22" y="28"/>
                  <a:pt x="22" y="27"/>
                  <a:pt x="22" y="27"/>
                </a:cubicBezTo>
                <a:cubicBezTo>
                  <a:pt x="22" y="26"/>
                  <a:pt x="22" y="25"/>
                  <a:pt x="22" y="24"/>
                </a:cubicBezTo>
                <a:cubicBezTo>
                  <a:pt x="22" y="24"/>
                  <a:pt x="22" y="23"/>
                  <a:pt x="22" y="23"/>
                </a:cubicBezTo>
                <a:cubicBezTo>
                  <a:pt x="21" y="23"/>
                  <a:pt x="20" y="23"/>
                  <a:pt x="20" y="23"/>
                </a:cubicBezTo>
                <a:cubicBezTo>
                  <a:pt x="19" y="23"/>
                  <a:pt x="19" y="23"/>
                  <a:pt x="19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8" y="20"/>
                  <a:pt x="18" y="19"/>
                  <a:pt x="17" y="19"/>
                </a:cubicBezTo>
                <a:cubicBezTo>
                  <a:pt x="17" y="18"/>
                  <a:pt x="18" y="18"/>
                  <a:pt x="18" y="17"/>
                </a:cubicBezTo>
                <a:cubicBezTo>
                  <a:pt x="17" y="16"/>
                  <a:pt x="17" y="15"/>
                  <a:pt x="17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2"/>
                  <a:pt x="17" y="11"/>
                  <a:pt x="16" y="10"/>
                </a:cubicBezTo>
                <a:cubicBezTo>
                  <a:pt x="15" y="9"/>
                  <a:pt x="14" y="9"/>
                  <a:pt x="14" y="9"/>
                </a:cubicBezTo>
                <a:cubicBezTo>
                  <a:pt x="15" y="8"/>
                  <a:pt x="15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3" y="2"/>
                  <a:pt x="13" y="1"/>
                  <a:pt x="12" y="0"/>
                </a:cubicBezTo>
                <a:lnTo>
                  <a:pt x="1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" name="Freeform 236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" name="Freeform 237"/>
          <p:cNvSpPr/>
          <p:nvPr/>
        </p:nvSpPr>
        <p:spPr bwMode="auto">
          <a:xfrm>
            <a:off x="9857794" y="2508604"/>
            <a:ext cx="752900" cy="426235"/>
          </a:xfrm>
          <a:custGeom>
            <a:avLst/>
            <a:gdLst>
              <a:gd name="T0" fmla="*/ 599 w 720"/>
              <a:gd name="T1" fmla="*/ 67 h 408"/>
              <a:gd name="T2" fmla="*/ 561 w 720"/>
              <a:gd name="T3" fmla="*/ 58 h 408"/>
              <a:gd name="T4" fmla="*/ 543 w 720"/>
              <a:gd name="T5" fmla="*/ 69 h 408"/>
              <a:gd name="T6" fmla="*/ 515 w 720"/>
              <a:gd name="T7" fmla="*/ 77 h 408"/>
              <a:gd name="T8" fmla="*/ 486 w 720"/>
              <a:gd name="T9" fmla="*/ 51 h 408"/>
              <a:gd name="T10" fmla="*/ 467 w 720"/>
              <a:gd name="T11" fmla="*/ 33 h 408"/>
              <a:gd name="T12" fmla="*/ 452 w 720"/>
              <a:gd name="T13" fmla="*/ 31 h 408"/>
              <a:gd name="T14" fmla="*/ 425 w 720"/>
              <a:gd name="T15" fmla="*/ 23 h 408"/>
              <a:gd name="T16" fmla="*/ 376 w 720"/>
              <a:gd name="T17" fmla="*/ 0 h 408"/>
              <a:gd name="T18" fmla="*/ 320 w 720"/>
              <a:gd name="T19" fmla="*/ 30 h 408"/>
              <a:gd name="T20" fmla="*/ 305 w 720"/>
              <a:gd name="T21" fmla="*/ 69 h 408"/>
              <a:gd name="T22" fmla="*/ 314 w 720"/>
              <a:gd name="T23" fmla="*/ 87 h 408"/>
              <a:gd name="T24" fmla="*/ 327 w 720"/>
              <a:gd name="T25" fmla="*/ 155 h 408"/>
              <a:gd name="T26" fmla="*/ 298 w 720"/>
              <a:gd name="T27" fmla="*/ 188 h 408"/>
              <a:gd name="T28" fmla="*/ 258 w 720"/>
              <a:gd name="T29" fmla="*/ 209 h 408"/>
              <a:gd name="T30" fmla="*/ 225 w 720"/>
              <a:gd name="T31" fmla="*/ 198 h 408"/>
              <a:gd name="T32" fmla="*/ 201 w 720"/>
              <a:gd name="T33" fmla="*/ 151 h 408"/>
              <a:gd name="T34" fmla="*/ 160 w 720"/>
              <a:gd name="T35" fmla="*/ 113 h 408"/>
              <a:gd name="T36" fmla="*/ 126 w 720"/>
              <a:gd name="T37" fmla="*/ 87 h 408"/>
              <a:gd name="T38" fmla="*/ 91 w 720"/>
              <a:gd name="T39" fmla="*/ 110 h 408"/>
              <a:gd name="T40" fmla="*/ 49 w 720"/>
              <a:gd name="T41" fmla="*/ 140 h 408"/>
              <a:gd name="T42" fmla="*/ 38 w 720"/>
              <a:gd name="T43" fmla="*/ 207 h 408"/>
              <a:gd name="T44" fmla="*/ 12 w 720"/>
              <a:gd name="T45" fmla="*/ 246 h 408"/>
              <a:gd name="T46" fmla="*/ 7 w 720"/>
              <a:gd name="T47" fmla="*/ 270 h 408"/>
              <a:gd name="T48" fmla="*/ 5 w 720"/>
              <a:gd name="T49" fmla="*/ 302 h 408"/>
              <a:gd name="T50" fmla="*/ 6 w 720"/>
              <a:gd name="T51" fmla="*/ 321 h 408"/>
              <a:gd name="T52" fmla="*/ 2 w 720"/>
              <a:gd name="T53" fmla="*/ 344 h 408"/>
              <a:gd name="T54" fmla="*/ 8 w 720"/>
              <a:gd name="T55" fmla="*/ 377 h 408"/>
              <a:gd name="T56" fmla="*/ 30 w 720"/>
              <a:gd name="T57" fmla="*/ 372 h 408"/>
              <a:gd name="T58" fmla="*/ 59 w 720"/>
              <a:gd name="T59" fmla="*/ 344 h 408"/>
              <a:gd name="T60" fmla="*/ 98 w 720"/>
              <a:gd name="T61" fmla="*/ 326 h 408"/>
              <a:gd name="T62" fmla="*/ 134 w 720"/>
              <a:gd name="T63" fmla="*/ 321 h 408"/>
              <a:gd name="T64" fmla="*/ 158 w 720"/>
              <a:gd name="T65" fmla="*/ 321 h 408"/>
              <a:gd name="T66" fmla="*/ 191 w 720"/>
              <a:gd name="T67" fmla="*/ 316 h 408"/>
              <a:gd name="T68" fmla="*/ 229 w 720"/>
              <a:gd name="T69" fmla="*/ 319 h 408"/>
              <a:gd name="T70" fmla="*/ 271 w 720"/>
              <a:gd name="T71" fmla="*/ 317 h 408"/>
              <a:gd name="T72" fmla="*/ 313 w 720"/>
              <a:gd name="T73" fmla="*/ 329 h 408"/>
              <a:gd name="T74" fmla="*/ 347 w 720"/>
              <a:gd name="T75" fmla="*/ 324 h 408"/>
              <a:gd name="T76" fmla="*/ 387 w 720"/>
              <a:gd name="T77" fmla="*/ 295 h 408"/>
              <a:gd name="T78" fmla="*/ 416 w 720"/>
              <a:gd name="T79" fmla="*/ 332 h 408"/>
              <a:gd name="T80" fmla="*/ 440 w 720"/>
              <a:gd name="T81" fmla="*/ 337 h 408"/>
              <a:gd name="T82" fmla="*/ 479 w 720"/>
              <a:gd name="T83" fmla="*/ 348 h 408"/>
              <a:gd name="T84" fmla="*/ 539 w 720"/>
              <a:gd name="T85" fmla="*/ 398 h 408"/>
              <a:gd name="T86" fmla="*/ 571 w 720"/>
              <a:gd name="T87" fmla="*/ 408 h 408"/>
              <a:gd name="T88" fmla="*/ 591 w 720"/>
              <a:gd name="T89" fmla="*/ 399 h 408"/>
              <a:gd name="T90" fmla="*/ 604 w 720"/>
              <a:gd name="T91" fmla="*/ 377 h 408"/>
              <a:gd name="T92" fmla="*/ 636 w 720"/>
              <a:gd name="T93" fmla="*/ 378 h 408"/>
              <a:gd name="T94" fmla="*/ 663 w 720"/>
              <a:gd name="T95" fmla="*/ 374 h 408"/>
              <a:gd name="T96" fmla="*/ 675 w 720"/>
              <a:gd name="T97" fmla="*/ 342 h 408"/>
              <a:gd name="T98" fmla="*/ 706 w 720"/>
              <a:gd name="T99" fmla="*/ 304 h 408"/>
              <a:gd name="T100" fmla="*/ 716 w 720"/>
              <a:gd name="T101" fmla="*/ 298 h 408"/>
              <a:gd name="T102" fmla="*/ 720 w 720"/>
              <a:gd name="T103" fmla="*/ 275 h 408"/>
              <a:gd name="T104" fmla="*/ 692 w 720"/>
              <a:gd name="T105" fmla="*/ 226 h 408"/>
              <a:gd name="T106" fmla="*/ 674 w 720"/>
              <a:gd name="T107" fmla="*/ 197 h 408"/>
              <a:gd name="T108" fmla="*/ 666 w 720"/>
              <a:gd name="T109" fmla="*/ 180 h 408"/>
              <a:gd name="T110" fmla="*/ 650 w 720"/>
              <a:gd name="T111" fmla="*/ 174 h 408"/>
              <a:gd name="T112" fmla="*/ 650 w 720"/>
              <a:gd name="T113" fmla="*/ 141 h 408"/>
              <a:gd name="T114" fmla="*/ 659 w 720"/>
              <a:gd name="T115" fmla="*/ 124 h 408"/>
              <a:gd name="T116" fmla="*/ 623 w 720"/>
              <a:gd name="T117" fmla="*/ 85 h 408"/>
              <a:gd name="T118" fmla="*/ 617 w 720"/>
              <a:gd name="T119" fmla="*/ 71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408">
                <a:moveTo>
                  <a:pt x="600" y="67"/>
                </a:moveTo>
                <a:lnTo>
                  <a:pt x="600" y="67"/>
                </a:lnTo>
                <a:cubicBezTo>
                  <a:pt x="599" y="67"/>
                  <a:pt x="599" y="67"/>
                  <a:pt x="599" y="67"/>
                </a:cubicBezTo>
                <a:cubicBezTo>
                  <a:pt x="588" y="67"/>
                  <a:pt x="582" y="67"/>
                  <a:pt x="581" y="67"/>
                </a:cubicBezTo>
                <a:cubicBezTo>
                  <a:pt x="578" y="67"/>
                  <a:pt x="574" y="65"/>
                  <a:pt x="570" y="63"/>
                </a:cubicBezTo>
                <a:cubicBezTo>
                  <a:pt x="566" y="60"/>
                  <a:pt x="563" y="59"/>
                  <a:pt x="561" y="58"/>
                </a:cubicBezTo>
                <a:cubicBezTo>
                  <a:pt x="557" y="58"/>
                  <a:pt x="554" y="60"/>
                  <a:pt x="551" y="64"/>
                </a:cubicBezTo>
                <a:cubicBezTo>
                  <a:pt x="548" y="68"/>
                  <a:pt x="546" y="70"/>
                  <a:pt x="546" y="70"/>
                </a:cubicBezTo>
                <a:cubicBezTo>
                  <a:pt x="545" y="70"/>
                  <a:pt x="543" y="69"/>
                  <a:pt x="543" y="69"/>
                </a:cubicBezTo>
                <a:cubicBezTo>
                  <a:pt x="541" y="69"/>
                  <a:pt x="538" y="71"/>
                  <a:pt x="533" y="76"/>
                </a:cubicBezTo>
                <a:cubicBezTo>
                  <a:pt x="528" y="80"/>
                  <a:pt x="525" y="82"/>
                  <a:pt x="523" y="82"/>
                </a:cubicBezTo>
                <a:cubicBezTo>
                  <a:pt x="520" y="82"/>
                  <a:pt x="517" y="80"/>
                  <a:pt x="515" y="77"/>
                </a:cubicBezTo>
                <a:cubicBezTo>
                  <a:pt x="513" y="74"/>
                  <a:pt x="511" y="73"/>
                  <a:pt x="510" y="73"/>
                </a:cubicBezTo>
                <a:cubicBezTo>
                  <a:pt x="502" y="72"/>
                  <a:pt x="497" y="69"/>
                  <a:pt x="495" y="64"/>
                </a:cubicBezTo>
                <a:cubicBezTo>
                  <a:pt x="491" y="58"/>
                  <a:pt x="488" y="53"/>
                  <a:pt x="486" y="51"/>
                </a:cubicBezTo>
                <a:cubicBezTo>
                  <a:pt x="485" y="50"/>
                  <a:pt x="482" y="49"/>
                  <a:pt x="478" y="47"/>
                </a:cubicBezTo>
                <a:cubicBezTo>
                  <a:pt x="475" y="46"/>
                  <a:pt x="472" y="44"/>
                  <a:pt x="471" y="42"/>
                </a:cubicBezTo>
                <a:cubicBezTo>
                  <a:pt x="469" y="38"/>
                  <a:pt x="468" y="34"/>
                  <a:pt x="467" y="33"/>
                </a:cubicBezTo>
                <a:cubicBezTo>
                  <a:pt x="466" y="31"/>
                  <a:pt x="464" y="29"/>
                  <a:pt x="460" y="29"/>
                </a:cubicBezTo>
                <a:cubicBezTo>
                  <a:pt x="459" y="29"/>
                  <a:pt x="457" y="29"/>
                  <a:pt x="456" y="30"/>
                </a:cubicBezTo>
                <a:cubicBezTo>
                  <a:pt x="454" y="31"/>
                  <a:pt x="453" y="32"/>
                  <a:pt x="452" y="31"/>
                </a:cubicBezTo>
                <a:cubicBezTo>
                  <a:pt x="450" y="31"/>
                  <a:pt x="448" y="30"/>
                  <a:pt x="444" y="27"/>
                </a:cubicBezTo>
                <a:cubicBezTo>
                  <a:pt x="440" y="24"/>
                  <a:pt x="436" y="23"/>
                  <a:pt x="433" y="23"/>
                </a:cubicBezTo>
                <a:cubicBezTo>
                  <a:pt x="429" y="23"/>
                  <a:pt x="426" y="23"/>
                  <a:pt x="425" y="23"/>
                </a:cubicBezTo>
                <a:cubicBezTo>
                  <a:pt x="412" y="10"/>
                  <a:pt x="403" y="3"/>
                  <a:pt x="399" y="3"/>
                </a:cubicBezTo>
                <a:cubicBezTo>
                  <a:pt x="396" y="3"/>
                  <a:pt x="394" y="5"/>
                  <a:pt x="392" y="10"/>
                </a:cubicBezTo>
                <a:cubicBezTo>
                  <a:pt x="386" y="4"/>
                  <a:pt x="380" y="1"/>
                  <a:pt x="376" y="0"/>
                </a:cubicBezTo>
                <a:cubicBezTo>
                  <a:pt x="375" y="0"/>
                  <a:pt x="369" y="4"/>
                  <a:pt x="358" y="10"/>
                </a:cubicBezTo>
                <a:cubicBezTo>
                  <a:pt x="347" y="17"/>
                  <a:pt x="340" y="21"/>
                  <a:pt x="338" y="22"/>
                </a:cubicBezTo>
                <a:cubicBezTo>
                  <a:pt x="329" y="24"/>
                  <a:pt x="323" y="27"/>
                  <a:pt x="320" y="30"/>
                </a:cubicBezTo>
                <a:cubicBezTo>
                  <a:pt x="317" y="34"/>
                  <a:pt x="314" y="37"/>
                  <a:pt x="312" y="40"/>
                </a:cubicBezTo>
                <a:cubicBezTo>
                  <a:pt x="309" y="43"/>
                  <a:pt x="307" y="45"/>
                  <a:pt x="304" y="45"/>
                </a:cubicBezTo>
                <a:cubicBezTo>
                  <a:pt x="303" y="55"/>
                  <a:pt x="304" y="63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70"/>
                  <a:pt x="305" y="70"/>
                </a:cubicBezTo>
                <a:cubicBezTo>
                  <a:pt x="310" y="75"/>
                  <a:pt x="313" y="81"/>
                  <a:pt x="314" y="87"/>
                </a:cubicBezTo>
                <a:cubicBezTo>
                  <a:pt x="315" y="92"/>
                  <a:pt x="316" y="99"/>
                  <a:pt x="318" y="109"/>
                </a:cubicBezTo>
                <a:cubicBezTo>
                  <a:pt x="318" y="110"/>
                  <a:pt x="320" y="117"/>
                  <a:pt x="323" y="131"/>
                </a:cubicBezTo>
                <a:cubicBezTo>
                  <a:pt x="325" y="145"/>
                  <a:pt x="327" y="153"/>
                  <a:pt x="327" y="155"/>
                </a:cubicBezTo>
                <a:cubicBezTo>
                  <a:pt x="326" y="157"/>
                  <a:pt x="322" y="163"/>
                  <a:pt x="314" y="173"/>
                </a:cubicBezTo>
                <a:cubicBezTo>
                  <a:pt x="309" y="178"/>
                  <a:pt x="307" y="181"/>
                  <a:pt x="307" y="182"/>
                </a:cubicBezTo>
                <a:cubicBezTo>
                  <a:pt x="301" y="185"/>
                  <a:pt x="298" y="187"/>
                  <a:pt x="298" y="188"/>
                </a:cubicBezTo>
                <a:cubicBezTo>
                  <a:pt x="293" y="195"/>
                  <a:pt x="288" y="200"/>
                  <a:pt x="282" y="203"/>
                </a:cubicBezTo>
                <a:cubicBezTo>
                  <a:pt x="280" y="204"/>
                  <a:pt x="277" y="205"/>
                  <a:pt x="271" y="206"/>
                </a:cubicBezTo>
                <a:cubicBezTo>
                  <a:pt x="264" y="208"/>
                  <a:pt x="260" y="209"/>
                  <a:pt x="258" y="209"/>
                </a:cubicBezTo>
                <a:cubicBezTo>
                  <a:pt x="255" y="208"/>
                  <a:pt x="251" y="207"/>
                  <a:pt x="246" y="203"/>
                </a:cubicBezTo>
                <a:cubicBezTo>
                  <a:pt x="242" y="200"/>
                  <a:pt x="238" y="198"/>
                  <a:pt x="234" y="197"/>
                </a:cubicBezTo>
                <a:cubicBezTo>
                  <a:pt x="229" y="198"/>
                  <a:pt x="226" y="198"/>
                  <a:pt x="225" y="198"/>
                </a:cubicBezTo>
                <a:cubicBezTo>
                  <a:pt x="223" y="198"/>
                  <a:pt x="219" y="193"/>
                  <a:pt x="214" y="184"/>
                </a:cubicBezTo>
                <a:cubicBezTo>
                  <a:pt x="208" y="176"/>
                  <a:pt x="206" y="171"/>
                  <a:pt x="205" y="169"/>
                </a:cubicBezTo>
                <a:cubicBezTo>
                  <a:pt x="205" y="161"/>
                  <a:pt x="203" y="155"/>
                  <a:pt x="201" y="151"/>
                </a:cubicBezTo>
                <a:cubicBezTo>
                  <a:pt x="198" y="146"/>
                  <a:pt x="193" y="142"/>
                  <a:pt x="187" y="138"/>
                </a:cubicBezTo>
                <a:cubicBezTo>
                  <a:pt x="185" y="137"/>
                  <a:pt x="181" y="133"/>
                  <a:pt x="175" y="125"/>
                </a:cubicBezTo>
                <a:cubicBezTo>
                  <a:pt x="173" y="123"/>
                  <a:pt x="168" y="119"/>
                  <a:pt x="160" y="113"/>
                </a:cubicBezTo>
                <a:cubicBezTo>
                  <a:pt x="154" y="108"/>
                  <a:pt x="149" y="101"/>
                  <a:pt x="146" y="92"/>
                </a:cubicBezTo>
                <a:cubicBezTo>
                  <a:pt x="144" y="84"/>
                  <a:pt x="142" y="80"/>
                  <a:pt x="141" y="79"/>
                </a:cubicBezTo>
                <a:cubicBezTo>
                  <a:pt x="139" y="79"/>
                  <a:pt x="134" y="82"/>
                  <a:pt x="126" y="87"/>
                </a:cubicBezTo>
                <a:cubicBezTo>
                  <a:pt x="116" y="93"/>
                  <a:pt x="110" y="97"/>
                  <a:pt x="107" y="99"/>
                </a:cubicBezTo>
                <a:cubicBezTo>
                  <a:pt x="105" y="100"/>
                  <a:pt x="103" y="102"/>
                  <a:pt x="99" y="106"/>
                </a:cubicBezTo>
                <a:cubicBezTo>
                  <a:pt x="96" y="108"/>
                  <a:pt x="93" y="110"/>
                  <a:pt x="91" y="110"/>
                </a:cubicBezTo>
                <a:cubicBezTo>
                  <a:pt x="80" y="113"/>
                  <a:pt x="73" y="114"/>
                  <a:pt x="68" y="114"/>
                </a:cubicBezTo>
                <a:cubicBezTo>
                  <a:pt x="64" y="113"/>
                  <a:pt x="61" y="116"/>
                  <a:pt x="57" y="122"/>
                </a:cubicBezTo>
                <a:cubicBezTo>
                  <a:pt x="55" y="126"/>
                  <a:pt x="53" y="132"/>
                  <a:pt x="49" y="140"/>
                </a:cubicBezTo>
                <a:cubicBezTo>
                  <a:pt x="39" y="159"/>
                  <a:pt x="34" y="170"/>
                  <a:pt x="34" y="170"/>
                </a:cubicBezTo>
                <a:cubicBezTo>
                  <a:pt x="34" y="173"/>
                  <a:pt x="34" y="179"/>
                  <a:pt x="36" y="189"/>
                </a:cubicBezTo>
                <a:cubicBezTo>
                  <a:pt x="37" y="199"/>
                  <a:pt x="38" y="205"/>
                  <a:pt x="38" y="207"/>
                </a:cubicBezTo>
                <a:cubicBezTo>
                  <a:pt x="37" y="213"/>
                  <a:pt x="34" y="219"/>
                  <a:pt x="28" y="228"/>
                </a:cubicBezTo>
                <a:cubicBezTo>
                  <a:pt x="23" y="235"/>
                  <a:pt x="19" y="240"/>
                  <a:pt x="15" y="244"/>
                </a:cubicBezTo>
                <a:cubicBezTo>
                  <a:pt x="14" y="244"/>
                  <a:pt x="13" y="245"/>
                  <a:pt x="12" y="246"/>
                </a:cubicBezTo>
                <a:cubicBezTo>
                  <a:pt x="10" y="246"/>
                  <a:pt x="8" y="248"/>
                  <a:pt x="7" y="251"/>
                </a:cubicBezTo>
                <a:cubicBezTo>
                  <a:pt x="5" y="253"/>
                  <a:pt x="5" y="256"/>
                  <a:pt x="6" y="260"/>
                </a:cubicBezTo>
                <a:cubicBezTo>
                  <a:pt x="7" y="264"/>
                  <a:pt x="7" y="267"/>
                  <a:pt x="7" y="270"/>
                </a:cubicBezTo>
                <a:cubicBezTo>
                  <a:pt x="7" y="274"/>
                  <a:pt x="6" y="281"/>
                  <a:pt x="6" y="290"/>
                </a:cubicBezTo>
                <a:cubicBezTo>
                  <a:pt x="5" y="291"/>
                  <a:pt x="5" y="293"/>
                  <a:pt x="4" y="297"/>
                </a:cubicBezTo>
                <a:cubicBezTo>
                  <a:pt x="4" y="298"/>
                  <a:pt x="4" y="300"/>
                  <a:pt x="5" y="302"/>
                </a:cubicBezTo>
                <a:cubicBezTo>
                  <a:pt x="6" y="305"/>
                  <a:pt x="6" y="306"/>
                  <a:pt x="6" y="308"/>
                </a:cubicBezTo>
                <a:cubicBezTo>
                  <a:pt x="5" y="311"/>
                  <a:pt x="6" y="314"/>
                  <a:pt x="8" y="318"/>
                </a:cubicBezTo>
                <a:cubicBezTo>
                  <a:pt x="8" y="318"/>
                  <a:pt x="7" y="320"/>
                  <a:pt x="6" y="321"/>
                </a:cubicBezTo>
                <a:cubicBezTo>
                  <a:pt x="5" y="323"/>
                  <a:pt x="4" y="324"/>
                  <a:pt x="4" y="326"/>
                </a:cubicBezTo>
                <a:cubicBezTo>
                  <a:pt x="2" y="329"/>
                  <a:pt x="1" y="332"/>
                  <a:pt x="1" y="334"/>
                </a:cubicBezTo>
                <a:cubicBezTo>
                  <a:pt x="0" y="336"/>
                  <a:pt x="1" y="339"/>
                  <a:pt x="2" y="344"/>
                </a:cubicBezTo>
                <a:cubicBezTo>
                  <a:pt x="3" y="349"/>
                  <a:pt x="3" y="352"/>
                  <a:pt x="3" y="355"/>
                </a:cubicBezTo>
                <a:cubicBezTo>
                  <a:pt x="3" y="356"/>
                  <a:pt x="2" y="358"/>
                  <a:pt x="1" y="363"/>
                </a:cubicBezTo>
                <a:cubicBezTo>
                  <a:pt x="1" y="364"/>
                  <a:pt x="3" y="369"/>
                  <a:pt x="8" y="377"/>
                </a:cubicBezTo>
                <a:cubicBezTo>
                  <a:pt x="9" y="379"/>
                  <a:pt x="10" y="382"/>
                  <a:pt x="11" y="386"/>
                </a:cubicBezTo>
                <a:cubicBezTo>
                  <a:pt x="13" y="385"/>
                  <a:pt x="17" y="385"/>
                  <a:pt x="21" y="384"/>
                </a:cubicBezTo>
                <a:cubicBezTo>
                  <a:pt x="24" y="384"/>
                  <a:pt x="27" y="380"/>
                  <a:pt x="30" y="372"/>
                </a:cubicBezTo>
                <a:cubicBezTo>
                  <a:pt x="31" y="367"/>
                  <a:pt x="34" y="362"/>
                  <a:pt x="39" y="359"/>
                </a:cubicBezTo>
                <a:cubicBezTo>
                  <a:pt x="41" y="357"/>
                  <a:pt x="46" y="354"/>
                  <a:pt x="53" y="349"/>
                </a:cubicBezTo>
                <a:cubicBezTo>
                  <a:pt x="54" y="348"/>
                  <a:pt x="56" y="347"/>
                  <a:pt x="59" y="344"/>
                </a:cubicBezTo>
                <a:cubicBezTo>
                  <a:pt x="61" y="342"/>
                  <a:pt x="63" y="341"/>
                  <a:pt x="66" y="341"/>
                </a:cubicBezTo>
                <a:cubicBezTo>
                  <a:pt x="74" y="341"/>
                  <a:pt x="80" y="339"/>
                  <a:pt x="83" y="335"/>
                </a:cubicBezTo>
                <a:cubicBezTo>
                  <a:pt x="85" y="333"/>
                  <a:pt x="89" y="330"/>
                  <a:pt x="98" y="326"/>
                </a:cubicBezTo>
                <a:cubicBezTo>
                  <a:pt x="107" y="322"/>
                  <a:pt x="113" y="320"/>
                  <a:pt x="116" y="320"/>
                </a:cubicBezTo>
                <a:cubicBezTo>
                  <a:pt x="118" y="320"/>
                  <a:pt x="121" y="321"/>
                  <a:pt x="125" y="322"/>
                </a:cubicBezTo>
                <a:cubicBezTo>
                  <a:pt x="128" y="323"/>
                  <a:pt x="131" y="322"/>
                  <a:pt x="134" y="321"/>
                </a:cubicBezTo>
                <a:cubicBezTo>
                  <a:pt x="137" y="321"/>
                  <a:pt x="139" y="320"/>
                  <a:pt x="141" y="320"/>
                </a:cubicBezTo>
                <a:cubicBezTo>
                  <a:pt x="145" y="321"/>
                  <a:pt x="150" y="321"/>
                  <a:pt x="156" y="321"/>
                </a:cubicBezTo>
                <a:cubicBezTo>
                  <a:pt x="157" y="321"/>
                  <a:pt x="157" y="321"/>
                  <a:pt x="158" y="321"/>
                </a:cubicBezTo>
                <a:cubicBezTo>
                  <a:pt x="161" y="322"/>
                  <a:pt x="165" y="323"/>
                  <a:pt x="172" y="325"/>
                </a:cubicBezTo>
                <a:cubicBezTo>
                  <a:pt x="174" y="325"/>
                  <a:pt x="177" y="324"/>
                  <a:pt x="181" y="320"/>
                </a:cubicBezTo>
                <a:cubicBezTo>
                  <a:pt x="185" y="317"/>
                  <a:pt x="189" y="316"/>
                  <a:pt x="191" y="316"/>
                </a:cubicBezTo>
                <a:cubicBezTo>
                  <a:pt x="193" y="316"/>
                  <a:pt x="196" y="319"/>
                  <a:pt x="200" y="324"/>
                </a:cubicBezTo>
                <a:cubicBezTo>
                  <a:pt x="205" y="329"/>
                  <a:pt x="207" y="332"/>
                  <a:pt x="207" y="332"/>
                </a:cubicBezTo>
                <a:cubicBezTo>
                  <a:pt x="210" y="332"/>
                  <a:pt x="217" y="328"/>
                  <a:pt x="229" y="319"/>
                </a:cubicBezTo>
                <a:cubicBezTo>
                  <a:pt x="231" y="319"/>
                  <a:pt x="237" y="321"/>
                  <a:pt x="249" y="325"/>
                </a:cubicBezTo>
                <a:cubicBezTo>
                  <a:pt x="254" y="326"/>
                  <a:pt x="257" y="324"/>
                  <a:pt x="260" y="321"/>
                </a:cubicBezTo>
                <a:cubicBezTo>
                  <a:pt x="263" y="318"/>
                  <a:pt x="267" y="317"/>
                  <a:pt x="271" y="317"/>
                </a:cubicBezTo>
                <a:cubicBezTo>
                  <a:pt x="277" y="318"/>
                  <a:pt x="285" y="319"/>
                  <a:pt x="294" y="321"/>
                </a:cubicBezTo>
                <a:cubicBezTo>
                  <a:pt x="298" y="322"/>
                  <a:pt x="302" y="324"/>
                  <a:pt x="304" y="326"/>
                </a:cubicBezTo>
                <a:cubicBezTo>
                  <a:pt x="307" y="328"/>
                  <a:pt x="310" y="329"/>
                  <a:pt x="313" y="329"/>
                </a:cubicBezTo>
                <a:cubicBezTo>
                  <a:pt x="317" y="330"/>
                  <a:pt x="321" y="329"/>
                  <a:pt x="326" y="326"/>
                </a:cubicBezTo>
                <a:cubicBezTo>
                  <a:pt x="330" y="323"/>
                  <a:pt x="333" y="321"/>
                  <a:pt x="337" y="322"/>
                </a:cubicBezTo>
                <a:cubicBezTo>
                  <a:pt x="339" y="322"/>
                  <a:pt x="343" y="323"/>
                  <a:pt x="347" y="324"/>
                </a:cubicBezTo>
                <a:cubicBezTo>
                  <a:pt x="352" y="325"/>
                  <a:pt x="355" y="322"/>
                  <a:pt x="357" y="316"/>
                </a:cubicBezTo>
                <a:cubicBezTo>
                  <a:pt x="358" y="314"/>
                  <a:pt x="360" y="310"/>
                  <a:pt x="365" y="306"/>
                </a:cubicBezTo>
                <a:cubicBezTo>
                  <a:pt x="373" y="298"/>
                  <a:pt x="380" y="294"/>
                  <a:pt x="387" y="295"/>
                </a:cubicBezTo>
                <a:cubicBezTo>
                  <a:pt x="390" y="295"/>
                  <a:pt x="396" y="304"/>
                  <a:pt x="404" y="321"/>
                </a:cubicBezTo>
                <a:cubicBezTo>
                  <a:pt x="407" y="327"/>
                  <a:pt x="409" y="329"/>
                  <a:pt x="409" y="329"/>
                </a:cubicBezTo>
                <a:cubicBezTo>
                  <a:pt x="410" y="331"/>
                  <a:pt x="413" y="332"/>
                  <a:pt x="416" y="332"/>
                </a:cubicBezTo>
                <a:cubicBezTo>
                  <a:pt x="424" y="333"/>
                  <a:pt x="430" y="334"/>
                  <a:pt x="433" y="336"/>
                </a:cubicBezTo>
                <a:cubicBezTo>
                  <a:pt x="433" y="336"/>
                  <a:pt x="433" y="336"/>
                  <a:pt x="434" y="336"/>
                </a:cubicBezTo>
                <a:cubicBezTo>
                  <a:pt x="435" y="336"/>
                  <a:pt x="437" y="337"/>
                  <a:pt x="440" y="337"/>
                </a:cubicBezTo>
                <a:cubicBezTo>
                  <a:pt x="445" y="338"/>
                  <a:pt x="448" y="337"/>
                  <a:pt x="449" y="335"/>
                </a:cubicBezTo>
                <a:cubicBezTo>
                  <a:pt x="453" y="336"/>
                  <a:pt x="458" y="338"/>
                  <a:pt x="466" y="339"/>
                </a:cubicBezTo>
                <a:cubicBezTo>
                  <a:pt x="472" y="341"/>
                  <a:pt x="477" y="344"/>
                  <a:pt x="479" y="348"/>
                </a:cubicBezTo>
                <a:cubicBezTo>
                  <a:pt x="483" y="356"/>
                  <a:pt x="491" y="362"/>
                  <a:pt x="502" y="367"/>
                </a:cubicBezTo>
                <a:cubicBezTo>
                  <a:pt x="508" y="369"/>
                  <a:pt x="517" y="375"/>
                  <a:pt x="529" y="385"/>
                </a:cubicBezTo>
                <a:cubicBezTo>
                  <a:pt x="529" y="386"/>
                  <a:pt x="533" y="390"/>
                  <a:pt x="539" y="398"/>
                </a:cubicBezTo>
                <a:cubicBezTo>
                  <a:pt x="542" y="402"/>
                  <a:pt x="547" y="404"/>
                  <a:pt x="553" y="405"/>
                </a:cubicBezTo>
                <a:cubicBezTo>
                  <a:pt x="562" y="406"/>
                  <a:pt x="568" y="407"/>
                  <a:pt x="571" y="408"/>
                </a:cubicBezTo>
                <a:lnTo>
                  <a:pt x="571" y="408"/>
                </a:lnTo>
                <a:cubicBezTo>
                  <a:pt x="571" y="408"/>
                  <a:pt x="572" y="407"/>
                  <a:pt x="572" y="406"/>
                </a:cubicBezTo>
                <a:cubicBezTo>
                  <a:pt x="575" y="403"/>
                  <a:pt x="578" y="401"/>
                  <a:pt x="581" y="401"/>
                </a:cubicBezTo>
                <a:cubicBezTo>
                  <a:pt x="584" y="401"/>
                  <a:pt x="587" y="401"/>
                  <a:pt x="591" y="399"/>
                </a:cubicBezTo>
                <a:cubicBezTo>
                  <a:pt x="595" y="398"/>
                  <a:pt x="597" y="396"/>
                  <a:pt x="598" y="395"/>
                </a:cubicBezTo>
                <a:cubicBezTo>
                  <a:pt x="598" y="393"/>
                  <a:pt x="599" y="390"/>
                  <a:pt x="600" y="385"/>
                </a:cubicBezTo>
                <a:cubicBezTo>
                  <a:pt x="601" y="382"/>
                  <a:pt x="602" y="379"/>
                  <a:pt x="604" y="377"/>
                </a:cubicBezTo>
                <a:cubicBezTo>
                  <a:pt x="608" y="372"/>
                  <a:pt x="613" y="369"/>
                  <a:pt x="619" y="370"/>
                </a:cubicBezTo>
                <a:cubicBezTo>
                  <a:pt x="621" y="370"/>
                  <a:pt x="624" y="372"/>
                  <a:pt x="628" y="374"/>
                </a:cubicBezTo>
                <a:cubicBezTo>
                  <a:pt x="632" y="376"/>
                  <a:pt x="634" y="378"/>
                  <a:pt x="636" y="378"/>
                </a:cubicBezTo>
                <a:cubicBezTo>
                  <a:pt x="637" y="378"/>
                  <a:pt x="639" y="377"/>
                  <a:pt x="641" y="374"/>
                </a:cubicBezTo>
                <a:cubicBezTo>
                  <a:pt x="642" y="372"/>
                  <a:pt x="645" y="370"/>
                  <a:pt x="648" y="371"/>
                </a:cubicBezTo>
                <a:cubicBezTo>
                  <a:pt x="657" y="373"/>
                  <a:pt x="663" y="374"/>
                  <a:pt x="663" y="374"/>
                </a:cubicBezTo>
                <a:cubicBezTo>
                  <a:pt x="665" y="374"/>
                  <a:pt x="667" y="371"/>
                  <a:pt x="668" y="364"/>
                </a:cubicBezTo>
                <a:cubicBezTo>
                  <a:pt x="668" y="357"/>
                  <a:pt x="669" y="353"/>
                  <a:pt x="669" y="352"/>
                </a:cubicBezTo>
                <a:cubicBezTo>
                  <a:pt x="670" y="348"/>
                  <a:pt x="672" y="345"/>
                  <a:pt x="675" y="342"/>
                </a:cubicBezTo>
                <a:cubicBezTo>
                  <a:pt x="679" y="338"/>
                  <a:pt x="682" y="335"/>
                  <a:pt x="682" y="335"/>
                </a:cubicBezTo>
                <a:cubicBezTo>
                  <a:pt x="685" y="331"/>
                  <a:pt x="688" y="325"/>
                  <a:pt x="692" y="316"/>
                </a:cubicBezTo>
                <a:cubicBezTo>
                  <a:pt x="695" y="309"/>
                  <a:pt x="700" y="306"/>
                  <a:pt x="706" y="304"/>
                </a:cubicBezTo>
                <a:cubicBezTo>
                  <a:pt x="707" y="304"/>
                  <a:pt x="707" y="304"/>
                  <a:pt x="708" y="304"/>
                </a:cubicBezTo>
                <a:cubicBezTo>
                  <a:pt x="713" y="303"/>
                  <a:pt x="716" y="301"/>
                  <a:pt x="716" y="300"/>
                </a:cubicBezTo>
                <a:cubicBezTo>
                  <a:pt x="716" y="299"/>
                  <a:pt x="716" y="298"/>
                  <a:pt x="716" y="298"/>
                </a:cubicBezTo>
                <a:cubicBezTo>
                  <a:pt x="718" y="293"/>
                  <a:pt x="718" y="290"/>
                  <a:pt x="719" y="288"/>
                </a:cubicBezTo>
                <a:cubicBezTo>
                  <a:pt x="718" y="283"/>
                  <a:pt x="718" y="280"/>
                  <a:pt x="718" y="278"/>
                </a:cubicBezTo>
                <a:cubicBezTo>
                  <a:pt x="719" y="277"/>
                  <a:pt x="720" y="276"/>
                  <a:pt x="720" y="275"/>
                </a:cubicBezTo>
                <a:cubicBezTo>
                  <a:pt x="713" y="261"/>
                  <a:pt x="708" y="252"/>
                  <a:pt x="706" y="248"/>
                </a:cubicBezTo>
                <a:cubicBezTo>
                  <a:pt x="706" y="248"/>
                  <a:pt x="704" y="243"/>
                  <a:pt x="701" y="234"/>
                </a:cubicBezTo>
                <a:cubicBezTo>
                  <a:pt x="699" y="230"/>
                  <a:pt x="696" y="227"/>
                  <a:pt x="692" y="226"/>
                </a:cubicBezTo>
                <a:cubicBezTo>
                  <a:pt x="689" y="225"/>
                  <a:pt x="686" y="222"/>
                  <a:pt x="685" y="215"/>
                </a:cubicBezTo>
                <a:cubicBezTo>
                  <a:pt x="684" y="208"/>
                  <a:pt x="682" y="205"/>
                  <a:pt x="678" y="204"/>
                </a:cubicBezTo>
                <a:cubicBezTo>
                  <a:pt x="675" y="203"/>
                  <a:pt x="674" y="201"/>
                  <a:pt x="674" y="197"/>
                </a:cubicBezTo>
                <a:cubicBezTo>
                  <a:pt x="674" y="193"/>
                  <a:pt x="674" y="190"/>
                  <a:pt x="674" y="190"/>
                </a:cubicBezTo>
                <a:cubicBezTo>
                  <a:pt x="673" y="189"/>
                  <a:pt x="672" y="187"/>
                  <a:pt x="670" y="185"/>
                </a:cubicBezTo>
                <a:cubicBezTo>
                  <a:pt x="668" y="183"/>
                  <a:pt x="666" y="181"/>
                  <a:pt x="666" y="180"/>
                </a:cubicBezTo>
                <a:cubicBezTo>
                  <a:pt x="663" y="179"/>
                  <a:pt x="662" y="179"/>
                  <a:pt x="662" y="179"/>
                </a:cubicBezTo>
                <a:cubicBezTo>
                  <a:pt x="658" y="182"/>
                  <a:pt x="655" y="183"/>
                  <a:pt x="653" y="183"/>
                </a:cubicBezTo>
                <a:cubicBezTo>
                  <a:pt x="650" y="182"/>
                  <a:pt x="649" y="180"/>
                  <a:pt x="650" y="174"/>
                </a:cubicBezTo>
                <a:cubicBezTo>
                  <a:pt x="653" y="158"/>
                  <a:pt x="655" y="149"/>
                  <a:pt x="655" y="148"/>
                </a:cubicBezTo>
                <a:cubicBezTo>
                  <a:pt x="655" y="147"/>
                  <a:pt x="654" y="146"/>
                  <a:pt x="653" y="145"/>
                </a:cubicBezTo>
                <a:cubicBezTo>
                  <a:pt x="652" y="143"/>
                  <a:pt x="651" y="142"/>
                  <a:pt x="650" y="141"/>
                </a:cubicBezTo>
                <a:cubicBezTo>
                  <a:pt x="649" y="138"/>
                  <a:pt x="649" y="135"/>
                  <a:pt x="650" y="131"/>
                </a:cubicBezTo>
                <a:cubicBezTo>
                  <a:pt x="650" y="131"/>
                  <a:pt x="651" y="129"/>
                  <a:pt x="654" y="129"/>
                </a:cubicBezTo>
                <a:cubicBezTo>
                  <a:pt x="657" y="129"/>
                  <a:pt x="659" y="127"/>
                  <a:pt x="659" y="124"/>
                </a:cubicBezTo>
                <a:cubicBezTo>
                  <a:pt x="658" y="113"/>
                  <a:pt x="656" y="107"/>
                  <a:pt x="655" y="105"/>
                </a:cubicBezTo>
                <a:cubicBezTo>
                  <a:pt x="652" y="102"/>
                  <a:pt x="647" y="99"/>
                  <a:pt x="640" y="95"/>
                </a:cubicBezTo>
                <a:cubicBezTo>
                  <a:pt x="635" y="93"/>
                  <a:pt x="629" y="89"/>
                  <a:pt x="623" y="85"/>
                </a:cubicBezTo>
                <a:cubicBezTo>
                  <a:pt x="621" y="83"/>
                  <a:pt x="620" y="80"/>
                  <a:pt x="619" y="75"/>
                </a:cubicBezTo>
                <a:cubicBezTo>
                  <a:pt x="618" y="74"/>
                  <a:pt x="618" y="72"/>
                  <a:pt x="617" y="72"/>
                </a:cubicBezTo>
                <a:cubicBezTo>
                  <a:pt x="617" y="71"/>
                  <a:pt x="617" y="71"/>
                  <a:pt x="617" y="71"/>
                </a:cubicBezTo>
                <a:cubicBezTo>
                  <a:pt x="612" y="69"/>
                  <a:pt x="606" y="68"/>
                  <a:pt x="600" y="67"/>
                </a:cubicBezTo>
                <a:lnTo>
                  <a:pt x="600" y="6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" name="Freeform 238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" name="Freeform 239"/>
          <p:cNvSpPr/>
          <p:nvPr/>
        </p:nvSpPr>
        <p:spPr bwMode="auto">
          <a:xfrm>
            <a:off x="9866529" y="5303590"/>
            <a:ext cx="237574" cy="265524"/>
          </a:xfrm>
          <a:custGeom>
            <a:avLst/>
            <a:gdLst>
              <a:gd name="T0" fmla="*/ 168 w 228"/>
              <a:gd name="T1" fmla="*/ 66 h 254"/>
              <a:gd name="T2" fmla="*/ 147 w 228"/>
              <a:gd name="T3" fmla="*/ 40 h 254"/>
              <a:gd name="T4" fmla="*/ 118 w 228"/>
              <a:gd name="T5" fmla="*/ 24 h 254"/>
              <a:gd name="T6" fmla="*/ 105 w 228"/>
              <a:gd name="T7" fmla="*/ 5 h 254"/>
              <a:gd name="T8" fmla="*/ 97 w 228"/>
              <a:gd name="T9" fmla="*/ 0 h 254"/>
              <a:gd name="T10" fmla="*/ 73 w 228"/>
              <a:gd name="T11" fmla="*/ 23 h 254"/>
              <a:gd name="T12" fmla="*/ 76 w 228"/>
              <a:gd name="T13" fmla="*/ 38 h 254"/>
              <a:gd name="T14" fmla="*/ 66 w 228"/>
              <a:gd name="T15" fmla="*/ 48 h 254"/>
              <a:gd name="T16" fmla="*/ 53 w 228"/>
              <a:gd name="T17" fmla="*/ 61 h 254"/>
              <a:gd name="T18" fmla="*/ 61 w 228"/>
              <a:gd name="T19" fmla="*/ 72 h 254"/>
              <a:gd name="T20" fmla="*/ 44 w 228"/>
              <a:gd name="T21" fmla="*/ 78 h 254"/>
              <a:gd name="T22" fmla="*/ 41 w 228"/>
              <a:gd name="T23" fmla="*/ 79 h 254"/>
              <a:gd name="T24" fmla="*/ 41 w 228"/>
              <a:gd name="T25" fmla="*/ 79 h 254"/>
              <a:gd name="T26" fmla="*/ 23 w 228"/>
              <a:gd name="T27" fmla="*/ 93 h 254"/>
              <a:gd name="T28" fmla="*/ 15 w 228"/>
              <a:gd name="T29" fmla="*/ 93 h 254"/>
              <a:gd name="T30" fmla="*/ 3 w 228"/>
              <a:gd name="T31" fmla="*/ 94 h 254"/>
              <a:gd name="T32" fmla="*/ 6 w 228"/>
              <a:gd name="T33" fmla="*/ 106 h 254"/>
              <a:gd name="T34" fmla="*/ 9 w 228"/>
              <a:gd name="T35" fmla="*/ 117 h 254"/>
              <a:gd name="T36" fmla="*/ 7 w 228"/>
              <a:gd name="T37" fmla="*/ 126 h 254"/>
              <a:gd name="T38" fmla="*/ 11 w 228"/>
              <a:gd name="T39" fmla="*/ 134 h 254"/>
              <a:gd name="T40" fmla="*/ 15 w 228"/>
              <a:gd name="T41" fmla="*/ 137 h 254"/>
              <a:gd name="T42" fmla="*/ 14 w 228"/>
              <a:gd name="T43" fmla="*/ 138 h 254"/>
              <a:gd name="T44" fmla="*/ 29 w 228"/>
              <a:gd name="T45" fmla="*/ 169 h 254"/>
              <a:gd name="T46" fmla="*/ 48 w 228"/>
              <a:gd name="T47" fmla="*/ 177 h 254"/>
              <a:gd name="T48" fmla="*/ 77 w 228"/>
              <a:gd name="T49" fmla="*/ 220 h 254"/>
              <a:gd name="T50" fmla="*/ 85 w 228"/>
              <a:gd name="T51" fmla="*/ 234 h 254"/>
              <a:gd name="T52" fmla="*/ 76 w 228"/>
              <a:gd name="T53" fmla="*/ 253 h 254"/>
              <a:gd name="T54" fmla="*/ 104 w 228"/>
              <a:gd name="T55" fmla="*/ 245 h 254"/>
              <a:gd name="T56" fmla="*/ 99 w 228"/>
              <a:gd name="T57" fmla="*/ 231 h 254"/>
              <a:gd name="T58" fmla="*/ 132 w 228"/>
              <a:gd name="T59" fmla="*/ 199 h 254"/>
              <a:gd name="T60" fmla="*/ 148 w 228"/>
              <a:gd name="T61" fmla="*/ 192 h 254"/>
              <a:gd name="T62" fmla="*/ 172 w 228"/>
              <a:gd name="T63" fmla="*/ 206 h 254"/>
              <a:gd name="T64" fmla="*/ 190 w 228"/>
              <a:gd name="T65" fmla="*/ 183 h 254"/>
              <a:gd name="T66" fmla="*/ 198 w 228"/>
              <a:gd name="T67" fmla="*/ 175 h 254"/>
              <a:gd name="T68" fmla="*/ 209 w 228"/>
              <a:gd name="T69" fmla="*/ 170 h 254"/>
              <a:gd name="T70" fmla="*/ 199 w 228"/>
              <a:gd name="T71" fmla="*/ 158 h 254"/>
              <a:gd name="T72" fmla="*/ 211 w 228"/>
              <a:gd name="T73" fmla="*/ 141 h 254"/>
              <a:gd name="T74" fmla="*/ 225 w 228"/>
              <a:gd name="T75" fmla="*/ 125 h 254"/>
              <a:gd name="T76" fmla="*/ 223 w 228"/>
              <a:gd name="T77" fmla="*/ 112 h 254"/>
              <a:gd name="T78" fmla="*/ 227 w 228"/>
              <a:gd name="T79" fmla="*/ 103 h 254"/>
              <a:gd name="T80" fmla="*/ 222 w 228"/>
              <a:gd name="T81" fmla="*/ 93 h 254"/>
              <a:gd name="T82" fmla="*/ 210 w 228"/>
              <a:gd name="T83" fmla="*/ 98 h 254"/>
              <a:gd name="T84" fmla="*/ 192 w 228"/>
              <a:gd name="T85" fmla="*/ 90 h 254"/>
              <a:gd name="T86" fmla="*/ 179 w 228"/>
              <a:gd name="T87" fmla="*/ 79 h 254"/>
              <a:gd name="T88" fmla="*/ 168 w 228"/>
              <a:gd name="T89" fmla="*/ 66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8" h="254">
                <a:moveTo>
                  <a:pt x="168" y="66"/>
                </a:moveTo>
                <a:lnTo>
                  <a:pt x="168" y="66"/>
                </a:lnTo>
                <a:cubicBezTo>
                  <a:pt x="161" y="62"/>
                  <a:pt x="157" y="58"/>
                  <a:pt x="155" y="55"/>
                </a:cubicBezTo>
                <a:cubicBezTo>
                  <a:pt x="155" y="54"/>
                  <a:pt x="152" y="49"/>
                  <a:pt x="147" y="40"/>
                </a:cubicBezTo>
                <a:cubicBezTo>
                  <a:pt x="145" y="34"/>
                  <a:pt x="141" y="30"/>
                  <a:pt x="137" y="28"/>
                </a:cubicBezTo>
                <a:cubicBezTo>
                  <a:pt x="130" y="27"/>
                  <a:pt x="124" y="26"/>
                  <a:pt x="118" y="24"/>
                </a:cubicBezTo>
                <a:cubicBezTo>
                  <a:pt x="107" y="21"/>
                  <a:pt x="101" y="18"/>
                  <a:pt x="102" y="13"/>
                </a:cubicBezTo>
                <a:cubicBezTo>
                  <a:pt x="104" y="10"/>
                  <a:pt x="105" y="7"/>
                  <a:pt x="105" y="5"/>
                </a:cubicBezTo>
                <a:cubicBezTo>
                  <a:pt x="105" y="4"/>
                  <a:pt x="104" y="3"/>
                  <a:pt x="102" y="2"/>
                </a:cubicBezTo>
                <a:cubicBezTo>
                  <a:pt x="100" y="0"/>
                  <a:pt x="98" y="0"/>
                  <a:pt x="97" y="0"/>
                </a:cubicBezTo>
                <a:cubicBezTo>
                  <a:pt x="78" y="10"/>
                  <a:pt x="68" y="15"/>
                  <a:pt x="68" y="15"/>
                </a:cubicBezTo>
                <a:cubicBezTo>
                  <a:pt x="68" y="17"/>
                  <a:pt x="69" y="20"/>
                  <a:pt x="73" y="23"/>
                </a:cubicBezTo>
                <a:cubicBezTo>
                  <a:pt x="78" y="27"/>
                  <a:pt x="81" y="29"/>
                  <a:pt x="81" y="29"/>
                </a:cubicBezTo>
                <a:cubicBezTo>
                  <a:pt x="81" y="30"/>
                  <a:pt x="79" y="33"/>
                  <a:pt x="76" y="38"/>
                </a:cubicBezTo>
                <a:cubicBezTo>
                  <a:pt x="74" y="42"/>
                  <a:pt x="73" y="46"/>
                  <a:pt x="73" y="49"/>
                </a:cubicBezTo>
                <a:lnTo>
                  <a:pt x="66" y="48"/>
                </a:lnTo>
                <a:cubicBezTo>
                  <a:pt x="65" y="53"/>
                  <a:pt x="62" y="55"/>
                  <a:pt x="59" y="55"/>
                </a:cubicBezTo>
                <a:cubicBezTo>
                  <a:pt x="56" y="55"/>
                  <a:pt x="54" y="57"/>
                  <a:pt x="53" y="61"/>
                </a:cubicBezTo>
                <a:cubicBezTo>
                  <a:pt x="53" y="64"/>
                  <a:pt x="54" y="66"/>
                  <a:pt x="55" y="68"/>
                </a:cubicBezTo>
                <a:cubicBezTo>
                  <a:pt x="57" y="69"/>
                  <a:pt x="58" y="70"/>
                  <a:pt x="61" y="72"/>
                </a:cubicBezTo>
                <a:cubicBezTo>
                  <a:pt x="60" y="74"/>
                  <a:pt x="57" y="76"/>
                  <a:pt x="52" y="77"/>
                </a:cubicBezTo>
                <a:cubicBezTo>
                  <a:pt x="49" y="77"/>
                  <a:pt x="46" y="78"/>
                  <a:pt x="44" y="78"/>
                </a:cubicBezTo>
                <a:cubicBezTo>
                  <a:pt x="44" y="79"/>
                  <a:pt x="43" y="79"/>
                  <a:pt x="43" y="79"/>
                </a:cubicBezTo>
                <a:cubicBezTo>
                  <a:pt x="42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41" y="79"/>
                  <a:pt x="41" y="79"/>
                  <a:pt x="41" y="79"/>
                </a:cubicBezTo>
                <a:cubicBezTo>
                  <a:pt x="37" y="81"/>
                  <a:pt x="32" y="82"/>
                  <a:pt x="27" y="83"/>
                </a:cubicBezTo>
                <a:cubicBezTo>
                  <a:pt x="25" y="84"/>
                  <a:pt x="24" y="87"/>
                  <a:pt x="23" y="93"/>
                </a:cubicBezTo>
                <a:cubicBezTo>
                  <a:pt x="23" y="95"/>
                  <a:pt x="22" y="95"/>
                  <a:pt x="20" y="95"/>
                </a:cubicBezTo>
                <a:cubicBezTo>
                  <a:pt x="19" y="95"/>
                  <a:pt x="17" y="94"/>
                  <a:pt x="15" y="93"/>
                </a:cubicBezTo>
                <a:cubicBezTo>
                  <a:pt x="14" y="92"/>
                  <a:pt x="12" y="91"/>
                  <a:pt x="11" y="91"/>
                </a:cubicBezTo>
                <a:cubicBezTo>
                  <a:pt x="8" y="91"/>
                  <a:pt x="5" y="92"/>
                  <a:pt x="3" y="94"/>
                </a:cubicBezTo>
                <a:cubicBezTo>
                  <a:pt x="1" y="96"/>
                  <a:pt x="0" y="97"/>
                  <a:pt x="0" y="99"/>
                </a:cubicBezTo>
                <a:cubicBezTo>
                  <a:pt x="0" y="101"/>
                  <a:pt x="2" y="103"/>
                  <a:pt x="6" y="106"/>
                </a:cubicBezTo>
                <a:cubicBezTo>
                  <a:pt x="10" y="108"/>
                  <a:pt x="12" y="110"/>
                  <a:pt x="11" y="112"/>
                </a:cubicBezTo>
                <a:cubicBezTo>
                  <a:pt x="11" y="113"/>
                  <a:pt x="11" y="114"/>
                  <a:pt x="9" y="117"/>
                </a:cubicBezTo>
                <a:cubicBezTo>
                  <a:pt x="8" y="119"/>
                  <a:pt x="7" y="120"/>
                  <a:pt x="6" y="122"/>
                </a:cubicBezTo>
                <a:cubicBezTo>
                  <a:pt x="6" y="124"/>
                  <a:pt x="7" y="125"/>
                  <a:pt x="7" y="126"/>
                </a:cubicBezTo>
                <a:cubicBezTo>
                  <a:pt x="8" y="127"/>
                  <a:pt x="9" y="128"/>
                  <a:pt x="11" y="130"/>
                </a:cubicBezTo>
                <a:cubicBezTo>
                  <a:pt x="11" y="130"/>
                  <a:pt x="11" y="132"/>
                  <a:pt x="11" y="134"/>
                </a:cubicBezTo>
                <a:cubicBezTo>
                  <a:pt x="12" y="135"/>
                  <a:pt x="12" y="136"/>
                  <a:pt x="12" y="136"/>
                </a:cubicBezTo>
                <a:cubicBezTo>
                  <a:pt x="13" y="137"/>
                  <a:pt x="14" y="137"/>
                  <a:pt x="15" y="137"/>
                </a:cubicBezTo>
                <a:cubicBezTo>
                  <a:pt x="14" y="137"/>
                  <a:pt x="13" y="137"/>
                  <a:pt x="12" y="136"/>
                </a:cubicBezTo>
                <a:cubicBezTo>
                  <a:pt x="13" y="137"/>
                  <a:pt x="13" y="138"/>
                  <a:pt x="14" y="138"/>
                </a:cubicBezTo>
                <a:cubicBezTo>
                  <a:pt x="19" y="144"/>
                  <a:pt x="22" y="149"/>
                  <a:pt x="23" y="153"/>
                </a:cubicBezTo>
                <a:cubicBezTo>
                  <a:pt x="25" y="161"/>
                  <a:pt x="27" y="166"/>
                  <a:pt x="29" y="169"/>
                </a:cubicBezTo>
                <a:cubicBezTo>
                  <a:pt x="31" y="171"/>
                  <a:pt x="33" y="173"/>
                  <a:pt x="37" y="174"/>
                </a:cubicBezTo>
                <a:cubicBezTo>
                  <a:pt x="40" y="175"/>
                  <a:pt x="43" y="176"/>
                  <a:pt x="48" y="177"/>
                </a:cubicBezTo>
                <a:cubicBezTo>
                  <a:pt x="59" y="181"/>
                  <a:pt x="68" y="189"/>
                  <a:pt x="72" y="201"/>
                </a:cubicBezTo>
                <a:lnTo>
                  <a:pt x="77" y="220"/>
                </a:lnTo>
                <a:cubicBezTo>
                  <a:pt x="78" y="221"/>
                  <a:pt x="80" y="223"/>
                  <a:pt x="81" y="226"/>
                </a:cubicBezTo>
                <a:cubicBezTo>
                  <a:pt x="84" y="229"/>
                  <a:pt x="85" y="232"/>
                  <a:pt x="85" y="234"/>
                </a:cubicBezTo>
                <a:cubicBezTo>
                  <a:pt x="85" y="235"/>
                  <a:pt x="83" y="238"/>
                  <a:pt x="78" y="246"/>
                </a:cubicBezTo>
                <a:cubicBezTo>
                  <a:pt x="77" y="248"/>
                  <a:pt x="77" y="250"/>
                  <a:pt x="76" y="253"/>
                </a:cubicBezTo>
                <a:cubicBezTo>
                  <a:pt x="84" y="254"/>
                  <a:pt x="89" y="254"/>
                  <a:pt x="91" y="254"/>
                </a:cubicBezTo>
                <a:cubicBezTo>
                  <a:pt x="99" y="253"/>
                  <a:pt x="104" y="250"/>
                  <a:pt x="104" y="245"/>
                </a:cubicBezTo>
                <a:cubicBezTo>
                  <a:pt x="104" y="244"/>
                  <a:pt x="103" y="242"/>
                  <a:pt x="101" y="238"/>
                </a:cubicBezTo>
                <a:cubicBezTo>
                  <a:pt x="99" y="235"/>
                  <a:pt x="98" y="233"/>
                  <a:pt x="99" y="231"/>
                </a:cubicBezTo>
                <a:cubicBezTo>
                  <a:pt x="100" y="217"/>
                  <a:pt x="106" y="209"/>
                  <a:pt x="117" y="205"/>
                </a:cubicBezTo>
                <a:cubicBezTo>
                  <a:pt x="120" y="204"/>
                  <a:pt x="125" y="202"/>
                  <a:pt x="132" y="199"/>
                </a:cubicBezTo>
                <a:cubicBezTo>
                  <a:pt x="135" y="198"/>
                  <a:pt x="137" y="197"/>
                  <a:pt x="141" y="194"/>
                </a:cubicBezTo>
                <a:cubicBezTo>
                  <a:pt x="143" y="192"/>
                  <a:pt x="146" y="191"/>
                  <a:pt x="148" y="192"/>
                </a:cubicBezTo>
                <a:cubicBezTo>
                  <a:pt x="149" y="192"/>
                  <a:pt x="153" y="194"/>
                  <a:pt x="160" y="199"/>
                </a:cubicBezTo>
                <a:cubicBezTo>
                  <a:pt x="167" y="204"/>
                  <a:pt x="171" y="206"/>
                  <a:pt x="172" y="206"/>
                </a:cubicBezTo>
                <a:cubicBezTo>
                  <a:pt x="173" y="192"/>
                  <a:pt x="175" y="185"/>
                  <a:pt x="179" y="184"/>
                </a:cubicBezTo>
                <a:cubicBezTo>
                  <a:pt x="182" y="183"/>
                  <a:pt x="185" y="183"/>
                  <a:pt x="190" y="183"/>
                </a:cubicBezTo>
                <a:cubicBezTo>
                  <a:pt x="193" y="182"/>
                  <a:pt x="194" y="181"/>
                  <a:pt x="194" y="179"/>
                </a:cubicBezTo>
                <a:cubicBezTo>
                  <a:pt x="195" y="177"/>
                  <a:pt x="196" y="176"/>
                  <a:pt x="198" y="175"/>
                </a:cubicBezTo>
                <a:cubicBezTo>
                  <a:pt x="200" y="175"/>
                  <a:pt x="204" y="175"/>
                  <a:pt x="209" y="175"/>
                </a:cubicBezTo>
                <a:cubicBezTo>
                  <a:pt x="209" y="174"/>
                  <a:pt x="209" y="172"/>
                  <a:pt x="209" y="170"/>
                </a:cubicBezTo>
                <a:cubicBezTo>
                  <a:pt x="209" y="168"/>
                  <a:pt x="208" y="166"/>
                  <a:pt x="208" y="165"/>
                </a:cubicBezTo>
                <a:cubicBezTo>
                  <a:pt x="202" y="162"/>
                  <a:pt x="199" y="160"/>
                  <a:pt x="199" y="158"/>
                </a:cubicBezTo>
                <a:cubicBezTo>
                  <a:pt x="199" y="156"/>
                  <a:pt x="201" y="154"/>
                  <a:pt x="205" y="153"/>
                </a:cubicBezTo>
                <a:cubicBezTo>
                  <a:pt x="209" y="151"/>
                  <a:pt x="211" y="147"/>
                  <a:pt x="211" y="141"/>
                </a:cubicBezTo>
                <a:cubicBezTo>
                  <a:pt x="212" y="139"/>
                  <a:pt x="214" y="135"/>
                  <a:pt x="217" y="131"/>
                </a:cubicBezTo>
                <a:cubicBezTo>
                  <a:pt x="221" y="127"/>
                  <a:pt x="223" y="125"/>
                  <a:pt x="225" y="125"/>
                </a:cubicBezTo>
                <a:lnTo>
                  <a:pt x="226" y="119"/>
                </a:lnTo>
                <a:cubicBezTo>
                  <a:pt x="224" y="115"/>
                  <a:pt x="223" y="112"/>
                  <a:pt x="223" y="112"/>
                </a:cubicBezTo>
                <a:cubicBezTo>
                  <a:pt x="223" y="111"/>
                  <a:pt x="224" y="110"/>
                  <a:pt x="225" y="108"/>
                </a:cubicBezTo>
                <a:cubicBezTo>
                  <a:pt x="226" y="107"/>
                  <a:pt x="227" y="105"/>
                  <a:pt x="227" y="103"/>
                </a:cubicBezTo>
                <a:cubicBezTo>
                  <a:pt x="228" y="100"/>
                  <a:pt x="227" y="98"/>
                  <a:pt x="226" y="96"/>
                </a:cubicBezTo>
                <a:cubicBezTo>
                  <a:pt x="224" y="94"/>
                  <a:pt x="223" y="94"/>
                  <a:pt x="222" y="93"/>
                </a:cubicBezTo>
                <a:cubicBezTo>
                  <a:pt x="220" y="93"/>
                  <a:pt x="218" y="94"/>
                  <a:pt x="216" y="96"/>
                </a:cubicBezTo>
                <a:cubicBezTo>
                  <a:pt x="213" y="97"/>
                  <a:pt x="211" y="98"/>
                  <a:pt x="210" y="98"/>
                </a:cubicBezTo>
                <a:cubicBezTo>
                  <a:pt x="207" y="98"/>
                  <a:pt x="205" y="96"/>
                  <a:pt x="202" y="94"/>
                </a:cubicBezTo>
                <a:cubicBezTo>
                  <a:pt x="199" y="92"/>
                  <a:pt x="196" y="91"/>
                  <a:pt x="192" y="90"/>
                </a:cubicBezTo>
                <a:cubicBezTo>
                  <a:pt x="188" y="90"/>
                  <a:pt x="185" y="89"/>
                  <a:pt x="183" y="87"/>
                </a:cubicBezTo>
                <a:cubicBezTo>
                  <a:pt x="182" y="84"/>
                  <a:pt x="180" y="81"/>
                  <a:pt x="179" y="79"/>
                </a:cubicBezTo>
                <a:cubicBezTo>
                  <a:pt x="177" y="75"/>
                  <a:pt x="173" y="70"/>
                  <a:pt x="168" y="66"/>
                </a:cubicBezTo>
                <a:lnTo>
                  <a:pt x="168" y="6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" name="Freeform 240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1013 w 1513"/>
              <a:gd name="T3" fmla="*/ 1562 h 1900"/>
              <a:gd name="T4" fmla="*/ 1012 w 1513"/>
              <a:gd name="T5" fmla="*/ 1562 h 1900"/>
              <a:gd name="T6" fmla="*/ 1014 w 1513"/>
              <a:gd name="T7" fmla="*/ 1582 h 1900"/>
              <a:gd name="T8" fmla="*/ 413 w 1513"/>
              <a:gd name="T9" fmla="*/ 745 h 1900"/>
              <a:gd name="T10" fmla="*/ 436 w 1513"/>
              <a:gd name="T11" fmla="*/ 764 h 1900"/>
              <a:gd name="T12" fmla="*/ 92 w 1513"/>
              <a:gd name="T13" fmla="*/ 1088 h 1900"/>
              <a:gd name="T14" fmla="*/ 239 w 1513"/>
              <a:gd name="T15" fmla="*/ 1023 h 1900"/>
              <a:gd name="T16" fmla="*/ 301 w 1513"/>
              <a:gd name="T17" fmla="*/ 1063 h 1900"/>
              <a:gd name="T18" fmla="*/ 283 w 1513"/>
              <a:gd name="T19" fmla="*/ 1201 h 1900"/>
              <a:gd name="T20" fmla="*/ 266 w 1513"/>
              <a:gd name="T21" fmla="*/ 1368 h 1900"/>
              <a:gd name="T22" fmla="*/ 170 w 1513"/>
              <a:gd name="T23" fmla="*/ 1420 h 1900"/>
              <a:gd name="T24" fmla="*/ 93 w 1513"/>
              <a:gd name="T25" fmla="*/ 1361 h 1900"/>
              <a:gd name="T26" fmla="*/ 128 w 1513"/>
              <a:gd name="T27" fmla="*/ 1282 h 1900"/>
              <a:gd name="T28" fmla="*/ 126 w 1513"/>
              <a:gd name="T29" fmla="*/ 1185 h 1900"/>
              <a:gd name="T30" fmla="*/ 101 w 1513"/>
              <a:gd name="T31" fmla="*/ 1405 h 1900"/>
              <a:gd name="T32" fmla="*/ 95 w 1513"/>
              <a:gd name="T33" fmla="*/ 1389 h 1900"/>
              <a:gd name="T34" fmla="*/ 1100 w 1513"/>
              <a:gd name="T35" fmla="*/ 1620 h 1900"/>
              <a:gd name="T36" fmla="*/ 1046 w 1513"/>
              <a:gd name="T37" fmla="*/ 1789 h 1900"/>
              <a:gd name="T38" fmla="*/ 1023 w 1513"/>
              <a:gd name="T39" fmla="*/ 1900 h 1900"/>
              <a:gd name="T40" fmla="*/ 899 w 1513"/>
              <a:gd name="T41" fmla="*/ 1824 h 1900"/>
              <a:gd name="T42" fmla="*/ 705 w 1513"/>
              <a:gd name="T43" fmla="*/ 1721 h 1900"/>
              <a:gd name="T44" fmla="*/ 683 w 1513"/>
              <a:gd name="T45" fmla="*/ 1622 h 1900"/>
              <a:gd name="T46" fmla="*/ 790 w 1513"/>
              <a:gd name="T47" fmla="*/ 1628 h 1900"/>
              <a:gd name="T48" fmla="*/ 982 w 1513"/>
              <a:gd name="T49" fmla="*/ 1624 h 1900"/>
              <a:gd name="T50" fmla="*/ 1104 w 1513"/>
              <a:gd name="T51" fmla="*/ 1603 h 1900"/>
              <a:gd name="T52" fmla="*/ 295 w 1513"/>
              <a:gd name="T53" fmla="*/ 146 h 1900"/>
              <a:gd name="T54" fmla="*/ 358 w 1513"/>
              <a:gd name="T55" fmla="*/ 80 h 1900"/>
              <a:gd name="T56" fmla="*/ 457 w 1513"/>
              <a:gd name="T57" fmla="*/ 132 h 1900"/>
              <a:gd name="T58" fmla="*/ 499 w 1513"/>
              <a:gd name="T59" fmla="*/ 57 h 1900"/>
              <a:gd name="T60" fmla="*/ 632 w 1513"/>
              <a:gd name="T61" fmla="*/ 11 h 1900"/>
              <a:gd name="T62" fmla="*/ 731 w 1513"/>
              <a:gd name="T63" fmla="*/ 58 h 1900"/>
              <a:gd name="T64" fmla="*/ 899 w 1513"/>
              <a:gd name="T65" fmla="*/ 122 h 1900"/>
              <a:gd name="T66" fmla="*/ 884 w 1513"/>
              <a:gd name="T67" fmla="*/ 207 h 1900"/>
              <a:gd name="T68" fmla="*/ 905 w 1513"/>
              <a:gd name="T69" fmla="*/ 276 h 1900"/>
              <a:gd name="T70" fmla="*/ 858 w 1513"/>
              <a:gd name="T71" fmla="*/ 254 h 1900"/>
              <a:gd name="T72" fmla="*/ 732 w 1513"/>
              <a:gd name="T73" fmla="*/ 294 h 1900"/>
              <a:gd name="T74" fmla="*/ 707 w 1513"/>
              <a:gd name="T75" fmla="*/ 337 h 1900"/>
              <a:gd name="T76" fmla="*/ 697 w 1513"/>
              <a:gd name="T77" fmla="*/ 425 h 1900"/>
              <a:gd name="T78" fmla="*/ 911 w 1513"/>
              <a:gd name="T79" fmla="*/ 802 h 1900"/>
              <a:gd name="T80" fmla="*/ 1153 w 1513"/>
              <a:gd name="T81" fmla="*/ 1006 h 1900"/>
              <a:gd name="T82" fmla="*/ 1427 w 1513"/>
              <a:gd name="T83" fmla="*/ 1171 h 1900"/>
              <a:gd name="T84" fmla="*/ 1446 w 1513"/>
              <a:gd name="T85" fmla="*/ 1285 h 1900"/>
              <a:gd name="T86" fmla="*/ 1316 w 1513"/>
              <a:gd name="T87" fmla="*/ 1201 h 1900"/>
              <a:gd name="T88" fmla="*/ 1232 w 1513"/>
              <a:gd name="T89" fmla="*/ 1337 h 1900"/>
              <a:gd name="T90" fmla="*/ 1322 w 1513"/>
              <a:gd name="T91" fmla="*/ 1495 h 1900"/>
              <a:gd name="T92" fmla="*/ 1107 w 1513"/>
              <a:gd name="T93" fmla="*/ 1643 h 1900"/>
              <a:gd name="T94" fmla="*/ 1187 w 1513"/>
              <a:gd name="T95" fmla="*/ 1482 h 1900"/>
              <a:gd name="T96" fmla="*/ 1105 w 1513"/>
              <a:gd name="T97" fmla="*/ 1282 h 1900"/>
              <a:gd name="T98" fmla="*/ 999 w 1513"/>
              <a:gd name="T99" fmla="*/ 1172 h 1900"/>
              <a:gd name="T100" fmla="*/ 903 w 1513"/>
              <a:gd name="T101" fmla="*/ 1143 h 1900"/>
              <a:gd name="T102" fmla="*/ 713 w 1513"/>
              <a:gd name="T103" fmla="*/ 1010 h 1900"/>
              <a:gd name="T104" fmla="*/ 521 w 1513"/>
              <a:gd name="T105" fmla="*/ 822 h 1900"/>
              <a:gd name="T106" fmla="*/ 461 w 1513"/>
              <a:gd name="T107" fmla="*/ 692 h 1900"/>
              <a:gd name="T108" fmla="*/ 351 w 1513"/>
              <a:gd name="T109" fmla="*/ 488 h 1900"/>
              <a:gd name="T110" fmla="*/ 173 w 1513"/>
              <a:gd name="T111" fmla="*/ 501 h 1900"/>
              <a:gd name="T112" fmla="*/ 84 w 1513"/>
              <a:gd name="T113" fmla="*/ 465 h 1900"/>
              <a:gd name="T114" fmla="*/ 24 w 1513"/>
              <a:gd name="T115" fmla="*/ 377 h 1900"/>
              <a:gd name="T116" fmla="*/ 2 w 1513"/>
              <a:gd name="T117" fmla="*/ 285 h 1900"/>
              <a:gd name="T118" fmla="*/ 57 w 1513"/>
              <a:gd name="T119" fmla="*/ 191 h 1900"/>
              <a:gd name="T120" fmla="*/ 151 w 1513"/>
              <a:gd name="T121" fmla="*/ 148 h 1900"/>
              <a:gd name="T122" fmla="*/ 727 w 1513"/>
              <a:gd name="T123" fmla="*/ 56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" name="Freeform 241"/>
          <p:cNvSpPr>
            <a:spLocks noEditPoints="1"/>
          </p:cNvSpPr>
          <p:nvPr/>
        </p:nvSpPr>
        <p:spPr bwMode="auto">
          <a:xfrm>
            <a:off x="8081232" y="4578641"/>
            <a:ext cx="1580915" cy="1986188"/>
          </a:xfrm>
          <a:custGeom>
            <a:avLst/>
            <a:gdLst>
              <a:gd name="T0" fmla="*/ 714 w 1513"/>
              <a:gd name="T1" fmla="*/ 323 h 1900"/>
              <a:gd name="T2" fmla="*/ 887 w 1513"/>
              <a:gd name="T3" fmla="*/ 1153 h 1900"/>
              <a:gd name="T4" fmla="*/ 1013 w 1513"/>
              <a:gd name="T5" fmla="*/ 1562 h 1900"/>
              <a:gd name="T6" fmla="*/ 1015 w 1513"/>
              <a:gd name="T7" fmla="*/ 1583 h 1900"/>
              <a:gd name="T8" fmla="*/ 416 w 1513"/>
              <a:gd name="T9" fmla="*/ 757 h 1900"/>
              <a:gd name="T10" fmla="*/ 435 w 1513"/>
              <a:gd name="T11" fmla="*/ 739 h 1900"/>
              <a:gd name="T12" fmla="*/ 115 w 1513"/>
              <a:gd name="T13" fmla="*/ 1039 h 1900"/>
              <a:gd name="T14" fmla="*/ 170 w 1513"/>
              <a:gd name="T15" fmla="*/ 1067 h 1900"/>
              <a:gd name="T16" fmla="*/ 286 w 1513"/>
              <a:gd name="T17" fmla="*/ 1039 h 1900"/>
              <a:gd name="T18" fmla="*/ 311 w 1513"/>
              <a:gd name="T19" fmla="*/ 1144 h 1900"/>
              <a:gd name="T20" fmla="*/ 265 w 1513"/>
              <a:gd name="T21" fmla="*/ 1358 h 1900"/>
              <a:gd name="T22" fmla="*/ 183 w 1513"/>
              <a:gd name="T23" fmla="*/ 1405 h 1900"/>
              <a:gd name="T24" fmla="*/ 93 w 1513"/>
              <a:gd name="T25" fmla="*/ 1361 h 1900"/>
              <a:gd name="T26" fmla="*/ 126 w 1513"/>
              <a:gd name="T27" fmla="*/ 1275 h 1900"/>
              <a:gd name="T28" fmla="*/ 123 w 1513"/>
              <a:gd name="T29" fmla="*/ 1166 h 1900"/>
              <a:gd name="T30" fmla="*/ 100 w 1513"/>
              <a:gd name="T31" fmla="*/ 1405 h 1900"/>
              <a:gd name="T32" fmla="*/ 101 w 1513"/>
              <a:gd name="T33" fmla="*/ 1405 h 1900"/>
              <a:gd name="T34" fmla="*/ 1091 w 1513"/>
              <a:gd name="T35" fmla="*/ 1642 h 1900"/>
              <a:gd name="T36" fmla="*/ 1043 w 1513"/>
              <a:gd name="T37" fmla="*/ 1810 h 1900"/>
              <a:gd name="T38" fmla="*/ 999 w 1513"/>
              <a:gd name="T39" fmla="*/ 1891 h 1900"/>
              <a:gd name="T40" fmla="*/ 832 w 1513"/>
              <a:gd name="T41" fmla="*/ 1802 h 1900"/>
              <a:gd name="T42" fmla="*/ 652 w 1513"/>
              <a:gd name="T43" fmla="*/ 1690 h 1900"/>
              <a:gd name="T44" fmla="*/ 734 w 1513"/>
              <a:gd name="T45" fmla="*/ 1630 h 1900"/>
              <a:gd name="T46" fmla="*/ 901 w 1513"/>
              <a:gd name="T47" fmla="*/ 1649 h 1900"/>
              <a:gd name="T48" fmla="*/ 1048 w 1513"/>
              <a:gd name="T49" fmla="*/ 1620 h 1900"/>
              <a:gd name="T50" fmla="*/ 256 w 1513"/>
              <a:gd name="T51" fmla="*/ 93 h 1900"/>
              <a:gd name="T52" fmla="*/ 328 w 1513"/>
              <a:gd name="T53" fmla="*/ 147 h 1900"/>
              <a:gd name="T54" fmla="*/ 429 w 1513"/>
              <a:gd name="T55" fmla="*/ 106 h 1900"/>
              <a:gd name="T56" fmla="*/ 510 w 1513"/>
              <a:gd name="T57" fmla="*/ 67 h 1900"/>
              <a:gd name="T58" fmla="*/ 626 w 1513"/>
              <a:gd name="T59" fmla="*/ 13 h 1900"/>
              <a:gd name="T60" fmla="*/ 731 w 1513"/>
              <a:gd name="T61" fmla="*/ 58 h 1900"/>
              <a:gd name="T62" fmla="*/ 888 w 1513"/>
              <a:gd name="T63" fmla="*/ 123 h 1900"/>
              <a:gd name="T64" fmla="*/ 887 w 1513"/>
              <a:gd name="T65" fmla="*/ 212 h 1900"/>
              <a:gd name="T66" fmla="*/ 897 w 1513"/>
              <a:gd name="T67" fmla="*/ 263 h 1900"/>
              <a:gd name="T68" fmla="*/ 823 w 1513"/>
              <a:gd name="T69" fmla="*/ 253 h 1900"/>
              <a:gd name="T70" fmla="*/ 714 w 1513"/>
              <a:gd name="T71" fmla="*/ 292 h 1900"/>
              <a:gd name="T72" fmla="*/ 724 w 1513"/>
              <a:gd name="T73" fmla="*/ 400 h 1900"/>
              <a:gd name="T74" fmla="*/ 808 w 1513"/>
              <a:gd name="T75" fmla="*/ 605 h 1900"/>
              <a:gd name="T76" fmla="*/ 1089 w 1513"/>
              <a:gd name="T77" fmla="*/ 941 h 1900"/>
              <a:gd name="T78" fmla="*/ 1328 w 1513"/>
              <a:gd name="T79" fmla="*/ 1112 h 1900"/>
              <a:gd name="T80" fmla="*/ 1499 w 1513"/>
              <a:gd name="T81" fmla="*/ 1329 h 1900"/>
              <a:gd name="T82" fmla="*/ 1349 w 1513"/>
              <a:gd name="T83" fmla="*/ 1205 h 1900"/>
              <a:gd name="T84" fmla="*/ 1239 w 1513"/>
              <a:gd name="T85" fmla="*/ 1324 h 1900"/>
              <a:gd name="T86" fmla="*/ 1333 w 1513"/>
              <a:gd name="T87" fmla="*/ 1474 h 1900"/>
              <a:gd name="T88" fmla="*/ 1107 w 1513"/>
              <a:gd name="T89" fmla="*/ 1643 h 1900"/>
              <a:gd name="T90" fmla="*/ 1173 w 1513"/>
              <a:gd name="T91" fmla="*/ 1463 h 1900"/>
              <a:gd name="T92" fmla="*/ 1085 w 1513"/>
              <a:gd name="T93" fmla="*/ 1297 h 1900"/>
              <a:gd name="T94" fmla="*/ 946 w 1513"/>
              <a:gd name="T95" fmla="*/ 1183 h 1900"/>
              <a:gd name="T96" fmla="*/ 836 w 1513"/>
              <a:gd name="T97" fmla="*/ 1065 h 1900"/>
              <a:gd name="T98" fmla="*/ 657 w 1513"/>
              <a:gd name="T99" fmla="*/ 931 h 1900"/>
              <a:gd name="T100" fmla="*/ 501 w 1513"/>
              <a:gd name="T101" fmla="*/ 762 h 1900"/>
              <a:gd name="T102" fmla="*/ 432 w 1513"/>
              <a:gd name="T103" fmla="*/ 570 h 1900"/>
              <a:gd name="T104" fmla="*/ 233 w 1513"/>
              <a:gd name="T105" fmla="*/ 447 h 1900"/>
              <a:gd name="T106" fmla="*/ 109 w 1513"/>
              <a:gd name="T107" fmla="*/ 476 h 1900"/>
              <a:gd name="T108" fmla="*/ 19 w 1513"/>
              <a:gd name="T109" fmla="*/ 400 h 1900"/>
              <a:gd name="T110" fmla="*/ 6 w 1513"/>
              <a:gd name="T111" fmla="*/ 301 h 1900"/>
              <a:gd name="T112" fmla="*/ 65 w 1513"/>
              <a:gd name="T113" fmla="*/ 223 h 1900"/>
              <a:gd name="T114" fmla="*/ 138 w 1513"/>
              <a:gd name="T115" fmla="*/ 139 h 1900"/>
              <a:gd name="T116" fmla="*/ 229 w 1513"/>
              <a:gd name="T117" fmla="*/ 90 h 1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13" h="1900">
                <a:moveTo>
                  <a:pt x="722" y="302"/>
                </a:moveTo>
                <a:lnTo>
                  <a:pt x="722" y="302"/>
                </a:lnTo>
                <a:cubicBezTo>
                  <a:pt x="720" y="305"/>
                  <a:pt x="718" y="307"/>
                  <a:pt x="718" y="309"/>
                </a:cubicBezTo>
                <a:cubicBezTo>
                  <a:pt x="718" y="309"/>
                  <a:pt x="718" y="309"/>
                  <a:pt x="719" y="309"/>
                </a:cubicBezTo>
                <a:cubicBezTo>
                  <a:pt x="720" y="309"/>
                  <a:pt x="723" y="306"/>
                  <a:pt x="730" y="300"/>
                </a:cubicBezTo>
                <a:cubicBezTo>
                  <a:pt x="729" y="299"/>
                  <a:pt x="729" y="299"/>
                  <a:pt x="729" y="298"/>
                </a:cubicBezTo>
                <a:cubicBezTo>
                  <a:pt x="728" y="298"/>
                  <a:pt x="728" y="298"/>
                  <a:pt x="728" y="298"/>
                </a:cubicBezTo>
                <a:cubicBezTo>
                  <a:pt x="727" y="298"/>
                  <a:pt x="725" y="299"/>
                  <a:pt x="722" y="302"/>
                </a:cubicBezTo>
                <a:lnTo>
                  <a:pt x="722" y="302"/>
                </a:lnTo>
                <a:close/>
                <a:moveTo>
                  <a:pt x="717" y="315"/>
                </a:moveTo>
                <a:lnTo>
                  <a:pt x="717" y="315"/>
                </a:lnTo>
                <a:cubicBezTo>
                  <a:pt x="718" y="316"/>
                  <a:pt x="718" y="317"/>
                  <a:pt x="718" y="319"/>
                </a:cubicBezTo>
                <a:cubicBezTo>
                  <a:pt x="718" y="321"/>
                  <a:pt x="718" y="325"/>
                  <a:pt x="718" y="330"/>
                </a:cubicBezTo>
                <a:cubicBezTo>
                  <a:pt x="718" y="332"/>
                  <a:pt x="718" y="333"/>
                  <a:pt x="717" y="335"/>
                </a:cubicBezTo>
                <a:cubicBezTo>
                  <a:pt x="714" y="335"/>
                  <a:pt x="713" y="331"/>
                  <a:pt x="714" y="323"/>
                </a:cubicBezTo>
                <a:cubicBezTo>
                  <a:pt x="714" y="321"/>
                  <a:pt x="715" y="319"/>
                  <a:pt x="716" y="317"/>
                </a:cubicBezTo>
                <a:cubicBezTo>
                  <a:pt x="716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lnTo>
                  <a:pt x="717" y="315"/>
                </a:lnTo>
                <a:close/>
                <a:moveTo>
                  <a:pt x="887" y="1153"/>
                </a:moveTo>
                <a:lnTo>
                  <a:pt x="887" y="1153"/>
                </a:lnTo>
                <a:cubicBezTo>
                  <a:pt x="888" y="1155"/>
                  <a:pt x="889" y="1156"/>
                  <a:pt x="889" y="1157"/>
                </a:cubicBezTo>
                <a:cubicBezTo>
                  <a:pt x="889" y="1158"/>
                  <a:pt x="888" y="1159"/>
                  <a:pt x="887" y="1159"/>
                </a:cubicBezTo>
                <a:cubicBezTo>
                  <a:pt x="886" y="1160"/>
                  <a:pt x="884" y="1161"/>
                  <a:pt x="883" y="1161"/>
                </a:cubicBezTo>
                <a:cubicBezTo>
                  <a:pt x="877" y="1160"/>
                  <a:pt x="875" y="1158"/>
                  <a:pt x="875" y="1154"/>
                </a:cubicBezTo>
                <a:cubicBezTo>
                  <a:pt x="875" y="1152"/>
                  <a:pt x="876" y="1151"/>
                  <a:pt x="878" y="1151"/>
                </a:cubicBezTo>
                <a:cubicBezTo>
                  <a:pt x="878" y="1150"/>
                  <a:pt x="881" y="1150"/>
                  <a:pt x="885" y="1151"/>
                </a:cubicBezTo>
                <a:lnTo>
                  <a:pt x="883" y="1151"/>
                </a:lnTo>
                <a:cubicBezTo>
                  <a:pt x="884" y="1151"/>
                  <a:pt x="885" y="1152"/>
                  <a:pt x="887" y="1153"/>
                </a:cubicBezTo>
                <a:lnTo>
                  <a:pt x="887" y="1153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5" y="1563"/>
                  <a:pt x="1015" y="1564"/>
                  <a:pt x="1015" y="1566"/>
                </a:cubicBezTo>
                <a:cubicBezTo>
                  <a:pt x="1015" y="1567"/>
                  <a:pt x="1015" y="1568"/>
                  <a:pt x="1014" y="1569"/>
                </a:cubicBezTo>
                <a:cubicBezTo>
                  <a:pt x="1013" y="1571"/>
                  <a:pt x="1012" y="1572"/>
                  <a:pt x="1011" y="1571"/>
                </a:cubicBezTo>
                <a:cubicBezTo>
                  <a:pt x="1008" y="1570"/>
                  <a:pt x="1006" y="1568"/>
                  <a:pt x="1006" y="1567"/>
                </a:cubicBezTo>
                <a:cubicBezTo>
                  <a:pt x="1006" y="1566"/>
                  <a:pt x="1007" y="1565"/>
                  <a:pt x="1008" y="1565"/>
                </a:cubicBezTo>
                <a:cubicBezTo>
                  <a:pt x="1009" y="1564"/>
                  <a:pt x="1011" y="1563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lnTo>
                  <a:pt x="1013" y="1562"/>
                </a:lnTo>
                <a:close/>
                <a:moveTo>
                  <a:pt x="1012" y="1562"/>
                </a:moveTo>
                <a:lnTo>
                  <a:pt x="1012" y="1562"/>
                </a:lnTo>
                <a:cubicBezTo>
                  <a:pt x="1012" y="1562"/>
                  <a:pt x="1012" y="1562"/>
                  <a:pt x="1013" y="1562"/>
                </a:cubicBezTo>
                <a:lnTo>
                  <a:pt x="1013" y="1562"/>
                </a:lnTo>
                <a:cubicBezTo>
                  <a:pt x="1012" y="1562"/>
                  <a:pt x="1012" y="1562"/>
                  <a:pt x="1012" y="1562"/>
                </a:cubicBezTo>
                <a:lnTo>
                  <a:pt x="1012" y="1562"/>
                </a:lnTo>
                <a:close/>
                <a:moveTo>
                  <a:pt x="1013" y="1562"/>
                </a:moveTo>
                <a:lnTo>
                  <a:pt x="1013" y="1562"/>
                </a:lnTo>
                <a:cubicBezTo>
                  <a:pt x="1013" y="1562"/>
                  <a:pt x="1013" y="1562"/>
                  <a:pt x="1013" y="1562"/>
                </a:cubicBezTo>
                <a:cubicBezTo>
                  <a:pt x="1013" y="1562"/>
                  <a:pt x="1013" y="1562"/>
                  <a:pt x="1013" y="1562"/>
                </a:cubicBezTo>
                <a:lnTo>
                  <a:pt x="1013" y="1562"/>
                </a:lnTo>
                <a:lnTo>
                  <a:pt x="1013" y="1562"/>
                </a:lnTo>
                <a:close/>
                <a:moveTo>
                  <a:pt x="1015" y="1583"/>
                </a:moveTo>
                <a:lnTo>
                  <a:pt x="1015" y="1583"/>
                </a:lnTo>
                <a:cubicBezTo>
                  <a:pt x="1017" y="1584"/>
                  <a:pt x="1017" y="1585"/>
                  <a:pt x="1017" y="1587"/>
                </a:cubicBezTo>
                <a:cubicBezTo>
                  <a:pt x="1015" y="1587"/>
                  <a:pt x="1013" y="1586"/>
                  <a:pt x="1011" y="1584"/>
                </a:cubicBezTo>
                <a:cubicBezTo>
                  <a:pt x="1012" y="1583"/>
                  <a:pt x="1013" y="1582"/>
                  <a:pt x="1014" y="1582"/>
                </a:cubicBezTo>
                <a:cubicBezTo>
                  <a:pt x="1013" y="1582"/>
                  <a:pt x="1014" y="1582"/>
                  <a:pt x="1015" y="1583"/>
                </a:cubicBezTo>
                <a:lnTo>
                  <a:pt x="1015" y="1583"/>
                </a:lnTo>
                <a:close/>
                <a:moveTo>
                  <a:pt x="1001" y="1555"/>
                </a:moveTo>
                <a:lnTo>
                  <a:pt x="1001" y="1555"/>
                </a:lnTo>
                <a:cubicBezTo>
                  <a:pt x="1001" y="1556"/>
                  <a:pt x="1001" y="1557"/>
                  <a:pt x="1000" y="1558"/>
                </a:cubicBezTo>
                <a:cubicBezTo>
                  <a:pt x="999" y="1558"/>
                  <a:pt x="998" y="1558"/>
                  <a:pt x="997" y="1558"/>
                </a:cubicBezTo>
                <a:cubicBezTo>
                  <a:pt x="996" y="1558"/>
                  <a:pt x="995" y="1558"/>
                  <a:pt x="995" y="1557"/>
                </a:cubicBezTo>
                <a:cubicBezTo>
                  <a:pt x="994" y="1556"/>
                  <a:pt x="994" y="1555"/>
                  <a:pt x="994" y="1554"/>
                </a:cubicBezTo>
                <a:cubicBezTo>
                  <a:pt x="994" y="1552"/>
                  <a:pt x="996" y="1551"/>
                  <a:pt x="999" y="1552"/>
                </a:cubicBezTo>
                <a:cubicBezTo>
                  <a:pt x="1001" y="1552"/>
                  <a:pt x="1001" y="1553"/>
                  <a:pt x="1001" y="1555"/>
                </a:cubicBezTo>
                <a:lnTo>
                  <a:pt x="1001" y="1555"/>
                </a:lnTo>
                <a:close/>
                <a:moveTo>
                  <a:pt x="416" y="757"/>
                </a:moveTo>
                <a:lnTo>
                  <a:pt x="416" y="757"/>
                </a:lnTo>
                <a:cubicBezTo>
                  <a:pt x="413" y="758"/>
                  <a:pt x="411" y="758"/>
                  <a:pt x="410" y="758"/>
                </a:cubicBezTo>
                <a:cubicBezTo>
                  <a:pt x="400" y="757"/>
                  <a:pt x="395" y="755"/>
                  <a:pt x="396" y="751"/>
                </a:cubicBezTo>
                <a:cubicBezTo>
                  <a:pt x="396" y="749"/>
                  <a:pt x="402" y="747"/>
                  <a:pt x="413" y="745"/>
                </a:cubicBezTo>
                <a:cubicBezTo>
                  <a:pt x="425" y="743"/>
                  <a:pt x="432" y="741"/>
                  <a:pt x="435" y="738"/>
                </a:cubicBezTo>
                <a:lnTo>
                  <a:pt x="435" y="739"/>
                </a:lnTo>
                <a:cubicBezTo>
                  <a:pt x="438" y="747"/>
                  <a:pt x="438" y="753"/>
                  <a:pt x="438" y="756"/>
                </a:cubicBezTo>
                <a:cubicBezTo>
                  <a:pt x="438" y="757"/>
                  <a:pt x="437" y="760"/>
                  <a:pt x="437" y="764"/>
                </a:cubicBezTo>
                <a:lnTo>
                  <a:pt x="436" y="764"/>
                </a:lnTo>
                <a:cubicBezTo>
                  <a:pt x="433" y="762"/>
                  <a:pt x="431" y="760"/>
                  <a:pt x="429" y="759"/>
                </a:cubicBezTo>
                <a:cubicBezTo>
                  <a:pt x="427" y="758"/>
                  <a:pt x="424" y="757"/>
                  <a:pt x="421" y="756"/>
                </a:cubicBezTo>
                <a:cubicBezTo>
                  <a:pt x="420" y="756"/>
                  <a:pt x="418" y="756"/>
                  <a:pt x="416" y="757"/>
                </a:cubicBezTo>
                <a:lnTo>
                  <a:pt x="416" y="757"/>
                </a:lnTo>
                <a:close/>
                <a:moveTo>
                  <a:pt x="435" y="739"/>
                </a:moveTo>
                <a:lnTo>
                  <a:pt x="435" y="739"/>
                </a:lnTo>
                <a:lnTo>
                  <a:pt x="435" y="738"/>
                </a:lnTo>
                <a:cubicBezTo>
                  <a:pt x="435" y="738"/>
                  <a:pt x="435" y="738"/>
                  <a:pt x="436" y="738"/>
                </a:cubicBezTo>
                <a:lnTo>
                  <a:pt x="435" y="739"/>
                </a:lnTo>
                <a:lnTo>
                  <a:pt x="435" y="739"/>
                </a:lnTo>
                <a:close/>
                <a:moveTo>
                  <a:pt x="436" y="764"/>
                </a:moveTo>
                <a:lnTo>
                  <a:pt x="436" y="764"/>
                </a:lnTo>
                <a:lnTo>
                  <a:pt x="437" y="764"/>
                </a:lnTo>
                <a:cubicBezTo>
                  <a:pt x="436" y="764"/>
                  <a:pt x="436" y="765"/>
                  <a:pt x="436" y="765"/>
                </a:cubicBezTo>
                <a:lnTo>
                  <a:pt x="436" y="764"/>
                </a:lnTo>
                <a:lnTo>
                  <a:pt x="436" y="764"/>
                </a:lnTo>
                <a:close/>
                <a:moveTo>
                  <a:pt x="124" y="1024"/>
                </a:moveTo>
                <a:lnTo>
                  <a:pt x="124" y="1024"/>
                </a:lnTo>
                <a:cubicBezTo>
                  <a:pt x="127" y="1024"/>
                  <a:pt x="129" y="1025"/>
                  <a:pt x="128" y="1028"/>
                </a:cubicBezTo>
                <a:cubicBezTo>
                  <a:pt x="127" y="1030"/>
                  <a:pt x="125" y="1032"/>
                  <a:pt x="122" y="1033"/>
                </a:cubicBezTo>
                <a:cubicBezTo>
                  <a:pt x="119" y="1035"/>
                  <a:pt x="116" y="1037"/>
                  <a:pt x="115" y="1039"/>
                </a:cubicBezTo>
                <a:cubicBezTo>
                  <a:pt x="112" y="1042"/>
                  <a:pt x="111" y="1044"/>
                  <a:pt x="109" y="1045"/>
                </a:cubicBezTo>
                <a:cubicBezTo>
                  <a:pt x="108" y="1044"/>
                  <a:pt x="107" y="1042"/>
                  <a:pt x="107" y="1040"/>
                </a:cubicBezTo>
                <a:cubicBezTo>
                  <a:pt x="107" y="1039"/>
                  <a:pt x="110" y="1036"/>
                  <a:pt x="115" y="1031"/>
                </a:cubicBezTo>
                <a:cubicBezTo>
                  <a:pt x="120" y="1026"/>
                  <a:pt x="124" y="1024"/>
                  <a:pt x="124" y="1024"/>
                </a:cubicBezTo>
                <a:lnTo>
                  <a:pt x="124" y="1024"/>
                </a:lnTo>
                <a:close/>
                <a:moveTo>
                  <a:pt x="92" y="1088"/>
                </a:moveTo>
                <a:lnTo>
                  <a:pt x="92" y="1088"/>
                </a:lnTo>
                <a:cubicBezTo>
                  <a:pt x="93" y="1085"/>
                  <a:pt x="94" y="1082"/>
                  <a:pt x="98" y="1080"/>
                </a:cubicBezTo>
                <a:cubicBezTo>
                  <a:pt x="101" y="1077"/>
                  <a:pt x="103" y="1074"/>
                  <a:pt x="103" y="1071"/>
                </a:cubicBezTo>
                <a:cubicBezTo>
                  <a:pt x="101" y="1064"/>
                  <a:pt x="100" y="1061"/>
                  <a:pt x="101" y="1059"/>
                </a:cubicBezTo>
                <a:cubicBezTo>
                  <a:pt x="101" y="1056"/>
                  <a:pt x="103" y="1053"/>
                  <a:pt x="107" y="1051"/>
                </a:cubicBezTo>
                <a:cubicBezTo>
                  <a:pt x="106" y="1057"/>
                  <a:pt x="110" y="1063"/>
                  <a:pt x="118" y="1068"/>
                </a:cubicBezTo>
                <a:cubicBezTo>
                  <a:pt x="125" y="1073"/>
                  <a:pt x="133" y="1076"/>
                  <a:pt x="140" y="1076"/>
                </a:cubicBezTo>
                <a:cubicBezTo>
                  <a:pt x="143" y="1077"/>
                  <a:pt x="148" y="1076"/>
                  <a:pt x="155" y="1073"/>
                </a:cubicBezTo>
                <a:cubicBezTo>
                  <a:pt x="161" y="1071"/>
                  <a:pt x="166" y="1069"/>
                  <a:pt x="170" y="1067"/>
                </a:cubicBezTo>
                <a:cubicBezTo>
                  <a:pt x="172" y="1066"/>
                  <a:pt x="176" y="1064"/>
                  <a:pt x="184" y="1062"/>
                </a:cubicBezTo>
                <a:cubicBezTo>
                  <a:pt x="189" y="1061"/>
                  <a:pt x="193" y="1059"/>
                  <a:pt x="196" y="1057"/>
                </a:cubicBezTo>
                <a:cubicBezTo>
                  <a:pt x="206" y="1050"/>
                  <a:pt x="213" y="1044"/>
                  <a:pt x="216" y="1038"/>
                </a:cubicBezTo>
                <a:cubicBezTo>
                  <a:pt x="219" y="1034"/>
                  <a:pt x="224" y="1032"/>
                  <a:pt x="230" y="1032"/>
                </a:cubicBezTo>
                <a:cubicBezTo>
                  <a:pt x="236" y="1031"/>
                  <a:pt x="239" y="1028"/>
                  <a:pt x="239" y="1023"/>
                </a:cubicBezTo>
                <a:cubicBezTo>
                  <a:pt x="239" y="1019"/>
                  <a:pt x="239" y="1016"/>
                  <a:pt x="239" y="1014"/>
                </a:cubicBezTo>
                <a:cubicBezTo>
                  <a:pt x="240" y="1011"/>
                  <a:pt x="242" y="1010"/>
                  <a:pt x="247" y="1010"/>
                </a:cubicBezTo>
                <a:cubicBezTo>
                  <a:pt x="249" y="1011"/>
                  <a:pt x="252" y="1012"/>
                  <a:pt x="256" y="1013"/>
                </a:cubicBezTo>
                <a:lnTo>
                  <a:pt x="256" y="1013"/>
                </a:lnTo>
                <a:lnTo>
                  <a:pt x="255" y="1016"/>
                </a:lnTo>
                <a:lnTo>
                  <a:pt x="255" y="1021"/>
                </a:lnTo>
                <a:cubicBezTo>
                  <a:pt x="264" y="1027"/>
                  <a:pt x="269" y="1030"/>
                  <a:pt x="269" y="1030"/>
                </a:cubicBezTo>
                <a:cubicBezTo>
                  <a:pt x="273" y="1034"/>
                  <a:pt x="276" y="1038"/>
                  <a:pt x="276" y="1042"/>
                </a:cubicBezTo>
                <a:cubicBezTo>
                  <a:pt x="278" y="1042"/>
                  <a:pt x="280" y="1041"/>
                  <a:pt x="281" y="1040"/>
                </a:cubicBezTo>
                <a:cubicBezTo>
                  <a:pt x="283" y="1039"/>
                  <a:pt x="284" y="1038"/>
                  <a:pt x="286" y="1039"/>
                </a:cubicBezTo>
                <a:cubicBezTo>
                  <a:pt x="287" y="1039"/>
                  <a:pt x="288" y="1039"/>
                  <a:pt x="288" y="1040"/>
                </a:cubicBezTo>
                <a:lnTo>
                  <a:pt x="286" y="1057"/>
                </a:lnTo>
                <a:cubicBezTo>
                  <a:pt x="287" y="1058"/>
                  <a:pt x="290" y="1059"/>
                  <a:pt x="293" y="1060"/>
                </a:cubicBezTo>
                <a:cubicBezTo>
                  <a:pt x="297" y="1061"/>
                  <a:pt x="299" y="1062"/>
                  <a:pt x="301" y="1063"/>
                </a:cubicBezTo>
                <a:cubicBezTo>
                  <a:pt x="300" y="1064"/>
                  <a:pt x="297" y="1066"/>
                  <a:pt x="292" y="1069"/>
                </a:cubicBezTo>
                <a:cubicBezTo>
                  <a:pt x="288" y="1072"/>
                  <a:pt x="285" y="1074"/>
                  <a:pt x="283" y="1077"/>
                </a:cubicBezTo>
                <a:cubicBezTo>
                  <a:pt x="283" y="1078"/>
                  <a:pt x="283" y="1078"/>
                  <a:pt x="282" y="1078"/>
                </a:cubicBezTo>
                <a:lnTo>
                  <a:pt x="283" y="1078"/>
                </a:lnTo>
                <a:cubicBezTo>
                  <a:pt x="289" y="1076"/>
                  <a:pt x="293" y="1078"/>
                  <a:pt x="296" y="1084"/>
                </a:cubicBezTo>
                <a:cubicBezTo>
                  <a:pt x="297" y="1087"/>
                  <a:pt x="298" y="1091"/>
                  <a:pt x="300" y="1096"/>
                </a:cubicBezTo>
                <a:cubicBezTo>
                  <a:pt x="301" y="1097"/>
                  <a:pt x="302" y="1101"/>
                  <a:pt x="304" y="1107"/>
                </a:cubicBezTo>
                <a:cubicBezTo>
                  <a:pt x="307" y="1115"/>
                  <a:pt x="307" y="1120"/>
                  <a:pt x="307" y="1123"/>
                </a:cubicBezTo>
                <a:cubicBezTo>
                  <a:pt x="307" y="1124"/>
                  <a:pt x="306" y="1128"/>
                  <a:pt x="304" y="1134"/>
                </a:cubicBezTo>
                <a:cubicBezTo>
                  <a:pt x="304" y="1135"/>
                  <a:pt x="305" y="1136"/>
                  <a:pt x="306" y="1138"/>
                </a:cubicBezTo>
                <a:cubicBezTo>
                  <a:pt x="307" y="1139"/>
                  <a:pt x="309" y="1141"/>
                  <a:pt x="311" y="1144"/>
                </a:cubicBezTo>
                <a:cubicBezTo>
                  <a:pt x="316" y="1149"/>
                  <a:pt x="318" y="1156"/>
                  <a:pt x="317" y="1164"/>
                </a:cubicBezTo>
                <a:cubicBezTo>
                  <a:pt x="317" y="1168"/>
                  <a:pt x="311" y="1174"/>
                  <a:pt x="300" y="1181"/>
                </a:cubicBezTo>
                <a:cubicBezTo>
                  <a:pt x="289" y="1188"/>
                  <a:pt x="284" y="1194"/>
                  <a:pt x="283" y="1201"/>
                </a:cubicBezTo>
                <a:cubicBezTo>
                  <a:pt x="282" y="1205"/>
                  <a:pt x="285" y="1211"/>
                  <a:pt x="291" y="1218"/>
                </a:cubicBezTo>
                <a:cubicBezTo>
                  <a:pt x="297" y="1224"/>
                  <a:pt x="300" y="1229"/>
                  <a:pt x="300" y="1231"/>
                </a:cubicBezTo>
                <a:cubicBezTo>
                  <a:pt x="300" y="1231"/>
                  <a:pt x="297" y="1237"/>
                  <a:pt x="292" y="1248"/>
                </a:cubicBezTo>
                <a:cubicBezTo>
                  <a:pt x="288" y="1258"/>
                  <a:pt x="285" y="1265"/>
                  <a:pt x="286" y="1268"/>
                </a:cubicBezTo>
                <a:cubicBezTo>
                  <a:pt x="286" y="1273"/>
                  <a:pt x="285" y="1280"/>
                  <a:pt x="283" y="1288"/>
                </a:cubicBezTo>
                <a:cubicBezTo>
                  <a:pt x="280" y="1298"/>
                  <a:pt x="278" y="1304"/>
                  <a:pt x="278" y="1308"/>
                </a:cubicBezTo>
                <a:cubicBezTo>
                  <a:pt x="278" y="1309"/>
                  <a:pt x="278" y="1311"/>
                  <a:pt x="279" y="1314"/>
                </a:cubicBezTo>
                <a:cubicBezTo>
                  <a:pt x="280" y="1317"/>
                  <a:pt x="280" y="1320"/>
                  <a:pt x="280" y="1321"/>
                </a:cubicBezTo>
                <a:cubicBezTo>
                  <a:pt x="280" y="1323"/>
                  <a:pt x="279" y="1325"/>
                  <a:pt x="276" y="1328"/>
                </a:cubicBezTo>
                <a:cubicBezTo>
                  <a:pt x="274" y="1330"/>
                  <a:pt x="273" y="1332"/>
                  <a:pt x="273" y="1334"/>
                </a:cubicBezTo>
                <a:cubicBezTo>
                  <a:pt x="273" y="1336"/>
                  <a:pt x="273" y="1338"/>
                  <a:pt x="274" y="1342"/>
                </a:cubicBezTo>
                <a:cubicBezTo>
                  <a:pt x="274" y="1344"/>
                  <a:pt x="270" y="1349"/>
                  <a:pt x="265" y="1358"/>
                </a:cubicBezTo>
                <a:cubicBezTo>
                  <a:pt x="265" y="1359"/>
                  <a:pt x="265" y="1360"/>
                  <a:pt x="266" y="1362"/>
                </a:cubicBezTo>
                <a:cubicBezTo>
                  <a:pt x="266" y="1364"/>
                  <a:pt x="267" y="1366"/>
                  <a:pt x="266" y="1368"/>
                </a:cubicBezTo>
                <a:cubicBezTo>
                  <a:pt x="266" y="1369"/>
                  <a:pt x="265" y="1372"/>
                  <a:pt x="263" y="1377"/>
                </a:cubicBezTo>
                <a:cubicBezTo>
                  <a:pt x="261" y="1381"/>
                  <a:pt x="259" y="1384"/>
                  <a:pt x="259" y="1386"/>
                </a:cubicBezTo>
                <a:cubicBezTo>
                  <a:pt x="259" y="1388"/>
                  <a:pt x="260" y="1391"/>
                  <a:pt x="261" y="1394"/>
                </a:cubicBezTo>
                <a:cubicBezTo>
                  <a:pt x="261" y="1394"/>
                  <a:pt x="260" y="1395"/>
                  <a:pt x="259" y="1397"/>
                </a:cubicBezTo>
                <a:cubicBezTo>
                  <a:pt x="257" y="1399"/>
                  <a:pt x="257" y="1400"/>
                  <a:pt x="257" y="1402"/>
                </a:cubicBezTo>
                <a:lnTo>
                  <a:pt x="252" y="1402"/>
                </a:lnTo>
                <a:cubicBezTo>
                  <a:pt x="249" y="1398"/>
                  <a:pt x="243" y="1393"/>
                  <a:pt x="234" y="1386"/>
                </a:cubicBezTo>
                <a:cubicBezTo>
                  <a:pt x="225" y="1380"/>
                  <a:pt x="219" y="1377"/>
                  <a:pt x="216" y="1376"/>
                </a:cubicBezTo>
                <a:cubicBezTo>
                  <a:pt x="210" y="1377"/>
                  <a:pt x="206" y="1377"/>
                  <a:pt x="205" y="1377"/>
                </a:cubicBezTo>
                <a:cubicBezTo>
                  <a:pt x="201" y="1377"/>
                  <a:pt x="197" y="1374"/>
                  <a:pt x="194" y="1370"/>
                </a:cubicBezTo>
                <a:cubicBezTo>
                  <a:pt x="191" y="1377"/>
                  <a:pt x="186" y="1384"/>
                  <a:pt x="179" y="1391"/>
                </a:cubicBezTo>
                <a:cubicBezTo>
                  <a:pt x="179" y="1392"/>
                  <a:pt x="179" y="1394"/>
                  <a:pt x="181" y="1397"/>
                </a:cubicBezTo>
                <a:cubicBezTo>
                  <a:pt x="182" y="1400"/>
                  <a:pt x="183" y="1403"/>
                  <a:pt x="183" y="1405"/>
                </a:cubicBezTo>
                <a:cubicBezTo>
                  <a:pt x="183" y="1409"/>
                  <a:pt x="178" y="1414"/>
                  <a:pt x="170" y="1420"/>
                </a:cubicBezTo>
                <a:cubicBezTo>
                  <a:pt x="161" y="1426"/>
                  <a:pt x="156" y="1430"/>
                  <a:pt x="156" y="1433"/>
                </a:cubicBezTo>
                <a:cubicBezTo>
                  <a:pt x="144" y="1428"/>
                  <a:pt x="137" y="1425"/>
                  <a:pt x="135" y="1425"/>
                </a:cubicBezTo>
                <a:cubicBezTo>
                  <a:pt x="133" y="1425"/>
                  <a:pt x="132" y="1426"/>
                  <a:pt x="131" y="1427"/>
                </a:cubicBezTo>
                <a:cubicBezTo>
                  <a:pt x="129" y="1430"/>
                  <a:pt x="128" y="1431"/>
                  <a:pt x="127" y="1432"/>
                </a:cubicBezTo>
                <a:cubicBezTo>
                  <a:pt x="126" y="1431"/>
                  <a:pt x="125" y="1429"/>
                  <a:pt x="123" y="1426"/>
                </a:cubicBezTo>
                <a:cubicBezTo>
                  <a:pt x="121" y="1423"/>
                  <a:pt x="120" y="1421"/>
                  <a:pt x="120" y="1420"/>
                </a:cubicBezTo>
                <a:cubicBezTo>
                  <a:pt x="121" y="1417"/>
                  <a:pt x="122" y="1415"/>
                  <a:pt x="122" y="1414"/>
                </a:cubicBezTo>
                <a:cubicBezTo>
                  <a:pt x="121" y="1413"/>
                  <a:pt x="119" y="1411"/>
                  <a:pt x="116" y="1409"/>
                </a:cubicBezTo>
                <a:cubicBezTo>
                  <a:pt x="114" y="1408"/>
                  <a:pt x="114" y="1406"/>
                  <a:pt x="114" y="1402"/>
                </a:cubicBezTo>
                <a:cubicBezTo>
                  <a:pt x="114" y="1401"/>
                  <a:pt x="115" y="1401"/>
                  <a:pt x="115" y="1400"/>
                </a:cubicBezTo>
                <a:cubicBezTo>
                  <a:pt x="116" y="1400"/>
                  <a:pt x="116" y="1399"/>
                  <a:pt x="116" y="1398"/>
                </a:cubicBezTo>
                <a:cubicBezTo>
                  <a:pt x="110" y="1392"/>
                  <a:pt x="105" y="1387"/>
                  <a:pt x="103" y="1383"/>
                </a:cubicBezTo>
                <a:cubicBezTo>
                  <a:pt x="103" y="1383"/>
                  <a:pt x="103" y="1383"/>
                  <a:pt x="103" y="1382"/>
                </a:cubicBezTo>
                <a:cubicBezTo>
                  <a:pt x="96" y="1372"/>
                  <a:pt x="93" y="1365"/>
                  <a:pt x="93" y="1361"/>
                </a:cubicBezTo>
                <a:cubicBezTo>
                  <a:pt x="94" y="1359"/>
                  <a:pt x="95" y="1358"/>
                  <a:pt x="97" y="1356"/>
                </a:cubicBezTo>
                <a:cubicBezTo>
                  <a:pt x="99" y="1355"/>
                  <a:pt x="100" y="1353"/>
                  <a:pt x="101" y="1350"/>
                </a:cubicBezTo>
                <a:cubicBezTo>
                  <a:pt x="101" y="1349"/>
                  <a:pt x="100" y="1346"/>
                  <a:pt x="99" y="1343"/>
                </a:cubicBezTo>
                <a:cubicBezTo>
                  <a:pt x="98" y="1339"/>
                  <a:pt x="97" y="1337"/>
                  <a:pt x="97" y="1336"/>
                </a:cubicBezTo>
                <a:cubicBezTo>
                  <a:pt x="99" y="1330"/>
                  <a:pt x="100" y="1327"/>
                  <a:pt x="101" y="1325"/>
                </a:cubicBezTo>
                <a:cubicBezTo>
                  <a:pt x="101" y="1324"/>
                  <a:pt x="100" y="1322"/>
                  <a:pt x="100" y="1321"/>
                </a:cubicBezTo>
                <a:cubicBezTo>
                  <a:pt x="99" y="1320"/>
                  <a:pt x="99" y="1319"/>
                  <a:pt x="99" y="1318"/>
                </a:cubicBezTo>
                <a:cubicBezTo>
                  <a:pt x="99" y="1315"/>
                  <a:pt x="100" y="1313"/>
                  <a:pt x="103" y="1312"/>
                </a:cubicBezTo>
                <a:cubicBezTo>
                  <a:pt x="107" y="1310"/>
                  <a:pt x="108" y="1309"/>
                  <a:pt x="109" y="1309"/>
                </a:cubicBezTo>
                <a:cubicBezTo>
                  <a:pt x="111" y="1305"/>
                  <a:pt x="113" y="1300"/>
                  <a:pt x="114" y="1293"/>
                </a:cubicBezTo>
                <a:cubicBezTo>
                  <a:pt x="113" y="1286"/>
                  <a:pt x="113" y="1281"/>
                  <a:pt x="113" y="1276"/>
                </a:cubicBezTo>
                <a:cubicBezTo>
                  <a:pt x="113" y="1275"/>
                  <a:pt x="114" y="1275"/>
                  <a:pt x="115" y="1274"/>
                </a:cubicBezTo>
                <a:cubicBezTo>
                  <a:pt x="121" y="1279"/>
                  <a:pt x="125" y="1282"/>
                  <a:pt x="127" y="1283"/>
                </a:cubicBezTo>
                <a:lnTo>
                  <a:pt x="128" y="1282"/>
                </a:lnTo>
                <a:cubicBezTo>
                  <a:pt x="126" y="1281"/>
                  <a:pt x="125" y="1279"/>
                  <a:pt x="126" y="1275"/>
                </a:cubicBezTo>
                <a:cubicBezTo>
                  <a:pt x="126" y="1274"/>
                  <a:pt x="126" y="1272"/>
                  <a:pt x="127" y="1271"/>
                </a:cubicBezTo>
                <a:cubicBezTo>
                  <a:pt x="128" y="1270"/>
                  <a:pt x="129" y="1269"/>
                  <a:pt x="129" y="1269"/>
                </a:cubicBezTo>
                <a:cubicBezTo>
                  <a:pt x="131" y="1254"/>
                  <a:pt x="128" y="1246"/>
                  <a:pt x="122" y="1246"/>
                </a:cubicBezTo>
                <a:cubicBezTo>
                  <a:pt x="120" y="1245"/>
                  <a:pt x="118" y="1245"/>
                  <a:pt x="118" y="1246"/>
                </a:cubicBezTo>
                <a:cubicBezTo>
                  <a:pt x="118" y="1246"/>
                  <a:pt x="117" y="1248"/>
                  <a:pt x="116" y="1250"/>
                </a:cubicBezTo>
                <a:cubicBezTo>
                  <a:pt x="114" y="1250"/>
                  <a:pt x="112" y="1248"/>
                  <a:pt x="110" y="1244"/>
                </a:cubicBezTo>
                <a:cubicBezTo>
                  <a:pt x="108" y="1240"/>
                  <a:pt x="107" y="1236"/>
                  <a:pt x="108" y="1233"/>
                </a:cubicBezTo>
                <a:cubicBezTo>
                  <a:pt x="108" y="1225"/>
                  <a:pt x="112" y="1219"/>
                  <a:pt x="118" y="1216"/>
                </a:cubicBezTo>
                <a:cubicBezTo>
                  <a:pt x="121" y="1214"/>
                  <a:pt x="123" y="1213"/>
                  <a:pt x="125" y="1213"/>
                </a:cubicBezTo>
                <a:cubicBezTo>
                  <a:pt x="127" y="1211"/>
                  <a:pt x="128" y="1210"/>
                  <a:pt x="128" y="1209"/>
                </a:cubicBezTo>
                <a:cubicBezTo>
                  <a:pt x="128" y="1206"/>
                  <a:pt x="127" y="1205"/>
                  <a:pt x="126" y="1203"/>
                </a:cubicBezTo>
                <a:cubicBezTo>
                  <a:pt x="124" y="1201"/>
                  <a:pt x="124" y="1198"/>
                  <a:pt x="124" y="1194"/>
                </a:cubicBezTo>
                <a:cubicBezTo>
                  <a:pt x="124" y="1191"/>
                  <a:pt x="125" y="1188"/>
                  <a:pt x="126" y="1185"/>
                </a:cubicBezTo>
                <a:cubicBezTo>
                  <a:pt x="128" y="1183"/>
                  <a:pt x="128" y="1180"/>
                  <a:pt x="129" y="1178"/>
                </a:cubicBezTo>
                <a:cubicBezTo>
                  <a:pt x="129" y="1172"/>
                  <a:pt x="127" y="1168"/>
                  <a:pt x="123" y="1166"/>
                </a:cubicBezTo>
                <a:cubicBezTo>
                  <a:pt x="119" y="1163"/>
                  <a:pt x="117" y="1161"/>
                  <a:pt x="117" y="1160"/>
                </a:cubicBezTo>
                <a:cubicBezTo>
                  <a:pt x="120" y="1149"/>
                  <a:pt x="121" y="1144"/>
                  <a:pt x="121" y="1142"/>
                </a:cubicBezTo>
                <a:cubicBezTo>
                  <a:pt x="122" y="1137"/>
                  <a:pt x="120" y="1131"/>
                  <a:pt x="114" y="1126"/>
                </a:cubicBezTo>
                <a:cubicBezTo>
                  <a:pt x="109" y="1122"/>
                  <a:pt x="104" y="1119"/>
                  <a:pt x="98" y="1117"/>
                </a:cubicBezTo>
                <a:lnTo>
                  <a:pt x="99" y="1111"/>
                </a:lnTo>
                <a:lnTo>
                  <a:pt x="92" y="1110"/>
                </a:lnTo>
                <a:lnTo>
                  <a:pt x="93" y="1108"/>
                </a:lnTo>
                <a:cubicBezTo>
                  <a:pt x="93" y="1108"/>
                  <a:pt x="94" y="1106"/>
                  <a:pt x="95" y="1103"/>
                </a:cubicBezTo>
                <a:cubicBezTo>
                  <a:pt x="97" y="1101"/>
                  <a:pt x="97" y="1099"/>
                  <a:pt x="97" y="1098"/>
                </a:cubicBezTo>
                <a:cubicBezTo>
                  <a:pt x="98" y="1096"/>
                  <a:pt x="97" y="1095"/>
                  <a:pt x="95" y="1093"/>
                </a:cubicBezTo>
                <a:cubicBezTo>
                  <a:pt x="93" y="1091"/>
                  <a:pt x="92" y="1089"/>
                  <a:pt x="92" y="1088"/>
                </a:cubicBezTo>
                <a:lnTo>
                  <a:pt x="92" y="1088"/>
                </a:lnTo>
                <a:close/>
                <a:moveTo>
                  <a:pt x="101" y="1405"/>
                </a:moveTo>
                <a:lnTo>
                  <a:pt x="101" y="1405"/>
                </a:lnTo>
                <a:lnTo>
                  <a:pt x="100" y="1405"/>
                </a:lnTo>
                <a:lnTo>
                  <a:pt x="100" y="1405"/>
                </a:lnTo>
                <a:cubicBezTo>
                  <a:pt x="100" y="1404"/>
                  <a:pt x="99" y="1403"/>
                  <a:pt x="99" y="1403"/>
                </a:cubicBezTo>
                <a:cubicBezTo>
                  <a:pt x="99" y="1403"/>
                  <a:pt x="100" y="1404"/>
                  <a:pt x="100" y="1405"/>
                </a:cubicBezTo>
                <a:lnTo>
                  <a:pt x="100" y="1405"/>
                </a:lnTo>
                <a:lnTo>
                  <a:pt x="100" y="1405"/>
                </a:lnTo>
                <a:cubicBezTo>
                  <a:pt x="101" y="1407"/>
                  <a:pt x="102" y="1409"/>
                  <a:pt x="102" y="1411"/>
                </a:cubicBezTo>
                <a:cubicBezTo>
                  <a:pt x="101" y="1411"/>
                  <a:pt x="100" y="1412"/>
                  <a:pt x="98" y="1412"/>
                </a:cubicBezTo>
                <a:cubicBezTo>
                  <a:pt x="96" y="1411"/>
                  <a:pt x="93" y="1409"/>
                  <a:pt x="90" y="1404"/>
                </a:cubicBezTo>
                <a:cubicBezTo>
                  <a:pt x="86" y="1400"/>
                  <a:pt x="85" y="1395"/>
                  <a:pt x="85" y="1391"/>
                </a:cubicBezTo>
                <a:cubicBezTo>
                  <a:pt x="85" y="1390"/>
                  <a:pt x="85" y="1389"/>
                  <a:pt x="86" y="1388"/>
                </a:cubicBezTo>
                <a:cubicBezTo>
                  <a:pt x="86" y="1387"/>
                  <a:pt x="87" y="1385"/>
                  <a:pt x="88" y="1384"/>
                </a:cubicBezTo>
                <a:cubicBezTo>
                  <a:pt x="90" y="1385"/>
                  <a:pt x="93" y="1387"/>
                  <a:pt x="95" y="1389"/>
                </a:cubicBezTo>
                <a:cubicBezTo>
                  <a:pt x="95" y="1390"/>
                  <a:pt x="96" y="1391"/>
                  <a:pt x="97" y="1392"/>
                </a:cubicBezTo>
                <a:cubicBezTo>
                  <a:pt x="99" y="1397"/>
                  <a:pt x="101" y="1401"/>
                  <a:pt x="101" y="1405"/>
                </a:cubicBezTo>
                <a:lnTo>
                  <a:pt x="101" y="1405"/>
                </a:lnTo>
                <a:close/>
                <a:moveTo>
                  <a:pt x="78" y="1373"/>
                </a:moveTo>
                <a:lnTo>
                  <a:pt x="78" y="1373"/>
                </a:lnTo>
                <a:cubicBezTo>
                  <a:pt x="80" y="1375"/>
                  <a:pt x="82" y="1377"/>
                  <a:pt x="82" y="1380"/>
                </a:cubicBezTo>
                <a:lnTo>
                  <a:pt x="82" y="1387"/>
                </a:lnTo>
                <a:cubicBezTo>
                  <a:pt x="76" y="1386"/>
                  <a:pt x="73" y="1382"/>
                  <a:pt x="74" y="1374"/>
                </a:cubicBezTo>
                <a:cubicBezTo>
                  <a:pt x="74" y="1372"/>
                  <a:pt x="75" y="1371"/>
                  <a:pt x="76" y="1370"/>
                </a:cubicBezTo>
                <a:cubicBezTo>
                  <a:pt x="76" y="1370"/>
                  <a:pt x="77" y="1371"/>
                  <a:pt x="78" y="1373"/>
                </a:cubicBezTo>
                <a:lnTo>
                  <a:pt x="78" y="1373"/>
                </a:lnTo>
                <a:close/>
                <a:moveTo>
                  <a:pt x="1108" y="1607"/>
                </a:moveTo>
                <a:lnTo>
                  <a:pt x="1108" y="1607"/>
                </a:lnTo>
                <a:lnTo>
                  <a:pt x="1108" y="1607"/>
                </a:lnTo>
                <a:cubicBezTo>
                  <a:pt x="1107" y="1608"/>
                  <a:pt x="1106" y="1611"/>
                  <a:pt x="1104" y="1614"/>
                </a:cubicBezTo>
                <a:cubicBezTo>
                  <a:pt x="1102" y="1616"/>
                  <a:pt x="1101" y="1618"/>
                  <a:pt x="1100" y="1620"/>
                </a:cubicBezTo>
                <a:cubicBezTo>
                  <a:pt x="1095" y="1627"/>
                  <a:pt x="1093" y="1631"/>
                  <a:pt x="1093" y="1633"/>
                </a:cubicBezTo>
                <a:cubicBezTo>
                  <a:pt x="1092" y="1638"/>
                  <a:pt x="1092" y="1641"/>
                  <a:pt x="1091" y="1642"/>
                </a:cubicBezTo>
                <a:cubicBezTo>
                  <a:pt x="1090" y="1643"/>
                  <a:pt x="1088" y="1646"/>
                  <a:pt x="1084" y="1652"/>
                </a:cubicBezTo>
                <a:cubicBezTo>
                  <a:pt x="1079" y="1659"/>
                  <a:pt x="1075" y="1664"/>
                  <a:pt x="1073" y="1669"/>
                </a:cubicBezTo>
                <a:cubicBezTo>
                  <a:pt x="1072" y="1669"/>
                  <a:pt x="1068" y="1674"/>
                  <a:pt x="1059" y="1683"/>
                </a:cubicBezTo>
                <a:cubicBezTo>
                  <a:pt x="1052" y="1691"/>
                  <a:pt x="1048" y="1697"/>
                  <a:pt x="1047" y="1701"/>
                </a:cubicBezTo>
                <a:cubicBezTo>
                  <a:pt x="1047" y="1702"/>
                  <a:pt x="1047" y="1705"/>
                  <a:pt x="1047" y="1711"/>
                </a:cubicBezTo>
                <a:cubicBezTo>
                  <a:pt x="1043" y="1717"/>
                  <a:pt x="1042" y="1720"/>
                  <a:pt x="1041" y="1721"/>
                </a:cubicBezTo>
                <a:cubicBezTo>
                  <a:pt x="1041" y="1722"/>
                  <a:pt x="1042" y="1724"/>
                  <a:pt x="1042" y="1726"/>
                </a:cubicBezTo>
                <a:cubicBezTo>
                  <a:pt x="1042" y="1733"/>
                  <a:pt x="1039" y="1738"/>
                  <a:pt x="1034" y="1743"/>
                </a:cubicBezTo>
                <a:cubicBezTo>
                  <a:pt x="1029" y="1747"/>
                  <a:pt x="1027" y="1751"/>
                  <a:pt x="1026" y="1754"/>
                </a:cubicBezTo>
                <a:cubicBezTo>
                  <a:pt x="1026" y="1757"/>
                  <a:pt x="1026" y="1761"/>
                  <a:pt x="1026" y="1767"/>
                </a:cubicBezTo>
                <a:cubicBezTo>
                  <a:pt x="1027" y="1773"/>
                  <a:pt x="1027" y="1776"/>
                  <a:pt x="1027" y="1777"/>
                </a:cubicBezTo>
                <a:cubicBezTo>
                  <a:pt x="1031" y="1783"/>
                  <a:pt x="1037" y="1787"/>
                  <a:pt x="1046" y="1789"/>
                </a:cubicBezTo>
                <a:lnTo>
                  <a:pt x="1045" y="1799"/>
                </a:lnTo>
                <a:cubicBezTo>
                  <a:pt x="1041" y="1802"/>
                  <a:pt x="1039" y="1804"/>
                  <a:pt x="1038" y="1807"/>
                </a:cubicBezTo>
                <a:cubicBezTo>
                  <a:pt x="1039" y="1807"/>
                  <a:pt x="1040" y="1808"/>
                  <a:pt x="1043" y="1810"/>
                </a:cubicBezTo>
                <a:cubicBezTo>
                  <a:pt x="1046" y="1811"/>
                  <a:pt x="1047" y="1812"/>
                  <a:pt x="1048" y="1813"/>
                </a:cubicBezTo>
                <a:cubicBezTo>
                  <a:pt x="1050" y="1816"/>
                  <a:pt x="1051" y="1818"/>
                  <a:pt x="1052" y="1819"/>
                </a:cubicBezTo>
                <a:cubicBezTo>
                  <a:pt x="1052" y="1819"/>
                  <a:pt x="1054" y="1820"/>
                  <a:pt x="1056" y="1820"/>
                </a:cubicBezTo>
                <a:lnTo>
                  <a:pt x="1056" y="1825"/>
                </a:lnTo>
                <a:cubicBezTo>
                  <a:pt x="1054" y="1825"/>
                  <a:pt x="1053" y="1827"/>
                  <a:pt x="1053" y="1829"/>
                </a:cubicBezTo>
                <a:cubicBezTo>
                  <a:pt x="1055" y="1830"/>
                  <a:pt x="1057" y="1831"/>
                  <a:pt x="1059" y="1833"/>
                </a:cubicBezTo>
                <a:cubicBezTo>
                  <a:pt x="1056" y="1836"/>
                  <a:pt x="1050" y="1842"/>
                  <a:pt x="1039" y="1851"/>
                </a:cubicBezTo>
                <a:cubicBezTo>
                  <a:pt x="1029" y="1860"/>
                  <a:pt x="1024" y="1868"/>
                  <a:pt x="1024" y="1875"/>
                </a:cubicBezTo>
                <a:cubicBezTo>
                  <a:pt x="1023" y="1877"/>
                  <a:pt x="1024" y="1880"/>
                  <a:pt x="1026" y="1883"/>
                </a:cubicBezTo>
                <a:cubicBezTo>
                  <a:pt x="1028" y="1886"/>
                  <a:pt x="1029" y="1889"/>
                  <a:pt x="1029" y="1890"/>
                </a:cubicBezTo>
                <a:cubicBezTo>
                  <a:pt x="1027" y="1897"/>
                  <a:pt x="1025" y="1900"/>
                  <a:pt x="1023" y="1900"/>
                </a:cubicBezTo>
                <a:cubicBezTo>
                  <a:pt x="1022" y="1900"/>
                  <a:pt x="1020" y="1899"/>
                  <a:pt x="1017" y="1896"/>
                </a:cubicBezTo>
                <a:cubicBezTo>
                  <a:pt x="1015" y="1894"/>
                  <a:pt x="1013" y="1892"/>
                  <a:pt x="1010" y="1892"/>
                </a:cubicBezTo>
                <a:cubicBezTo>
                  <a:pt x="1007" y="1893"/>
                  <a:pt x="1005" y="1894"/>
                  <a:pt x="1004" y="1893"/>
                </a:cubicBezTo>
                <a:cubicBezTo>
                  <a:pt x="1003" y="1893"/>
                  <a:pt x="1001" y="1893"/>
                  <a:pt x="999" y="1891"/>
                </a:cubicBezTo>
                <a:cubicBezTo>
                  <a:pt x="997" y="1889"/>
                  <a:pt x="995" y="1888"/>
                  <a:pt x="994" y="1887"/>
                </a:cubicBezTo>
                <a:cubicBezTo>
                  <a:pt x="984" y="1888"/>
                  <a:pt x="978" y="1889"/>
                  <a:pt x="977" y="1889"/>
                </a:cubicBezTo>
                <a:cubicBezTo>
                  <a:pt x="976" y="1888"/>
                  <a:pt x="974" y="1888"/>
                  <a:pt x="972" y="1887"/>
                </a:cubicBezTo>
                <a:cubicBezTo>
                  <a:pt x="971" y="1887"/>
                  <a:pt x="971" y="1887"/>
                  <a:pt x="971" y="1887"/>
                </a:cubicBezTo>
                <a:cubicBezTo>
                  <a:pt x="964" y="1885"/>
                  <a:pt x="959" y="1883"/>
                  <a:pt x="956" y="1880"/>
                </a:cubicBezTo>
                <a:cubicBezTo>
                  <a:pt x="953" y="1878"/>
                  <a:pt x="949" y="1877"/>
                  <a:pt x="943" y="1876"/>
                </a:cubicBezTo>
                <a:cubicBezTo>
                  <a:pt x="938" y="1875"/>
                  <a:pt x="935" y="1873"/>
                  <a:pt x="934" y="1869"/>
                </a:cubicBezTo>
                <a:cubicBezTo>
                  <a:pt x="933" y="1864"/>
                  <a:pt x="932" y="1860"/>
                  <a:pt x="931" y="1857"/>
                </a:cubicBezTo>
                <a:cubicBezTo>
                  <a:pt x="929" y="1853"/>
                  <a:pt x="924" y="1846"/>
                  <a:pt x="917" y="1837"/>
                </a:cubicBezTo>
                <a:cubicBezTo>
                  <a:pt x="914" y="1833"/>
                  <a:pt x="908" y="1828"/>
                  <a:pt x="899" y="1824"/>
                </a:cubicBezTo>
                <a:cubicBezTo>
                  <a:pt x="889" y="1818"/>
                  <a:pt x="881" y="1815"/>
                  <a:pt x="874" y="1814"/>
                </a:cubicBezTo>
                <a:cubicBezTo>
                  <a:pt x="866" y="1815"/>
                  <a:pt x="859" y="1816"/>
                  <a:pt x="855" y="1816"/>
                </a:cubicBezTo>
                <a:cubicBezTo>
                  <a:pt x="853" y="1815"/>
                  <a:pt x="851" y="1814"/>
                  <a:pt x="848" y="1810"/>
                </a:cubicBezTo>
                <a:cubicBezTo>
                  <a:pt x="845" y="1807"/>
                  <a:pt x="843" y="1805"/>
                  <a:pt x="842" y="1804"/>
                </a:cubicBezTo>
                <a:cubicBezTo>
                  <a:pt x="840" y="1803"/>
                  <a:pt x="836" y="1802"/>
                  <a:pt x="832" y="1802"/>
                </a:cubicBezTo>
                <a:cubicBezTo>
                  <a:pt x="829" y="1801"/>
                  <a:pt x="827" y="1801"/>
                  <a:pt x="825" y="1799"/>
                </a:cubicBezTo>
                <a:cubicBezTo>
                  <a:pt x="812" y="1786"/>
                  <a:pt x="803" y="1780"/>
                  <a:pt x="798" y="1779"/>
                </a:cubicBezTo>
                <a:cubicBezTo>
                  <a:pt x="795" y="1780"/>
                  <a:pt x="793" y="1780"/>
                  <a:pt x="792" y="1780"/>
                </a:cubicBezTo>
                <a:cubicBezTo>
                  <a:pt x="783" y="1769"/>
                  <a:pt x="776" y="1763"/>
                  <a:pt x="771" y="1761"/>
                </a:cubicBezTo>
                <a:cubicBezTo>
                  <a:pt x="767" y="1760"/>
                  <a:pt x="763" y="1756"/>
                  <a:pt x="760" y="1752"/>
                </a:cubicBezTo>
                <a:cubicBezTo>
                  <a:pt x="757" y="1747"/>
                  <a:pt x="754" y="1743"/>
                  <a:pt x="753" y="1741"/>
                </a:cubicBezTo>
                <a:cubicBezTo>
                  <a:pt x="751" y="1737"/>
                  <a:pt x="745" y="1735"/>
                  <a:pt x="737" y="1734"/>
                </a:cubicBezTo>
                <a:cubicBezTo>
                  <a:pt x="729" y="1733"/>
                  <a:pt x="724" y="1732"/>
                  <a:pt x="722" y="1730"/>
                </a:cubicBezTo>
                <a:cubicBezTo>
                  <a:pt x="719" y="1726"/>
                  <a:pt x="714" y="1723"/>
                  <a:pt x="705" y="1721"/>
                </a:cubicBezTo>
                <a:cubicBezTo>
                  <a:pt x="696" y="1720"/>
                  <a:pt x="692" y="1719"/>
                  <a:pt x="692" y="1719"/>
                </a:cubicBezTo>
                <a:cubicBezTo>
                  <a:pt x="686" y="1720"/>
                  <a:pt x="683" y="1721"/>
                  <a:pt x="682" y="1721"/>
                </a:cubicBezTo>
                <a:cubicBezTo>
                  <a:pt x="677" y="1721"/>
                  <a:pt x="673" y="1718"/>
                  <a:pt x="670" y="1712"/>
                </a:cubicBezTo>
                <a:cubicBezTo>
                  <a:pt x="666" y="1707"/>
                  <a:pt x="663" y="1704"/>
                  <a:pt x="659" y="1704"/>
                </a:cubicBezTo>
                <a:cubicBezTo>
                  <a:pt x="657" y="1703"/>
                  <a:pt x="656" y="1702"/>
                  <a:pt x="655" y="1698"/>
                </a:cubicBezTo>
                <a:cubicBezTo>
                  <a:pt x="654" y="1695"/>
                  <a:pt x="653" y="1692"/>
                  <a:pt x="652" y="1690"/>
                </a:cubicBezTo>
                <a:cubicBezTo>
                  <a:pt x="647" y="1685"/>
                  <a:pt x="644" y="1681"/>
                  <a:pt x="645" y="1678"/>
                </a:cubicBezTo>
                <a:cubicBezTo>
                  <a:pt x="645" y="1676"/>
                  <a:pt x="646" y="1675"/>
                  <a:pt x="648" y="1675"/>
                </a:cubicBezTo>
                <a:cubicBezTo>
                  <a:pt x="650" y="1674"/>
                  <a:pt x="651" y="1673"/>
                  <a:pt x="651" y="1671"/>
                </a:cubicBezTo>
                <a:cubicBezTo>
                  <a:pt x="652" y="1665"/>
                  <a:pt x="653" y="1662"/>
                  <a:pt x="653" y="1660"/>
                </a:cubicBezTo>
                <a:cubicBezTo>
                  <a:pt x="656" y="1649"/>
                  <a:pt x="658" y="1642"/>
                  <a:pt x="660" y="1638"/>
                </a:cubicBezTo>
                <a:cubicBezTo>
                  <a:pt x="662" y="1635"/>
                  <a:pt x="664" y="1632"/>
                  <a:pt x="666" y="1631"/>
                </a:cubicBezTo>
                <a:cubicBezTo>
                  <a:pt x="669" y="1630"/>
                  <a:pt x="672" y="1629"/>
                  <a:pt x="673" y="1627"/>
                </a:cubicBezTo>
                <a:cubicBezTo>
                  <a:pt x="674" y="1625"/>
                  <a:pt x="678" y="1624"/>
                  <a:pt x="683" y="1622"/>
                </a:cubicBezTo>
                <a:cubicBezTo>
                  <a:pt x="688" y="1621"/>
                  <a:pt x="689" y="1618"/>
                  <a:pt x="688" y="1614"/>
                </a:cubicBezTo>
                <a:cubicBezTo>
                  <a:pt x="691" y="1614"/>
                  <a:pt x="695" y="1618"/>
                  <a:pt x="700" y="1625"/>
                </a:cubicBezTo>
                <a:cubicBezTo>
                  <a:pt x="706" y="1632"/>
                  <a:pt x="711" y="1636"/>
                  <a:pt x="715" y="1636"/>
                </a:cubicBezTo>
                <a:cubicBezTo>
                  <a:pt x="718" y="1637"/>
                  <a:pt x="721" y="1636"/>
                  <a:pt x="725" y="1634"/>
                </a:cubicBezTo>
                <a:cubicBezTo>
                  <a:pt x="729" y="1632"/>
                  <a:pt x="732" y="1630"/>
                  <a:pt x="734" y="1630"/>
                </a:cubicBezTo>
                <a:cubicBezTo>
                  <a:pt x="733" y="1630"/>
                  <a:pt x="733" y="1631"/>
                  <a:pt x="733" y="1632"/>
                </a:cubicBezTo>
                <a:cubicBezTo>
                  <a:pt x="733" y="1631"/>
                  <a:pt x="733" y="1630"/>
                  <a:pt x="734" y="1630"/>
                </a:cubicBezTo>
                <a:cubicBezTo>
                  <a:pt x="734" y="1629"/>
                  <a:pt x="734" y="1629"/>
                  <a:pt x="734" y="1629"/>
                </a:cubicBezTo>
                <a:cubicBezTo>
                  <a:pt x="736" y="1624"/>
                  <a:pt x="737" y="1621"/>
                  <a:pt x="739" y="1618"/>
                </a:cubicBezTo>
                <a:cubicBezTo>
                  <a:pt x="741" y="1613"/>
                  <a:pt x="744" y="1611"/>
                  <a:pt x="748" y="1611"/>
                </a:cubicBezTo>
                <a:cubicBezTo>
                  <a:pt x="755" y="1613"/>
                  <a:pt x="760" y="1612"/>
                  <a:pt x="765" y="1610"/>
                </a:cubicBezTo>
                <a:cubicBezTo>
                  <a:pt x="769" y="1607"/>
                  <a:pt x="773" y="1606"/>
                  <a:pt x="776" y="1606"/>
                </a:cubicBezTo>
                <a:cubicBezTo>
                  <a:pt x="779" y="1607"/>
                  <a:pt x="781" y="1610"/>
                  <a:pt x="783" y="1617"/>
                </a:cubicBezTo>
                <a:cubicBezTo>
                  <a:pt x="785" y="1624"/>
                  <a:pt x="787" y="1627"/>
                  <a:pt x="790" y="1628"/>
                </a:cubicBezTo>
                <a:cubicBezTo>
                  <a:pt x="792" y="1628"/>
                  <a:pt x="796" y="1628"/>
                  <a:pt x="802" y="1628"/>
                </a:cubicBezTo>
                <a:cubicBezTo>
                  <a:pt x="807" y="1629"/>
                  <a:pt x="809" y="1631"/>
                  <a:pt x="809" y="1634"/>
                </a:cubicBezTo>
                <a:cubicBezTo>
                  <a:pt x="809" y="1636"/>
                  <a:pt x="808" y="1637"/>
                  <a:pt x="807" y="1638"/>
                </a:cubicBezTo>
                <a:cubicBezTo>
                  <a:pt x="807" y="1641"/>
                  <a:pt x="811" y="1645"/>
                  <a:pt x="819" y="1649"/>
                </a:cubicBezTo>
                <a:cubicBezTo>
                  <a:pt x="823" y="1650"/>
                  <a:pt x="829" y="1652"/>
                  <a:pt x="837" y="1652"/>
                </a:cubicBezTo>
                <a:cubicBezTo>
                  <a:pt x="844" y="1653"/>
                  <a:pt x="852" y="1652"/>
                  <a:pt x="861" y="1648"/>
                </a:cubicBezTo>
                <a:cubicBezTo>
                  <a:pt x="870" y="1644"/>
                  <a:pt x="874" y="1642"/>
                  <a:pt x="874" y="1642"/>
                </a:cubicBezTo>
                <a:cubicBezTo>
                  <a:pt x="875" y="1642"/>
                  <a:pt x="883" y="1644"/>
                  <a:pt x="901" y="1649"/>
                </a:cubicBezTo>
                <a:cubicBezTo>
                  <a:pt x="916" y="1651"/>
                  <a:pt x="926" y="1650"/>
                  <a:pt x="930" y="1647"/>
                </a:cubicBezTo>
                <a:cubicBezTo>
                  <a:pt x="931" y="1646"/>
                  <a:pt x="933" y="1646"/>
                  <a:pt x="937" y="1646"/>
                </a:cubicBezTo>
                <a:cubicBezTo>
                  <a:pt x="940" y="1647"/>
                  <a:pt x="943" y="1647"/>
                  <a:pt x="944" y="1646"/>
                </a:cubicBezTo>
                <a:cubicBezTo>
                  <a:pt x="945" y="1645"/>
                  <a:pt x="950" y="1644"/>
                  <a:pt x="956" y="1642"/>
                </a:cubicBezTo>
                <a:cubicBezTo>
                  <a:pt x="963" y="1640"/>
                  <a:pt x="969" y="1634"/>
                  <a:pt x="976" y="1626"/>
                </a:cubicBezTo>
                <a:cubicBezTo>
                  <a:pt x="976" y="1625"/>
                  <a:pt x="979" y="1624"/>
                  <a:pt x="982" y="1624"/>
                </a:cubicBezTo>
                <a:cubicBezTo>
                  <a:pt x="983" y="1624"/>
                  <a:pt x="986" y="1625"/>
                  <a:pt x="990" y="1625"/>
                </a:cubicBezTo>
                <a:cubicBezTo>
                  <a:pt x="990" y="1625"/>
                  <a:pt x="993" y="1625"/>
                  <a:pt x="996" y="1623"/>
                </a:cubicBezTo>
                <a:cubicBezTo>
                  <a:pt x="1000" y="1622"/>
                  <a:pt x="1002" y="1621"/>
                  <a:pt x="1003" y="1621"/>
                </a:cubicBezTo>
                <a:cubicBezTo>
                  <a:pt x="1005" y="1621"/>
                  <a:pt x="1006" y="1623"/>
                  <a:pt x="1008" y="1625"/>
                </a:cubicBezTo>
                <a:cubicBezTo>
                  <a:pt x="1010" y="1627"/>
                  <a:pt x="1012" y="1628"/>
                  <a:pt x="1014" y="1628"/>
                </a:cubicBezTo>
                <a:cubicBezTo>
                  <a:pt x="1018" y="1628"/>
                  <a:pt x="1021" y="1629"/>
                  <a:pt x="1024" y="1631"/>
                </a:cubicBezTo>
                <a:cubicBezTo>
                  <a:pt x="1026" y="1632"/>
                  <a:pt x="1028" y="1633"/>
                  <a:pt x="1029" y="1633"/>
                </a:cubicBezTo>
                <a:cubicBezTo>
                  <a:pt x="1031" y="1633"/>
                  <a:pt x="1035" y="1631"/>
                  <a:pt x="1042" y="1627"/>
                </a:cubicBezTo>
                <a:cubicBezTo>
                  <a:pt x="1044" y="1626"/>
                  <a:pt x="1046" y="1624"/>
                  <a:pt x="1048" y="1620"/>
                </a:cubicBezTo>
                <a:cubicBezTo>
                  <a:pt x="1050" y="1616"/>
                  <a:pt x="1051" y="1615"/>
                  <a:pt x="1052" y="1615"/>
                </a:cubicBezTo>
                <a:cubicBezTo>
                  <a:pt x="1052" y="1615"/>
                  <a:pt x="1055" y="1616"/>
                  <a:pt x="1059" y="1618"/>
                </a:cubicBezTo>
                <a:cubicBezTo>
                  <a:pt x="1062" y="1618"/>
                  <a:pt x="1069" y="1616"/>
                  <a:pt x="1079" y="1611"/>
                </a:cubicBezTo>
                <a:cubicBezTo>
                  <a:pt x="1089" y="1605"/>
                  <a:pt x="1095" y="1603"/>
                  <a:pt x="1098" y="1603"/>
                </a:cubicBezTo>
                <a:cubicBezTo>
                  <a:pt x="1100" y="1603"/>
                  <a:pt x="1102" y="1603"/>
                  <a:pt x="1104" y="1603"/>
                </a:cubicBezTo>
                <a:cubicBezTo>
                  <a:pt x="1105" y="1603"/>
                  <a:pt x="1106" y="1605"/>
                  <a:pt x="1108" y="1607"/>
                </a:cubicBezTo>
                <a:lnTo>
                  <a:pt x="1108" y="1607"/>
                </a:lnTo>
                <a:close/>
                <a:moveTo>
                  <a:pt x="229" y="90"/>
                </a:moveTo>
                <a:lnTo>
                  <a:pt x="229" y="90"/>
                </a:lnTo>
                <a:cubicBezTo>
                  <a:pt x="232" y="87"/>
                  <a:pt x="234" y="84"/>
                  <a:pt x="236" y="82"/>
                </a:cubicBezTo>
                <a:cubicBezTo>
                  <a:pt x="238" y="79"/>
                  <a:pt x="239" y="76"/>
                  <a:pt x="237" y="72"/>
                </a:cubicBezTo>
                <a:cubicBezTo>
                  <a:pt x="241" y="69"/>
                  <a:pt x="246" y="67"/>
                  <a:pt x="252" y="68"/>
                </a:cubicBezTo>
                <a:cubicBezTo>
                  <a:pt x="253" y="68"/>
                  <a:pt x="255" y="70"/>
                  <a:pt x="257" y="74"/>
                </a:cubicBezTo>
                <a:cubicBezTo>
                  <a:pt x="259" y="78"/>
                  <a:pt x="260" y="81"/>
                  <a:pt x="260" y="83"/>
                </a:cubicBezTo>
                <a:cubicBezTo>
                  <a:pt x="259" y="85"/>
                  <a:pt x="258" y="89"/>
                  <a:pt x="256" y="93"/>
                </a:cubicBezTo>
                <a:cubicBezTo>
                  <a:pt x="254" y="98"/>
                  <a:pt x="253" y="101"/>
                  <a:pt x="253" y="103"/>
                </a:cubicBezTo>
                <a:cubicBezTo>
                  <a:pt x="252" y="106"/>
                  <a:pt x="255" y="111"/>
                  <a:pt x="261" y="118"/>
                </a:cubicBezTo>
                <a:cubicBezTo>
                  <a:pt x="264" y="121"/>
                  <a:pt x="267" y="125"/>
                  <a:pt x="271" y="129"/>
                </a:cubicBezTo>
                <a:cubicBezTo>
                  <a:pt x="272" y="130"/>
                  <a:pt x="277" y="132"/>
                  <a:pt x="286" y="136"/>
                </a:cubicBezTo>
                <a:cubicBezTo>
                  <a:pt x="293" y="139"/>
                  <a:pt x="296" y="143"/>
                  <a:pt x="295" y="146"/>
                </a:cubicBezTo>
                <a:cubicBezTo>
                  <a:pt x="295" y="148"/>
                  <a:pt x="295" y="150"/>
                  <a:pt x="293" y="152"/>
                </a:cubicBezTo>
                <a:cubicBezTo>
                  <a:pt x="292" y="154"/>
                  <a:pt x="291" y="156"/>
                  <a:pt x="291" y="157"/>
                </a:cubicBezTo>
                <a:cubicBezTo>
                  <a:pt x="291" y="159"/>
                  <a:pt x="292" y="161"/>
                  <a:pt x="296" y="164"/>
                </a:cubicBezTo>
                <a:cubicBezTo>
                  <a:pt x="300" y="166"/>
                  <a:pt x="303" y="169"/>
                  <a:pt x="304" y="172"/>
                </a:cubicBezTo>
                <a:cubicBezTo>
                  <a:pt x="304" y="175"/>
                  <a:pt x="305" y="179"/>
                  <a:pt x="305" y="184"/>
                </a:cubicBezTo>
                <a:cubicBezTo>
                  <a:pt x="306" y="188"/>
                  <a:pt x="308" y="190"/>
                  <a:pt x="312" y="190"/>
                </a:cubicBezTo>
                <a:cubicBezTo>
                  <a:pt x="315" y="191"/>
                  <a:pt x="320" y="186"/>
                  <a:pt x="324" y="177"/>
                </a:cubicBezTo>
                <a:cubicBezTo>
                  <a:pt x="324" y="175"/>
                  <a:pt x="323" y="173"/>
                  <a:pt x="321" y="170"/>
                </a:cubicBezTo>
                <a:cubicBezTo>
                  <a:pt x="318" y="168"/>
                  <a:pt x="317" y="166"/>
                  <a:pt x="317" y="164"/>
                </a:cubicBezTo>
                <a:cubicBezTo>
                  <a:pt x="318" y="161"/>
                  <a:pt x="321" y="156"/>
                  <a:pt x="328" y="147"/>
                </a:cubicBezTo>
                <a:cubicBezTo>
                  <a:pt x="334" y="139"/>
                  <a:pt x="339" y="133"/>
                  <a:pt x="342" y="130"/>
                </a:cubicBezTo>
                <a:cubicBezTo>
                  <a:pt x="351" y="123"/>
                  <a:pt x="356" y="117"/>
                  <a:pt x="356" y="112"/>
                </a:cubicBezTo>
                <a:cubicBezTo>
                  <a:pt x="356" y="104"/>
                  <a:pt x="356" y="97"/>
                  <a:pt x="357" y="90"/>
                </a:cubicBezTo>
                <a:cubicBezTo>
                  <a:pt x="357" y="85"/>
                  <a:pt x="358" y="82"/>
                  <a:pt x="358" y="80"/>
                </a:cubicBezTo>
                <a:cubicBezTo>
                  <a:pt x="359" y="76"/>
                  <a:pt x="360" y="74"/>
                  <a:pt x="363" y="75"/>
                </a:cubicBezTo>
                <a:cubicBezTo>
                  <a:pt x="365" y="75"/>
                  <a:pt x="366" y="76"/>
                  <a:pt x="368" y="78"/>
                </a:cubicBezTo>
                <a:cubicBezTo>
                  <a:pt x="369" y="79"/>
                  <a:pt x="371" y="80"/>
                  <a:pt x="373" y="80"/>
                </a:cubicBezTo>
                <a:cubicBezTo>
                  <a:pt x="373" y="80"/>
                  <a:pt x="375" y="80"/>
                  <a:pt x="378" y="77"/>
                </a:cubicBezTo>
                <a:cubicBezTo>
                  <a:pt x="381" y="85"/>
                  <a:pt x="383" y="93"/>
                  <a:pt x="385" y="103"/>
                </a:cubicBezTo>
                <a:cubicBezTo>
                  <a:pt x="386" y="111"/>
                  <a:pt x="391" y="114"/>
                  <a:pt x="399" y="115"/>
                </a:cubicBezTo>
                <a:cubicBezTo>
                  <a:pt x="399" y="115"/>
                  <a:pt x="400" y="115"/>
                  <a:pt x="402" y="115"/>
                </a:cubicBezTo>
                <a:cubicBezTo>
                  <a:pt x="403" y="115"/>
                  <a:pt x="405" y="114"/>
                  <a:pt x="406" y="111"/>
                </a:cubicBezTo>
                <a:cubicBezTo>
                  <a:pt x="406" y="111"/>
                  <a:pt x="408" y="112"/>
                  <a:pt x="411" y="113"/>
                </a:cubicBezTo>
                <a:cubicBezTo>
                  <a:pt x="412" y="112"/>
                  <a:pt x="413" y="110"/>
                  <a:pt x="413" y="106"/>
                </a:cubicBezTo>
                <a:cubicBezTo>
                  <a:pt x="416" y="106"/>
                  <a:pt x="422" y="107"/>
                  <a:pt x="429" y="106"/>
                </a:cubicBezTo>
                <a:cubicBezTo>
                  <a:pt x="435" y="107"/>
                  <a:pt x="441" y="111"/>
                  <a:pt x="444" y="119"/>
                </a:cubicBezTo>
                <a:cubicBezTo>
                  <a:pt x="446" y="123"/>
                  <a:pt x="447" y="126"/>
                  <a:pt x="448" y="127"/>
                </a:cubicBezTo>
                <a:cubicBezTo>
                  <a:pt x="451" y="130"/>
                  <a:pt x="454" y="131"/>
                  <a:pt x="457" y="132"/>
                </a:cubicBezTo>
                <a:cubicBezTo>
                  <a:pt x="461" y="132"/>
                  <a:pt x="463" y="131"/>
                  <a:pt x="463" y="127"/>
                </a:cubicBezTo>
                <a:cubicBezTo>
                  <a:pt x="463" y="125"/>
                  <a:pt x="463" y="122"/>
                  <a:pt x="461" y="119"/>
                </a:cubicBezTo>
                <a:cubicBezTo>
                  <a:pt x="459" y="116"/>
                  <a:pt x="459" y="113"/>
                  <a:pt x="459" y="112"/>
                </a:cubicBezTo>
                <a:cubicBezTo>
                  <a:pt x="459" y="111"/>
                  <a:pt x="460" y="109"/>
                  <a:pt x="462" y="107"/>
                </a:cubicBezTo>
                <a:cubicBezTo>
                  <a:pt x="464" y="104"/>
                  <a:pt x="465" y="103"/>
                  <a:pt x="466" y="102"/>
                </a:cubicBezTo>
                <a:cubicBezTo>
                  <a:pt x="458" y="99"/>
                  <a:pt x="455" y="93"/>
                  <a:pt x="456" y="84"/>
                </a:cubicBezTo>
                <a:cubicBezTo>
                  <a:pt x="456" y="80"/>
                  <a:pt x="458" y="76"/>
                  <a:pt x="460" y="72"/>
                </a:cubicBezTo>
                <a:cubicBezTo>
                  <a:pt x="464" y="68"/>
                  <a:pt x="466" y="65"/>
                  <a:pt x="467" y="63"/>
                </a:cubicBezTo>
                <a:lnTo>
                  <a:pt x="478" y="64"/>
                </a:lnTo>
                <a:cubicBezTo>
                  <a:pt x="479" y="68"/>
                  <a:pt x="482" y="72"/>
                  <a:pt x="487" y="76"/>
                </a:cubicBezTo>
                <a:cubicBezTo>
                  <a:pt x="492" y="80"/>
                  <a:pt x="496" y="81"/>
                  <a:pt x="500" y="82"/>
                </a:cubicBezTo>
                <a:cubicBezTo>
                  <a:pt x="502" y="82"/>
                  <a:pt x="505" y="77"/>
                  <a:pt x="510" y="67"/>
                </a:cubicBezTo>
                <a:cubicBezTo>
                  <a:pt x="508" y="65"/>
                  <a:pt x="505" y="64"/>
                  <a:pt x="502" y="63"/>
                </a:cubicBezTo>
                <a:cubicBezTo>
                  <a:pt x="499" y="63"/>
                  <a:pt x="499" y="61"/>
                  <a:pt x="499" y="57"/>
                </a:cubicBezTo>
                <a:cubicBezTo>
                  <a:pt x="499" y="55"/>
                  <a:pt x="501" y="51"/>
                  <a:pt x="504" y="45"/>
                </a:cubicBezTo>
                <a:cubicBezTo>
                  <a:pt x="507" y="40"/>
                  <a:pt x="509" y="34"/>
                  <a:pt x="510" y="27"/>
                </a:cubicBezTo>
                <a:cubicBezTo>
                  <a:pt x="512" y="28"/>
                  <a:pt x="514" y="29"/>
                  <a:pt x="516" y="29"/>
                </a:cubicBezTo>
                <a:cubicBezTo>
                  <a:pt x="519" y="29"/>
                  <a:pt x="522" y="28"/>
                  <a:pt x="524" y="27"/>
                </a:cubicBezTo>
                <a:cubicBezTo>
                  <a:pt x="527" y="25"/>
                  <a:pt x="530" y="24"/>
                  <a:pt x="534" y="25"/>
                </a:cubicBezTo>
                <a:cubicBezTo>
                  <a:pt x="535" y="25"/>
                  <a:pt x="539" y="30"/>
                  <a:pt x="546" y="41"/>
                </a:cubicBezTo>
                <a:cubicBezTo>
                  <a:pt x="549" y="42"/>
                  <a:pt x="557" y="44"/>
                  <a:pt x="571" y="46"/>
                </a:cubicBezTo>
                <a:cubicBezTo>
                  <a:pt x="578" y="47"/>
                  <a:pt x="582" y="43"/>
                  <a:pt x="583" y="36"/>
                </a:cubicBezTo>
                <a:cubicBezTo>
                  <a:pt x="584" y="32"/>
                  <a:pt x="585" y="29"/>
                  <a:pt x="585" y="27"/>
                </a:cubicBezTo>
                <a:cubicBezTo>
                  <a:pt x="586" y="24"/>
                  <a:pt x="587" y="21"/>
                  <a:pt x="589" y="19"/>
                </a:cubicBezTo>
                <a:cubicBezTo>
                  <a:pt x="590" y="18"/>
                  <a:pt x="595" y="17"/>
                  <a:pt x="605" y="14"/>
                </a:cubicBezTo>
                <a:cubicBezTo>
                  <a:pt x="614" y="12"/>
                  <a:pt x="619" y="11"/>
                  <a:pt x="621" y="11"/>
                </a:cubicBezTo>
                <a:cubicBezTo>
                  <a:pt x="622" y="11"/>
                  <a:pt x="624" y="12"/>
                  <a:pt x="626" y="13"/>
                </a:cubicBezTo>
                <a:cubicBezTo>
                  <a:pt x="627" y="13"/>
                  <a:pt x="629" y="13"/>
                  <a:pt x="632" y="11"/>
                </a:cubicBezTo>
                <a:cubicBezTo>
                  <a:pt x="634" y="9"/>
                  <a:pt x="636" y="8"/>
                  <a:pt x="638" y="9"/>
                </a:cubicBezTo>
                <a:lnTo>
                  <a:pt x="658" y="11"/>
                </a:lnTo>
                <a:cubicBezTo>
                  <a:pt x="661" y="12"/>
                  <a:pt x="666" y="14"/>
                  <a:pt x="672" y="18"/>
                </a:cubicBezTo>
                <a:cubicBezTo>
                  <a:pt x="678" y="16"/>
                  <a:pt x="684" y="13"/>
                  <a:pt x="690" y="11"/>
                </a:cubicBezTo>
                <a:cubicBezTo>
                  <a:pt x="703" y="5"/>
                  <a:pt x="713" y="2"/>
                  <a:pt x="719" y="0"/>
                </a:cubicBezTo>
                <a:lnTo>
                  <a:pt x="729" y="1"/>
                </a:lnTo>
                <a:lnTo>
                  <a:pt x="728" y="8"/>
                </a:lnTo>
                <a:cubicBezTo>
                  <a:pt x="728" y="9"/>
                  <a:pt x="725" y="11"/>
                  <a:pt x="721" y="12"/>
                </a:cubicBezTo>
                <a:cubicBezTo>
                  <a:pt x="718" y="14"/>
                  <a:pt x="716" y="16"/>
                  <a:pt x="716" y="17"/>
                </a:cubicBezTo>
                <a:cubicBezTo>
                  <a:pt x="716" y="18"/>
                  <a:pt x="717" y="21"/>
                  <a:pt x="719" y="25"/>
                </a:cubicBezTo>
                <a:cubicBezTo>
                  <a:pt x="718" y="30"/>
                  <a:pt x="718" y="33"/>
                  <a:pt x="719" y="34"/>
                </a:cubicBezTo>
                <a:cubicBezTo>
                  <a:pt x="720" y="36"/>
                  <a:pt x="722" y="38"/>
                  <a:pt x="726" y="39"/>
                </a:cubicBezTo>
                <a:cubicBezTo>
                  <a:pt x="731" y="40"/>
                  <a:pt x="733" y="41"/>
                  <a:pt x="734" y="41"/>
                </a:cubicBezTo>
                <a:cubicBezTo>
                  <a:pt x="733" y="45"/>
                  <a:pt x="732" y="50"/>
                  <a:pt x="731" y="58"/>
                </a:cubicBezTo>
                <a:cubicBezTo>
                  <a:pt x="735" y="59"/>
                  <a:pt x="738" y="62"/>
                  <a:pt x="741" y="66"/>
                </a:cubicBezTo>
                <a:cubicBezTo>
                  <a:pt x="744" y="70"/>
                  <a:pt x="747" y="72"/>
                  <a:pt x="748" y="73"/>
                </a:cubicBezTo>
                <a:cubicBezTo>
                  <a:pt x="753" y="77"/>
                  <a:pt x="763" y="79"/>
                  <a:pt x="776" y="80"/>
                </a:cubicBezTo>
                <a:cubicBezTo>
                  <a:pt x="788" y="83"/>
                  <a:pt x="797" y="87"/>
                  <a:pt x="804" y="90"/>
                </a:cubicBezTo>
                <a:cubicBezTo>
                  <a:pt x="808" y="91"/>
                  <a:pt x="815" y="93"/>
                  <a:pt x="826" y="94"/>
                </a:cubicBezTo>
                <a:cubicBezTo>
                  <a:pt x="832" y="95"/>
                  <a:pt x="836" y="97"/>
                  <a:pt x="840" y="100"/>
                </a:cubicBezTo>
                <a:cubicBezTo>
                  <a:pt x="844" y="103"/>
                  <a:pt x="848" y="105"/>
                  <a:pt x="852" y="106"/>
                </a:cubicBezTo>
                <a:cubicBezTo>
                  <a:pt x="854" y="106"/>
                  <a:pt x="857" y="105"/>
                  <a:pt x="860" y="104"/>
                </a:cubicBezTo>
                <a:cubicBezTo>
                  <a:pt x="864" y="103"/>
                  <a:pt x="866" y="103"/>
                  <a:pt x="868" y="103"/>
                </a:cubicBezTo>
                <a:cubicBezTo>
                  <a:pt x="872" y="104"/>
                  <a:pt x="878" y="105"/>
                  <a:pt x="887" y="108"/>
                </a:cubicBezTo>
                <a:cubicBezTo>
                  <a:pt x="894" y="110"/>
                  <a:pt x="899" y="112"/>
                  <a:pt x="900" y="113"/>
                </a:cubicBezTo>
                <a:lnTo>
                  <a:pt x="900" y="113"/>
                </a:lnTo>
                <a:cubicBezTo>
                  <a:pt x="901" y="113"/>
                  <a:pt x="901" y="113"/>
                  <a:pt x="902" y="113"/>
                </a:cubicBezTo>
                <a:cubicBezTo>
                  <a:pt x="901" y="118"/>
                  <a:pt x="900" y="121"/>
                  <a:pt x="899" y="122"/>
                </a:cubicBezTo>
                <a:cubicBezTo>
                  <a:pt x="897" y="125"/>
                  <a:pt x="893" y="125"/>
                  <a:pt x="888" y="123"/>
                </a:cubicBezTo>
                <a:cubicBezTo>
                  <a:pt x="887" y="127"/>
                  <a:pt x="883" y="131"/>
                  <a:pt x="876" y="136"/>
                </a:cubicBezTo>
                <a:cubicBezTo>
                  <a:pt x="869" y="140"/>
                  <a:pt x="866" y="145"/>
                  <a:pt x="864" y="150"/>
                </a:cubicBezTo>
                <a:lnTo>
                  <a:pt x="863" y="164"/>
                </a:lnTo>
                <a:cubicBezTo>
                  <a:pt x="865" y="164"/>
                  <a:pt x="867" y="164"/>
                  <a:pt x="870" y="163"/>
                </a:cubicBezTo>
                <a:cubicBezTo>
                  <a:pt x="873" y="163"/>
                  <a:pt x="876" y="166"/>
                  <a:pt x="881" y="170"/>
                </a:cubicBezTo>
                <a:cubicBezTo>
                  <a:pt x="886" y="174"/>
                  <a:pt x="890" y="174"/>
                  <a:pt x="894" y="172"/>
                </a:cubicBezTo>
                <a:cubicBezTo>
                  <a:pt x="895" y="174"/>
                  <a:pt x="896" y="175"/>
                  <a:pt x="896" y="176"/>
                </a:cubicBezTo>
                <a:cubicBezTo>
                  <a:pt x="895" y="176"/>
                  <a:pt x="892" y="180"/>
                  <a:pt x="884" y="186"/>
                </a:cubicBezTo>
                <a:cubicBezTo>
                  <a:pt x="876" y="194"/>
                  <a:pt x="872" y="198"/>
                  <a:pt x="871" y="200"/>
                </a:cubicBezTo>
                <a:cubicBezTo>
                  <a:pt x="871" y="202"/>
                  <a:pt x="872" y="204"/>
                  <a:pt x="874" y="207"/>
                </a:cubicBezTo>
                <a:cubicBezTo>
                  <a:pt x="876" y="210"/>
                  <a:pt x="878" y="212"/>
                  <a:pt x="879" y="212"/>
                </a:cubicBezTo>
                <a:cubicBezTo>
                  <a:pt x="880" y="212"/>
                  <a:pt x="881" y="211"/>
                  <a:pt x="882" y="210"/>
                </a:cubicBezTo>
                <a:cubicBezTo>
                  <a:pt x="882" y="209"/>
                  <a:pt x="883" y="208"/>
                  <a:pt x="884" y="207"/>
                </a:cubicBezTo>
                <a:cubicBezTo>
                  <a:pt x="885" y="207"/>
                  <a:pt x="886" y="208"/>
                  <a:pt x="887" y="210"/>
                </a:cubicBezTo>
                <a:cubicBezTo>
                  <a:pt x="887" y="210"/>
                  <a:pt x="887" y="211"/>
                  <a:pt x="887" y="212"/>
                </a:cubicBezTo>
                <a:lnTo>
                  <a:pt x="887" y="214"/>
                </a:lnTo>
                <a:lnTo>
                  <a:pt x="886" y="216"/>
                </a:lnTo>
                <a:cubicBezTo>
                  <a:pt x="887" y="218"/>
                  <a:pt x="888" y="219"/>
                  <a:pt x="887" y="222"/>
                </a:cubicBezTo>
                <a:cubicBezTo>
                  <a:pt x="887" y="223"/>
                  <a:pt x="886" y="226"/>
                  <a:pt x="885" y="232"/>
                </a:cubicBezTo>
                <a:cubicBezTo>
                  <a:pt x="884" y="235"/>
                  <a:pt x="887" y="238"/>
                  <a:pt x="894" y="241"/>
                </a:cubicBezTo>
                <a:cubicBezTo>
                  <a:pt x="897" y="243"/>
                  <a:pt x="901" y="245"/>
                  <a:pt x="906" y="247"/>
                </a:cubicBezTo>
                <a:cubicBezTo>
                  <a:pt x="907" y="247"/>
                  <a:pt x="908" y="249"/>
                  <a:pt x="909" y="253"/>
                </a:cubicBezTo>
                <a:cubicBezTo>
                  <a:pt x="909" y="256"/>
                  <a:pt x="910" y="258"/>
                  <a:pt x="911" y="259"/>
                </a:cubicBezTo>
                <a:cubicBezTo>
                  <a:pt x="912" y="262"/>
                  <a:pt x="915" y="266"/>
                  <a:pt x="919" y="269"/>
                </a:cubicBezTo>
                <a:cubicBezTo>
                  <a:pt x="917" y="270"/>
                  <a:pt x="916" y="272"/>
                  <a:pt x="914" y="275"/>
                </a:cubicBezTo>
                <a:cubicBezTo>
                  <a:pt x="914" y="277"/>
                  <a:pt x="912" y="277"/>
                  <a:pt x="909" y="277"/>
                </a:cubicBezTo>
                <a:cubicBezTo>
                  <a:pt x="907" y="277"/>
                  <a:pt x="906" y="276"/>
                  <a:pt x="905" y="276"/>
                </a:cubicBezTo>
                <a:lnTo>
                  <a:pt x="905" y="276"/>
                </a:lnTo>
                <a:cubicBezTo>
                  <a:pt x="905" y="276"/>
                  <a:pt x="905" y="275"/>
                  <a:pt x="905" y="275"/>
                </a:cubicBezTo>
                <a:cubicBezTo>
                  <a:pt x="900" y="270"/>
                  <a:pt x="898" y="265"/>
                  <a:pt x="897" y="263"/>
                </a:cubicBezTo>
                <a:cubicBezTo>
                  <a:pt x="896" y="260"/>
                  <a:pt x="895" y="258"/>
                  <a:pt x="892" y="257"/>
                </a:cubicBezTo>
                <a:cubicBezTo>
                  <a:pt x="890" y="255"/>
                  <a:pt x="889" y="254"/>
                  <a:pt x="888" y="253"/>
                </a:cubicBezTo>
                <a:cubicBezTo>
                  <a:pt x="888" y="252"/>
                  <a:pt x="888" y="252"/>
                  <a:pt x="887" y="251"/>
                </a:cubicBezTo>
                <a:cubicBezTo>
                  <a:pt x="887" y="250"/>
                  <a:pt x="886" y="250"/>
                  <a:pt x="884" y="249"/>
                </a:cubicBezTo>
                <a:cubicBezTo>
                  <a:pt x="882" y="248"/>
                  <a:pt x="881" y="248"/>
                  <a:pt x="880" y="248"/>
                </a:cubicBezTo>
                <a:cubicBezTo>
                  <a:pt x="879" y="248"/>
                  <a:pt x="876" y="250"/>
                  <a:pt x="871" y="256"/>
                </a:cubicBezTo>
                <a:cubicBezTo>
                  <a:pt x="866" y="262"/>
                  <a:pt x="862" y="265"/>
                  <a:pt x="859" y="264"/>
                </a:cubicBezTo>
                <a:cubicBezTo>
                  <a:pt x="859" y="264"/>
                  <a:pt x="858" y="264"/>
                  <a:pt x="858" y="264"/>
                </a:cubicBezTo>
                <a:lnTo>
                  <a:pt x="858" y="260"/>
                </a:lnTo>
                <a:cubicBezTo>
                  <a:pt x="859" y="259"/>
                  <a:pt x="859" y="258"/>
                  <a:pt x="860" y="258"/>
                </a:cubicBezTo>
                <a:cubicBezTo>
                  <a:pt x="860" y="257"/>
                  <a:pt x="859" y="256"/>
                  <a:pt x="858" y="254"/>
                </a:cubicBezTo>
                <a:cubicBezTo>
                  <a:pt x="856" y="253"/>
                  <a:pt x="855" y="253"/>
                  <a:pt x="854" y="253"/>
                </a:cubicBezTo>
                <a:cubicBezTo>
                  <a:pt x="849" y="252"/>
                  <a:pt x="845" y="250"/>
                  <a:pt x="841" y="248"/>
                </a:cubicBezTo>
                <a:cubicBezTo>
                  <a:pt x="838" y="245"/>
                  <a:pt x="836" y="244"/>
                  <a:pt x="836" y="244"/>
                </a:cubicBezTo>
                <a:cubicBezTo>
                  <a:pt x="834" y="244"/>
                  <a:pt x="830" y="247"/>
                  <a:pt x="823" y="253"/>
                </a:cubicBezTo>
                <a:cubicBezTo>
                  <a:pt x="823" y="253"/>
                  <a:pt x="823" y="254"/>
                  <a:pt x="824" y="255"/>
                </a:cubicBezTo>
                <a:cubicBezTo>
                  <a:pt x="824" y="255"/>
                  <a:pt x="825" y="257"/>
                  <a:pt x="824" y="258"/>
                </a:cubicBezTo>
                <a:cubicBezTo>
                  <a:pt x="824" y="261"/>
                  <a:pt x="822" y="263"/>
                  <a:pt x="817" y="266"/>
                </a:cubicBezTo>
                <a:cubicBezTo>
                  <a:pt x="812" y="269"/>
                  <a:pt x="808" y="270"/>
                  <a:pt x="804" y="269"/>
                </a:cubicBezTo>
                <a:cubicBezTo>
                  <a:pt x="798" y="269"/>
                  <a:pt x="792" y="270"/>
                  <a:pt x="787" y="272"/>
                </a:cubicBezTo>
                <a:cubicBezTo>
                  <a:pt x="785" y="273"/>
                  <a:pt x="779" y="277"/>
                  <a:pt x="771" y="282"/>
                </a:cubicBezTo>
                <a:cubicBezTo>
                  <a:pt x="767" y="285"/>
                  <a:pt x="761" y="288"/>
                  <a:pt x="752" y="292"/>
                </a:cubicBezTo>
                <a:cubicBezTo>
                  <a:pt x="743" y="295"/>
                  <a:pt x="737" y="296"/>
                  <a:pt x="734" y="296"/>
                </a:cubicBezTo>
                <a:cubicBezTo>
                  <a:pt x="733" y="296"/>
                  <a:pt x="733" y="296"/>
                  <a:pt x="732" y="296"/>
                </a:cubicBezTo>
                <a:cubicBezTo>
                  <a:pt x="732" y="295"/>
                  <a:pt x="732" y="295"/>
                  <a:pt x="732" y="294"/>
                </a:cubicBezTo>
                <a:cubicBezTo>
                  <a:pt x="732" y="293"/>
                  <a:pt x="734" y="291"/>
                  <a:pt x="738" y="288"/>
                </a:cubicBezTo>
                <a:cubicBezTo>
                  <a:pt x="742" y="285"/>
                  <a:pt x="744" y="283"/>
                  <a:pt x="744" y="282"/>
                </a:cubicBezTo>
                <a:cubicBezTo>
                  <a:pt x="744" y="277"/>
                  <a:pt x="743" y="275"/>
                  <a:pt x="742" y="275"/>
                </a:cubicBezTo>
                <a:cubicBezTo>
                  <a:pt x="741" y="275"/>
                  <a:pt x="736" y="278"/>
                  <a:pt x="729" y="285"/>
                </a:cubicBezTo>
                <a:cubicBezTo>
                  <a:pt x="726" y="288"/>
                  <a:pt x="721" y="290"/>
                  <a:pt x="714" y="292"/>
                </a:cubicBezTo>
                <a:cubicBezTo>
                  <a:pt x="712" y="293"/>
                  <a:pt x="711" y="295"/>
                  <a:pt x="711" y="299"/>
                </a:cubicBezTo>
                <a:cubicBezTo>
                  <a:pt x="710" y="302"/>
                  <a:pt x="709" y="304"/>
                  <a:pt x="709" y="306"/>
                </a:cubicBezTo>
                <a:cubicBezTo>
                  <a:pt x="709" y="307"/>
                  <a:pt x="709" y="307"/>
                  <a:pt x="708" y="308"/>
                </a:cubicBezTo>
                <a:cubicBezTo>
                  <a:pt x="707" y="309"/>
                  <a:pt x="707" y="311"/>
                  <a:pt x="706" y="313"/>
                </a:cubicBezTo>
                <a:cubicBezTo>
                  <a:pt x="706" y="315"/>
                  <a:pt x="706" y="316"/>
                  <a:pt x="706" y="317"/>
                </a:cubicBezTo>
                <a:cubicBezTo>
                  <a:pt x="705" y="319"/>
                  <a:pt x="702" y="320"/>
                  <a:pt x="697" y="319"/>
                </a:cubicBezTo>
                <a:cubicBezTo>
                  <a:pt x="697" y="320"/>
                  <a:pt x="698" y="322"/>
                  <a:pt x="701" y="324"/>
                </a:cubicBezTo>
                <a:cubicBezTo>
                  <a:pt x="703" y="326"/>
                  <a:pt x="704" y="328"/>
                  <a:pt x="704" y="329"/>
                </a:cubicBezTo>
                <a:cubicBezTo>
                  <a:pt x="704" y="332"/>
                  <a:pt x="705" y="334"/>
                  <a:pt x="707" y="337"/>
                </a:cubicBezTo>
                <a:lnTo>
                  <a:pt x="717" y="342"/>
                </a:lnTo>
                <a:cubicBezTo>
                  <a:pt x="714" y="347"/>
                  <a:pt x="714" y="355"/>
                  <a:pt x="718" y="366"/>
                </a:cubicBezTo>
                <a:cubicBezTo>
                  <a:pt x="719" y="369"/>
                  <a:pt x="723" y="372"/>
                  <a:pt x="730" y="376"/>
                </a:cubicBezTo>
                <a:cubicBezTo>
                  <a:pt x="736" y="379"/>
                  <a:pt x="738" y="383"/>
                  <a:pt x="738" y="386"/>
                </a:cubicBezTo>
                <a:cubicBezTo>
                  <a:pt x="737" y="394"/>
                  <a:pt x="734" y="399"/>
                  <a:pt x="730" y="400"/>
                </a:cubicBezTo>
                <a:cubicBezTo>
                  <a:pt x="727" y="400"/>
                  <a:pt x="725" y="400"/>
                  <a:pt x="724" y="400"/>
                </a:cubicBezTo>
                <a:cubicBezTo>
                  <a:pt x="723" y="401"/>
                  <a:pt x="722" y="402"/>
                  <a:pt x="722" y="404"/>
                </a:cubicBezTo>
                <a:cubicBezTo>
                  <a:pt x="722" y="405"/>
                  <a:pt x="722" y="408"/>
                  <a:pt x="723" y="411"/>
                </a:cubicBezTo>
                <a:cubicBezTo>
                  <a:pt x="723" y="412"/>
                  <a:pt x="722" y="413"/>
                  <a:pt x="722" y="413"/>
                </a:cubicBezTo>
                <a:lnTo>
                  <a:pt x="715" y="412"/>
                </a:lnTo>
                <a:cubicBezTo>
                  <a:pt x="714" y="411"/>
                  <a:pt x="712" y="410"/>
                  <a:pt x="709" y="409"/>
                </a:cubicBezTo>
                <a:cubicBezTo>
                  <a:pt x="706" y="408"/>
                  <a:pt x="704" y="407"/>
                  <a:pt x="704" y="407"/>
                </a:cubicBezTo>
                <a:cubicBezTo>
                  <a:pt x="703" y="408"/>
                  <a:pt x="702" y="410"/>
                  <a:pt x="701" y="415"/>
                </a:cubicBezTo>
                <a:cubicBezTo>
                  <a:pt x="699" y="419"/>
                  <a:pt x="698" y="423"/>
                  <a:pt x="697" y="425"/>
                </a:cubicBezTo>
                <a:cubicBezTo>
                  <a:pt x="697" y="431"/>
                  <a:pt x="698" y="449"/>
                  <a:pt x="703" y="478"/>
                </a:cubicBezTo>
                <a:cubicBezTo>
                  <a:pt x="704" y="493"/>
                  <a:pt x="710" y="508"/>
                  <a:pt x="722" y="523"/>
                </a:cubicBezTo>
                <a:cubicBezTo>
                  <a:pt x="725" y="527"/>
                  <a:pt x="730" y="535"/>
                  <a:pt x="735" y="545"/>
                </a:cubicBezTo>
                <a:cubicBezTo>
                  <a:pt x="741" y="554"/>
                  <a:pt x="747" y="559"/>
                  <a:pt x="752" y="560"/>
                </a:cubicBezTo>
                <a:cubicBezTo>
                  <a:pt x="759" y="561"/>
                  <a:pt x="766" y="565"/>
                  <a:pt x="773" y="571"/>
                </a:cubicBezTo>
                <a:cubicBezTo>
                  <a:pt x="777" y="575"/>
                  <a:pt x="783" y="580"/>
                  <a:pt x="791" y="587"/>
                </a:cubicBezTo>
                <a:cubicBezTo>
                  <a:pt x="796" y="591"/>
                  <a:pt x="801" y="597"/>
                  <a:pt x="808" y="605"/>
                </a:cubicBezTo>
                <a:cubicBezTo>
                  <a:pt x="815" y="613"/>
                  <a:pt x="820" y="618"/>
                  <a:pt x="825" y="621"/>
                </a:cubicBezTo>
                <a:cubicBezTo>
                  <a:pt x="829" y="624"/>
                  <a:pt x="837" y="627"/>
                  <a:pt x="848" y="631"/>
                </a:cubicBezTo>
                <a:cubicBezTo>
                  <a:pt x="857" y="635"/>
                  <a:pt x="862" y="640"/>
                  <a:pt x="863" y="648"/>
                </a:cubicBezTo>
                <a:cubicBezTo>
                  <a:pt x="865" y="661"/>
                  <a:pt x="869" y="677"/>
                  <a:pt x="875" y="694"/>
                </a:cubicBezTo>
                <a:cubicBezTo>
                  <a:pt x="880" y="709"/>
                  <a:pt x="885" y="723"/>
                  <a:pt x="892" y="735"/>
                </a:cubicBezTo>
                <a:cubicBezTo>
                  <a:pt x="892" y="736"/>
                  <a:pt x="892" y="736"/>
                  <a:pt x="892" y="737"/>
                </a:cubicBezTo>
                <a:cubicBezTo>
                  <a:pt x="897" y="765"/>
                  <a:pt x="903" y="786"/>
                  <a:pt x="911" y="802"/>
                </a:cubicBezTo>
                <a:cubicBezTo>
                  <a:pt x="921" y="825"/>
                  <a:pt x="936" y="844"/>
                  <a:pt x="956" y="859"/>
                </a:cubicBezTo>
                <a:cubicBezTo>
                  <a:pt x="959" y="862"/>
                  <a:pt x="962" y="865"/>
                  <a:pt x="966" y="871"/>
                </a:cubicBezTo>
                <a:cubicBezTo>
                  <a:pt x="971" y="877"/>
                  <a:pt x="975" y="881"/>
                  <a:pt x="977" y="884"/>
                </a:cubicBezTo>
                <a:cubicBezTo>
                  <a:pt x="979" y="886"/>
                  <a:pt x="983" y="889"/>
                  <a:pt x="989" y="894"/>
                </a:cubicBezTo>
                <a:cubicBezTo>
                  <a:pt x="995" y="899"/>
                  <a:pt x="999" y="903"/>
                  <a:pt x="1002" y="908"/>
                </a:cubicBezTo>
                <a:cubicBezTo>
                  <a:pt x="1006" y="915"/>
                  <a:pt x="1014" y="922"/>
                  <a:pt x="1026" y="929"/>
                </a:cubicBezTo>
                <a:cubicBezTo>
                  <a:pt x="1038" y="935"/>
                  <a:pt x="1051" y="939"/>
                  <a:pt x="1063" y="940"/>
                </a:cubicBezTo>
                <a:cubicBezTo>
                  <a:pt x="1067" y="941"/>
                  <a:pt x="1076" y="941"/>
                  <a:pt x="1089" y="941"/>
                </a:cubicBezTo>
                <a:cubicBezTo>
                  <a:pt x="1101" y="942"/>
                  <a:pt x="1110" y="942"/>
                  <a:pt x="1115" y="943"/>
                </a:cubicBezTo>
                <a:cubicBezTo>
                  <a:pt x="1120" y="944"/>
                  <a:pt x="1136" y="942"/>
                  <a:pt x="1165" y="939"/>
                </a:cubicBezTo>
                <a:cubicBezTo>
                  <a:pt x="1173" y="940"/>
                  <a:pt x="1180" y="943"/>
                  <a:pt x="1186" y="948"/>
                </a:cubicBezTo>
                <a:cubicBezTo>
                  <a:pt x="1192" y="953"/>
                  <a:pt x="1195" y="961"/>
                  <a:pt x="1194" y="969"/>
                </a:cubicBezTo>
                <a:cubicBezTo>
                  <a:pt x="1194" y="973"/>
                  <a:pt x="1187" y="980"/>
                  <a:pt x="1173" y="990"/>
                </a:cubicBezTo>
                <a:lnTo>
                  <a:pt x="1153" y="1006"/>
                </a:lnTo>
                <a:cubicBezTo>
                  <a:pt x="1152" y="1012"/>
                  <a:pt x="1155" y="1019"/>
                  <a:pt x="1160" y="1026"/>
                </a:cubicBezTo>
                <a:cubicBezTo>
                  <a:pt x="1165" y="1033"/>
                  <a:pt x="1170" y="1037"/>
                  <a:pt x="1176" y="1040"/>
                </a:cubicBezTo>
                <a:cubicBezTo>
                  <a:pt x="1185" y="1044"/>
                  <a:pt x="1199" y="1051"/>
                  <a:pt x="1219" y="1062"/>
                </a:cubicBezTo>
                <a:lnTo>
                  <a:pt x="1220" y="1062"/>
                </a:lnTo>
                <a:cubicBezTo>
                  <a:pt x="1220" y="1062"/>
                  <a:pt x="1220" y="1062"/>
                  <a:pt x="1220" y="1062"/>
                </a:cubicBezTo>
                <a:cubicBezTo>
                  <a:pt x="1227" y="1064"/>
                  <a:pt x="1234" y="1067"/>
                  <a:pt x="1242" y="1071"/>
                </a:cubicBezTo>
                <a:cubicBezTo>
                  <a:pt x="1251" y="1076"/>
                  <a:pt x="1258" y="1079"/>
                  <a:pt x="1263" y="1081"/>
                </a:cubicBezTo>
                <a:cubicBezTo>
                  <a:pt x="1287" y="1089"/>
                  <a:pt x="1302" y="1095"/>
                  <a:pt x="1310" y="1098"/>
                </a:cubicBezTo>
                <a:cubicBezTo>
                  <a:pt x="1315" y="1101"/>
                  <a:pt x="1321" y="1106"/>
                  <a:pt x="1328" y="1112"/>
                </a:cubicBezTo>
                <a:cubicBezTo>
                  <a:pt x="1337" y="1119"/>
                  <a:pt x="1343" y="1124"/>
                  <a:pt x="1346" y="1127"/>
                </a:cubicBezTo>
                <a:lnTo>
                  <a:pt x="1363" y="1140"/>
                </a:lnTo>
                <a:cubicBezTo>
                  <a:pt x="1370" y="1146"/>
                  <a:pt x="1377" y="1149"/>
                  <a:pt x="1384" y="1150"/>
                </a:cubicBezTo>
                <a:cubicBezTo>
                  <a:pt x="1391" y="1151"/>
                  <a:pt x="1398" y="1154"/>
                  <a:pt x="1406" y="1159"/>
                </a:cubicBezTo>
                <a:cubicBezTo>
                  <a:pt x="1410" y="1161"/>
                  <a:pt x="1417" y="1166"/>
                  <a:pt x="1427" y="1171"/>
                </a:cubicBezTo>
                <a:cubicBezTo>
                  <a:pt x="1429" y="1173"/>
                  <a:pt x="1433" y="1174"/>
                  <a:pt x="1438" y="1176"/>
                </a:cubicBezTo>
                <a:cubicBezTo>
                  <a:pt x="1441" y="1178"/>
                  <a:pt x="1444" y="1181"/>
                  <a:pt x="1446" y="1185"/>
                </a:cubicBezTo>
                <a:cubicBezTo>
                  <a:pt x="1449" y="1194"/>
                  <a:pt x="1454" y="1200"/>
                  <a:pt x="1459" y="1203"/>
                </a:cubicBezTo>
                <a:cubicBezTo>
                  <a:pt x="1473" y="1209"/>
                  <a:pt x="1484" y="1220"/>
                  <a:pt x="1493" y="1233"/>
                </a:cubicBezTo>
                <a:cubicBezTo>
                  <a:pt x="1496" y="1238"/>
                  <a:pt x="1500" y="1246"/>
                  <a:pt x="1505" y="1257"/>
                </a:cubicBezTo>
                <a:cubicBezTo>
                  <a:pt x="1511" y="1269"/>
                  <a:pt x="1513" y="1276"/>
                  <a:pt x="1513" y="1277"/>
                </a:cubicBezTo>
                <a:cubicBezTo>
                  <a:pt x="1513" y="1278"/>
                  <a:pt x="1511" y="1281"/>
                  <a:pt x="1507" y="1285"/>
                </a:cubicBezTo>
                <a:cubicBezTo>
                  <a:pt x="1503" y="1290"/>
                  <a:pt x="1501" y="1296"/>
                  <a:pt x="1500" y="1303"/>
                </a:cubicBezTo>
                <a:cubicBezTo>
                  <a:pt x="1500" y="1305"/>
                  <a:pt x="1500" y="1312"/>
                  <a:pt x="1499" y="1324"/>
                </a:cubicBezTo>
                <a:lnTo>
                  <a:pt x="1499" y="1329"/>
                </a:lnTo>
                <a:cubicBezTo>
                  <a:pt x="1499" y="1329"/>
                  <a:pt x="1497" y="1329"/>
                  <a:pt x="1495" y="1329"/>
                </a:cubicBezTo>
                <a:cubicBezTo>
                  <a:pt x="1491" y="1329"/>
                  <a:pt x="1485" y="1327"/>
                  <a:pt x="1477" y="1323"/>
                </a:cubicBezTo>
                <a:cubicBezTo>
                  <a:pt x="1469" y="1319"/>
                  <a:pt x="1465" y="1317"/>
                  <a:pt x="1464" y="1316"/>
                </a:cubicBezTo>
                <a:cubicBezTo>
                  <a:pt x="1454" y="1311"/>
                  <a:pt x="1448" y="1301"/>
                  <a:pt x="1446" y="1285"/>
                </a:cubicBezTo>
                <a:cubicBezTo>
                  <a:pt x="1445" y="1276"/>
                  <a:pt x="1443" y="1270"/>
                  <a:pt x="1441" y="1265"/>
                </a:cubicBezTo>
                <a:cubicBezTo>
                  <a:pt x="1440" y="1263"/>
                  <a:pt x="1437" y="1259"/>
                  <a:pt x="1432" y="1254"/>
                </a:cubicBezTo>
                <a:cubicBezTo>
                  <a:pt x="1427" y="1249"/>
                  <a:pt x="1423" y="1246"/>
                  <a:pt x="1419" y="1244"/>
                </a:cubicBezTo>
                <a:cubicBezTo>
                  <a:pt x="1415" y="1242"/>
                  <a:pt x="1409" y="1240"/>
                  <a:pt x="1401" y="1240"/>
                </a:cubicBezTo>
                <a:cubicBezTo>
                  <a:pt x="1398" y="1239"/>
                  <a:pt x="1394" y="1240"/>
                  <a:pt x="1387" y="1240"/>
                </a:cubicBezTo>
                <a:cubicBezTo>
                  <a:pt x="1380" y="1241"/>
                  <a:pt x="1377" y="1242"/>
                  <a:pt x="1376" y="1242"/>
                </a:cubicBezTo>
                <a:cubicBezTo>
                  <a:pt x="1371" y="1241"/>
                  <a:pt x="1365" y="1237"/>
                  <a:pt x="1357" y="1230"/>
                </a:cubicBezTo>
                <a:cubicBezTo>
                  <a:pt x="1356" y="1228"/>
                  <a:pt x="1352" y="1226"/>
                  <a:pt x="1345" y="1224"/>
                </a:cubicBezTo>
                <a:cubicBezTo>
                  <a:pt x="1341" y="1222"/>
                  <a:pt x="1339" y="1220"/>
                  <a:pt x="1340" y="1216"/>
                </a:cubicBezTo>
                <a:cubicBezTo>
                  <a:pt x="1340" y="1213"/>
                  <a:pt x="1341" y="1211"/>
                  <a:pt x="1342" y="1210"/>
                </a:cubicBezTo>
                <a:cubicBezTo>
                  <a:pt x="1345" y="1209"/>
                  <a:pt x="1347" y="1208"/>
                  <a:pt x="1349" y="1205"/>
                </a:cubicBezTo>
                <a:lnTo>
                  <a:pt x="1343" y="1204"/>
                </a:lnTo>
                <a:cubicBezTo>
                  <a:pt x="1339" y="1207"/>
                  <a:pt x="1336" y="1208"/>
                  <a:pt x="1334" y="1207"/>
                </a:cubicBezTo>
                <a:cubicBezTo>
                  <a:pt x="1333" y="1207"/>
                  <a:pt x="1327" y="1205"/>
                  <a:pt x="1316" y="1201"/>
                </a:cubicBezTo>
                <a:cubicBezTo>
                  <a:pt x="1311" y="1201"/>
                  <a:pt x="1304" y="1205"/>
                  <a:pt x="1294" y="1214"/>
                </a:cubicBezTo>
                <a:cubicBezTo>
                  <a:pt x="1287" y="1221"/>
                  <a:pt x="1281" y="1227"/>
                  <a:pt x="1276" y="1233"/>
                </a:cubicBezTo>
                <a:cubicBezTo>
                  <a:pt x="1274" y="1235"/>
                  <a:pt x="1273" y="1240"/>
                  <a:pt x="1271" y="1247"/>
                </a:cubicBezTo>
                <a:cubicBezTo>
                  <a:pt x="1270" y="1254"/>
                  <a:pt x="1268" y="1259"/>
                  <a:pt x="1266" y="1260"/>
                </a:cubicBezTo>
                <a:cubicBezTo>
                  <a:pt x="1263" y="1263"/>
                  <a:pt x="1260" y="1266"/>
                  <a:pt x="1257" y="1270"/>
                </a:cubicBezTo>
                <a:cubicBezTo>
                  <a:pt x="1252" y="1276"/>
                  <a:pt x="1249" y="1279"/>
                  <a:pt x="1249" y="1281"/>
                </a:cubicBezTo>
                <a:cubicBezTo>
                  <a:pt x="1248" y="1283"/>
                  <a:pt x="1249" y="1287"/>
                  <a:pt x="1251" y="1291"/>
                </a:cubicBezTo>
                <a:cubicBezTo>
                  <a:pt x="1253" y="1295"/>
                  <a:pt x="1253" y="1298"/>
                  <a:pt x="1253" y="1301"/>
                </a:cubicBezTo>
                <a:cubicBezTo>
                  <a:pt x="1252" y="1305"/>
                  <a:pt x="1250" y="1309"/>
                  <a:pt x="1245" y="1312"/>
                </a:cubicBezTo>
                <a:cubicBezTo>
                  <a:pt x="1242" y="1315"/>
                  <a:pt x="1240" y="1317"/>
                  <a:pt x="1239" y="1320"/>
                </a:cubicBezTo>
                <a:lnTo>
                  <a:pt x="1239" y="1320"/>
                </a:lnTo>
                <a:cubicBezTo>
                  <a:pt x="1238" y="1321"/>
                  <a:pt x="1238" y="1323"/>
                  <a:pt x="1239" y="1324"/>
                </a:cubicBezTo>
                <a:cubicBezTo>
                  <a:pt x="1239" y="1326"/>
                  <a:pt x="1238" y="1328"/>
                  <a:pt x="1236" y="1330"/>
                </a:cubicBezTo>
                <a:cubicBezTo>
                  <a:pt x="1234" y="1332"/>
                  <a:pt x="1232" y="1335"/>
                  <a:pt x="1232" y="1337"/>
                </a:cubicBezTo>
                <a:cubicBezTo>
                  <a:pt x="1232" y="1343"/>
                  <a:pt x="1234" y="1349"/>
                  <a:pt x="1238" y="1354"/>
                </a:cubicBezTo>
                <a:cubicBezTo>
                  <a:pt x="1243" y="1360"/>
                  <a:pt x="1249" y="1363"/>
                  <a:pt x="1256" y="1363"/>
                </a:cubicBezTo>
                <a:cubicBezTo>
                  <a:pt x="1262" y="1362"/>
                  <a:pt x="1267" y="1365"/>
                  <a:pt x="1274" y="1370"/>
                </a:cubicBezTo>
                <a:cubicBezTo>
                  <a:pt x="1283" y="1377"/>
                  <a:pt x="1288" y="1381"/>
                  <a:pt x="1289" y="1382"/>
                </a:cubicBezTo>
                <a:cubicBezTo>
                  <a:pt x="1299" y="1387"/>
                  <a:pt x="1304" y="1390"/>
                  <a:pt x="1306" y="1391"/>
                </a:cubicBezTo>
                <a:cubicBezTo>
                  <a:pt x="1311" y="1394"/>
                  <a:pt x="1316" y="1397"/>
                  <a:pt x="1319" y="1401"/>
                </a:cubicBezTo>
                <a:cubicBezTo>
                  <a:pt x="1320" y="1402"/>
                  <a:pt x="1321" y="1405"/>
                  <a:pt x="1320" y="1410"/>
                </a:cubicBezTo>
                <a:cubicBezTo>
                  <a:pt x="1320" y="1412"/>
                  <a:pt x="1320" y="1416"/>
                  <a:pt x="1319" y="1420"/>
                </a:cubicBezTo>
                <a:cubicBezTo>
                  <a:pt x="1319" y="1422"/>
                  <a:pt x="1321" y="1428"/>
                  <a:pt x="1326" y="1437"/>
                </a:cubicBezTo>
                <a:cubicBezTo>
                  <a:pt x="1326" y="1438"/>
                  <a:pt x="1325" y="1440"/>
                  <a:pt x="1323" y="1442"/>
                </a:cubicBezTo>
                <a:cubicBezTo>
                  <a:pt x="1322" y="1444"/>
                  <a:pt x="1321" y="1446"/>
                  <a:pt x="1321" y="1447"/>
                </a:cubicBezTo>
                <a:cubicBezTo>
                  <a:pt x="1320" y="1452"/>
                  <a:pt x="1322" y="1457"/>
                  <a:pt x="1327" y="1462"/>
                </a:cubicBezTo>
                <a:cubicBezTo>
                  <a:pt x="1331" y="1467"/>
                  <a:pt x="1334" y="1471"/>
                  <a:pt x="1333" y="1474"/>
                </a:cubicBezTo>
                <a:cubicBezTo>
                  <a:pt x="1328" y="1488"/>
                  <a:pt x="1324" y="1495"/>
                  <a:pt x="1322" y="1495"/>
                </a:cubicBezTo>
                <a:cubicBezTo>
                  <a:pt x="1315" y="1491"/>
                  <a:pt x="1309" y="1489"/>
                  <a:pt x="1305" y="1488"/>
                </a:cubicBezTo>
                <a:cubicBezTo>
                  <a:pt x="1295" y="1487"/>
                  <a:pt x="1282" y="1491"/>
                  <a:pt x="1265" y="1500"/>
                </a:cubicBezTo>
                <a:cubicBezTo>
                  <a:pt x="1248" y="1509"/>
                  <a:pt x="1238" y="1519"/>
                  <a:pt x="1237" y="1529"/>
                </a:cubicBezTo>
                <a:cubicBezTo>
                  <a:pt x="1237" y="1534"/>
                  <a:pt x="1238" y="1542"/>
                  <a:pt x="1242" y="1552"/>
                </a:cubicBezTo>
                <a:cubicBezTo>
                  <a:pt x="1245" y="1562"/>
                  <a:pt x="1247" y="1568"/>
                  <a:pt x="1247" y="1571"/>
                </a:cubicBezTo>
                <a:cubicBezTo>
                  <a:pt x="1246" y="1577"/>
                  <a:pt x="1240" y="1584"/>
                  <a:pt x="1230" y="1592"/>
                </a:cubicBezTo>
                <a:cubicBezTo>
                  <a:pt x="1222" y="1599"/>
                  <a:pt x="1215" y="1603"/>
                  <a:pt x="1209" y="1605"/>
                </a:cubicBezTo>
                <a:cubicBezTo>
                  <a:pt x="1204" y="1606"/>
                  <a:pt x="1198" y="1613"/>
                  <a:pt x="1190" y="1625"/>
                </a:cubicBezTo>
                <a:cubicBezTo>
                  <a:pt x="1183" y="1635"/>
                  <a:pt x="1180" y="1642"/>
                  <a:pt x="1179" y="1645"/>
                </a:cubicBezTo>
                <a:cubicBezTo>
                  <a:pt x="1179" y="1649"/>
                  <a:pt x="1179" y="1655"/>
                  <a:pt x="1180" y="1662"/>
                </a:cubicBezTo>
                <a:lnTo>
                  <a:pt x="1179" y="1669"/>
                </a:lnTo>
                <a:cubicBezTo>
                  <a:pt x="1153" y="1673"/>
                  <a:pt x="1137" y="1674"/>
                  <a:pt x="1131" y="1674"/>
                </a:cubicBezTo>
                <a:cubicBezTo>
                  <a:pt x="1119" y="1672"/>
                  <a:pt x="1112" y="1670"/>
                  <a:pt x="1111" y="1665"/>
                </a:cubicBezTo>
                <a:cubicBezTo>
                  <a:pt x="1108" y="1655"/>
                  <a:pt x="1107" y="1648"/>
                  <a:pt x="1107" y="1643"/>
                </a:cubicBezTo>
                <a:cubicBezTo>
                  <a:pt x="1107" y="1643"/>
                  <a:pt x="1108" y="1641"/>
                  <a:pt x="1109" y="1640"/>
                </a:cubicBezTo>
                <a:cubicBezTo>
                  <a:pt x="1111" y="1638"/>
                  <a:pt x="1112" y="1636"/>
                  <a:pt x="1112" y="1636"/>
                </a:cubicBezTo>
                <a:cubicBezTo>
                  <a:pt x="1111" y="1635"/>
                  <a:pt x="1110" y="1632"/>
                  <a:pt x="1109" y="1629"/>
                </a:cubicBezTo>
                <a:cubicBezTo>
                  <a:pt x="1108" y="1626"/>
                  <a:pt x="1107" y="1623"/>
                  <a:pt x="1108" y="1621"/>
                </a:cubicBezTo>
                <a:cubicBezTo>
                  <a:pt x="1108" y="1620"/>
                  <a:pt x="1108" y="1619"/>
                  <a:pt x="1109" y="1618"/>
                </a:cubicBezTo>
                <a:cubicBezTo>
                  <a:pt x="1111" y="1615"/>
                  <a:pt x="1114" y="1612"/>
                  <a:pt x="1120" y="1611"/>
                </a:cubicBezTo>
                <a:cubicBezTo>
                  <a:pt x="1129" y="1608"/>
                  <a:pt x="1134" y="1605"/>
                  <a:pt x="1135" y="1602"/>
                </a:cubicBezTo>
                <a:cubicBezTo>
                  <a:pt x="1144" y="1581"/>
                  <a:pt x="1149" y="1569"/>
                  <a:pt x="1149" y="1566"/>
                </a:cubicBezTo>
                <a:cubicBezTo>
                  <a:pt x="1143" y="1554"/>
                  <a:pt x="1141" y="1547"/>
                  <a:pt x="1141" y="1544"/>
                </a:cubicBezTo>
                <a:cubicBezTo>
                  <a:pt x="1141" y="1541"/>
                  <a:pt x="1146" y="1537"/>
                  <a:pt x="1155" y="1533"/>
                </a:cubicBezTo>
                <a:cubicBezTo>
                  <a:pt x="1164" y="1528"/>
                  <a:pt x="1170" y="1526"/>
                  <a:pt x="1174" y="1526"/>
                </a:cubicBezTo>
                <a:cubicBezTo>
                  <a:pt x="1182" y="1525"/>
                  <a:pt x="1187" y="1522"/>
                  <a:pt x="1189" y="1515"/>
                </a:cubicBezTo>
                <a:cubicBezTo>
                  <a:pt x="1194" y="1502"/>
                  <a:pt x="1197" y="1495"/>
                  <a:pt x="1197" y="1494"/>
                </a:cubicBezTo>
                <a:cubicBezTo>
                  <a:pt x="1197" y="1493"/>
                  <a:pt x="1194" y="1489"/>
                  <a:pt x="1187" y="1482"/>
                </a:cubicBezTo>
                <a:cubicBezTo>
                  <a:pt x="1180" y="1474"/>
                  <a:pt x="1175" y="1468"/>
                  <a:pt x="1173" y="1463"/>
                </a:cubicBezTo>
                <a:cubicBezTo>
                  <a:pt x="1171" y="1459"/>
                  <a:pt x="1171" y="1452"/>
                  <a:pt x="1171" y="1441"/>
                </a:cubicBezTo>
                <a:cubicBezTo>
                  <a:pt x="1171" y="1428"/>
                  <a:pt x="1171" y="1420"/>
                  <a:pt x="1171" y="1417"/>
                </a:cubicBezTo>
                <a:cubicBezTo>
                  <a:pt x="1170" y="1410"/>
                  <a:pt x="1168" y="1403"/>
                  <a:pt x="1166" y="1396"/>
                </a:cubicBezTo>
                <a:cubicBezTo>
                  <a:pt x="1162" y="1386"/>
                  <a:pt x="1158" y="1381"/>
                  <a:pt x="1154" y="1381"/>
                </a:cubicBezTo>
                <a:cubicBezTo>
                  <a:pt x="1149" y="1380"/>
                  <a:pt x="1146" y="1375"/>
                  <a:pt x="1145" y="1366"/>
                </a:cubicBezTo>
                <a:cubicBezTo>
                  <a:pt x="1144" y="1358"/>
                  <a:pt x="1143" y="1352"/>
                  <a:pt x="1142" y="1347"/>
                </a:cubicBezTo>
                <a:cubicBezTo>
                  <a:pt x="1142" y="1347"/>
                  <a:pt x="1142" y="1347"/>
                  <a:pt x="1142" y="1347"/>
                </a:cubicBezTo>
                <a:cubicBezTo>
                  <a:pt x="1142" y="1346"/>
                  <a:pt x="1141" y="1344"/>
                  <a:pt x="1140" y="1343"/>
                </a:cubicBezTo>
                <a:cubicBezTo>
                  <a:pt x="1139" y="1341"/>
                  <a:pt x="1138" y="1338"/>
                  <a:pt x="1137" y="1335"/>
                </a:cubicBezTo>
                <a:cubicBezTo>
                  <a:pt x="1136" y="1329"/>
                  <a:pt x="1135" y="1325"/>
                  <a:pt x="1135" y="1323"/>
                </a:cubicBezTo>
                <a:cubicBezTo>
                  <a:pt x="1137" y="1319"/>
                  <a:pt x="1138" y="1317"/>
                  <a:pt x="1138" y="1316"/>
                </a:cubicBezTo>
                <a:cubicBezTo>
                  <a:pt x="1139" y="1314"/>
                  <a:pt x="1133" y="1308"/>
                  <a:pt x="1123" y="1297"/>
                </a:cubicBezTo>
                <a:cubicBezTo>
                  <a:pt x="1112" y="1287"/>
                  <a:pt x="1106" y="1282"/>
                  <a:pt x="1105" y="1282"/>
                </a:cubicBezTo>
                <a:cubicBezTo>
                  <a:pt x="1100" y="1281"/>
                  <a:pt x="1095" y="1282"/>
                  <a:pt x="1091" y="1284"/>
                </a:cubicBezTo>
                <a:cubicBezTo>
                  <a:pt x="1087" y="1287"/>
                  <a:pt x="1085" y="1291"/>
                  <a:pt x="1085" y="1297"/>
                </a:cubicBezTo>
                <a:lnTo>
                  <a:pt x="1080" y="1296"/>
                </a:lnTo>
                <a:cubicBezTo>
                  <a:pt x="1074" y="1288"/>
                  <a:pt x="1070" y="1282"/>
                  <a:pt x="1066" y="1278"/>
                </a:cubicBezTo>
                <a:cubicBezTo>
                  <a:pt x="1061" y="1272"/>
                  <a:pt x="1056" y="1268"/>
                  <a:pt x="1050" y="1266"/>
                </a:cubicBezTo>
                <a:lnTo>
                  <a:pt x="1037" y="1265"/>
                </a:lnTo>
                <a:cubicBezTo>
                  <a:pt x="1037" y="1264"/>
                  <a:pt x="1035" y="1262"/>
                  <a:pt x="1030" y="1258"/>
                </a:cubicBezTo>
                <a:cubicBezTo>
                  <a:pt x="1030" y="1258"/>
                  <a:pt x="1027" y="1256"/>
                  <a:pt x="1020" y="1252"/>
                </a:cubicBezTo>
                <a:cubicBezTo>
                  <a:pt x="1018" y="1250"/>
                  <a:pt x="1017" y="1247"/>
                  <a:pt x="1017" y="1243"/>
                </a:cubicBezTo>
                <a:cubicBezTo>
                  <a:pt x="1018" y="1236"/>
                  <a:pt x="1020" y="1231"/>
                  <a:pt x="1025" y="1228"/>
                </a:cubicBezTo>
                <a:cubicBezTo>
                  <a:pt x="1027" y="1227"/>
                  <a:pt x="1029" y="1226"/>
                  <a:pt x="1030" y="1225"/>
                </a:cubicBezTo>
                <a:cubicBezTo>
                  <a:pt x="1031" y="1225"/>
                  <a:pt x="1032" y="1224"/>
                  <a:pt x="1032" y="1223"/>
                </a:cubicBezTo>
                <a:cubicBezTo>
                  <a:pt x="1027" y="1208"/>
                  <a:pt x="1023" y="1198"/>
                  <a:pt x="1020" y="1193"/>
                </a:cubicBezTo>
                <a:cubicBezTo>
                  <a:pt x="1011" y="1179"/>
                  <a:pt x="1005" y="1172"/>
                  <a:pt x="999" y="1172"/>
                </a:cubicBezTo>
                <a:cubicBezTo>
                  <a:pt x="998" y="1172"/>
                  <a:pt x="990" y="1175"/>
                  <a:pt x="974" y="1180"/>
                </a:cubicBezTo>
                <a:cubicBezTo>
                  <a:pt x="971" y="1181"/>
                  <a:pt x="967" y="1182"/>
                  <a:pt x="960" y="1182"/>
                </a:cubicBezTo>
                <a:cubicBezTo>
                  <a:pt x="954" y="1182"/>
                  <a:pt x="949" y="1182"/>
                  <a:pt x="946" y="1183"/>
                </a:cubicBezTo>
                <a:lnTo>
                  <a:pt x="946" y="1177"/>
                </a:lnTo>
                <a:cubicBezTo>
                  <a:pt x="946" y="1177"/>
                  <a:pt x="948" y="1174"/>
                  <a:pt x="952" y="1168"/>
                </a:cubicBezTo>
                <a:cubicBezTo>
                  <a:pt x="954" y="1165"/>
                  <a:pt x="956" y="1163"/>
                  <a:pt x="958" y="1162"/>
                </a:cubicBezTo>
                <a:cubicBezTo>
                  <a:pt x="958" y="1158"/>
                  <a:pt x="954" y="1153"/>
                  <a:pt x="946" y="1147"/>
                </a:cubicBezTo>
                <a:cubicBezTo>
                  <a:pt x="938" y="1143"/>
                  <a:pt x="933" y="1140"/>
                  <a:pt x="929" y="1140"/>
                </a:cubicBezTo>
                <a:cubicBezTo>
                  <a:pt x="928" y="1140"/>
                  <a:pt x="926" y="1140"/>
                  <a:pt x="925" y="1142"/>
                </a:cubicBezTo>
                <a:cubicBezTo>
                  <a:pt x="924" y="1142"/>
                  <a:pt x="922" y="1143"/>
                  <a:pt x="921" y="1145"/>
                </a:cubicBezTo>
                <a:cubicBezTo>
                  <a:pt x="916" y="1142"/>
                  <a:pt x="912" y="1141"/>
                  <a:pt x="910" y="1140"/>
                </a:cubicBezTo>
                <a:cubicBezTo>
                  <a:pt x="909" y="1140"/>
                  <a:pt x="908" y="1141"/>
                  <a:pt x="907" y="1142"/>
                </a:cubicBezTo>
                <a:cubicBezTo>
                  <a:pt x="906" y="1143"/>
                  <a:pt x="905" y="1144"/>
                  <a:pt x="904" y="1144"/>
                </a:cubicBezTo>
                <a:lnTo>
                  <a:pt x="903" y="1143"/>
                </a:lnTo>
                <a:cubicBezTo>
                  <a:pt x="902" y="1132"/>
                  <a:pt x="898" y="1118"/>
                  <a:pt x="890" y="1100"/>
                </a:cubicBezTo>
                <a:cubicBezTo>
                  <a:pt x="878" y="1074"/>
                  <a:pt x="865" y="1060"/>
                  <a:pt x="849" y="1059"/>
                </a:cubicBezTo>
                <a:cubicBezTo>
                  <a:pt x="846" y="1059"/>
                  <a:pt x="844" y="1060"/>
                  <a:pt x="842" y="1062"/>
                </a:cubicBezTo>
                <a:cubicBezTo>
                  <a:pt x="840" y="1064"/>
                  <a:pt x="838" y="1066"/>
                  <a:pt x="836" y="1065"/>
                </a:cubicBezTo>
                <a:cubicBezTo>
                  <a:pt x="834" y="1065"/>
                  <a:pt x="830" y="1063"/>
                  <a:pt x="824" y="1058"/>
                </a:cubicBezTo>
                <a:cubicBezTo>
                  <a:pt x="819" y="1053"/>
                  <a:pt x="813" y="1050"/>
                  <a:pt x="804" y="1050"/>
                </a:cubicBezTo>
                <a:cubicBezTo>
                  <a:pt x="797" y="1049"/>
                  <a:pt x="792" y="1049"/>
                  <a:pt x="789" y="1050"/>
                </a:cubicBezTo>
                <a:cubicBezTo>
                  <a:pt x="787" y="1051"/>
                  <a:pt x="784" y="1054"/>
                  <a:pt x="779" y="1060"/>
                </a:cubicBezTo>
                <a:cubicBezTo>
                  <a:pt x="773" y="1057"/>
                  <a:pt x="768" y="1053"/>
                  <a:pt x="764" y="1046"/>
                </a:cubicBezTo>
                <a:cubicBezTo>
                  <a:pt x="761" y="1038"/>
                  <a:pt x="758" y="1033"/>
                  <a:pt x="756" y="1030"/>
                </a:cubicBezTo>
                <a:cubicBezTo>
                  <a:pt x="753" y="1025"/>
                  <a:pt x="747" y="1022"/>
                  <a:pt x="739" y="1019"/>
                </a:cubicBezTo>
                <a:cubicBezTo>
                  <a:pt x="732" y="1018"/>
                  <a:pt x="726" y="1016"/>
                  <a:pt x="722" y="1015"/>
                </a:cubicBezTo>
                <a:cubicBezTo>
                  <a:pt x="720" y="1015"/>
                  <a:pt x="719" y="1014"/>
                  <a:pt x="718" y="1013"/>
                </a:cubicBezTo>
                <a:cubicBezTo>
                  <a:pt x="716" y="1013"/>
                  <a:pt x="715" y="1012"/>
                  <a:pt x="713" y="1010"/>
                </a:cubicBezTo>
                <a:cubicBezTo>
                  <a:pt x="711" y="1008"/>
                  <a:pt x="710" y="1005"/>
                  <a:pt x="709" y="1002"/>
                </a:cubicBezTo>
                <a:cubicBezTo>
                  <a:pt x="709" y="1000"/>
                  <a:pt x="705" y="994"/>
                  <a:pt x="697" y="985"/>
                </a:cubicBezTo>
                <a:cubicBezTo>
                  <a:pt x="687" y="972"/>
                  <a:pt x="679" y="965"/>
                  <a:pt x="671" y="963"/>
                </a:cubicBezTo>
                <a:cubicBezTo>
                  <a:pt x="667" y="962"/>
                  <a:pt x="664" y="957"/>
                  <a:pt x="662" y="948"/>
                </a:cubicBezTo>
                <a:cubicBezTo>
                  <a:pt x="661" y="939"/>
                  <a:pt x="659" y="933"/>
                  <a:pt x="657" y="931"/>
                </a:cubicBezTo>
                <a:cubicBezTo>
                  <a:pt x="657" y="931"/>
                  <a:pt x="653" y="927"/>
                  <a:pt x="644" y="919"/>
                </a:cubicBezTo>
                <a:cubicBezTo>
                  <a:pt x="639" y="914"/>
                  <a:pt x="635" y="911"/>
                  <a:pt x="631" y="909"/>
                </a:cubicBezTo>
                <a:cubicBezTo>
                  <a:pt x="622" y="904"/>
                  <a:pt x="617" y="901"/>
                  <a:pt x="615" y="899"/>
                </a:cubicBezTo>
                <a:cubicBezTo>
                  <a:pt x="611" y="896"/>
                  <a:pt x="609" y="890"/>
                  <a:pt x="608" y="883"/>
                </a:cubicBezTo>
                <a:cubicBezTo>
                  <a:pt x="606" y="870"/>
                  <a:pt x="599" y="859"/>
                  <a:pt x="589" y="851"/>
                </a:cubicBezTo>
                <a:cubicBezTo>
                  <a:pt x="582" y="846"/>
                  <a:pt x="578" y="843"/>
                  <a:pt x="574" y="841"/>
                </a:cubicBezTo>
                <a:cubicBezTo>
                  <a:pt x="569" y="837"/>
                  <a:pt x="563" y="834"/>
                  <a:pt x="556" y="833"/>
                </a:cubicBezTo>
                <a:cubicBezTo>
                  <a:pt x="547" y="832"/>
                  <a:pt x="540" y="832"/>
                  <a:pt x="535" y="831"/>
                </a:cubicBezTo>
                <a:cubicBezTo>
                  <a:pt x="527" y="830"/>
                  <a:pt x="522" y="827"/>
                  <a:pt x="521" y="822"/>
                </a:cubicBezTo>
                <a:cubicBezTo>
                  <a:pt x="523" y="822"/>
                  <a:pt x="525" y="821"/>
                  <a:pt x="529" y="818"/>
                </a:cubicBezTo>
                <a:cubicBezTo>
                  <a:pt x="532" y="815"/>
                  <a:pt x="534" y="813"/>
                  <a:pt x="535" y="811"/>
                </a:cubicBezTo>
                <a:cubicBezTo>
                  <a:pt x="535" y="807"/>
                  <a:pt x="532" y="800"/>
                  <a:pt x="526" y="792"/>
                </a:cubicBezTo>
                <a:cubicBezTo>
                  <a:pt x="520" y="784"/>
                  <a:pt x="516" y="780"/>
                  <a:pt x="516" y="779"/>
                </a:cubicBezTo>
                <a:cubicBezTo>
                  <a:pt x="513" y="775"/>
                  <a:pt x="511" y="772"/>
                  <a:pt x="510" y="769"/>
                </a:cubicBezTo>
                <a:cubicBezTo>
                  <a:pt x="507" y="765"/>
                  <a:pt x="504" y="763"/>
                  <a:pt x="501" y="762"/>
                </a:cubicBezTo>
                <a:cubicBezTo>
                  <a:pt x="501" y="762"/>
                  <a:pt x="497" y="761"/>
                  <a:pt x="488" y="760"/>
                </a:cubicBezTo>
                <a:cubicBezTo>
                  <a:pt x="485" y="759"/>
                  <a:pt x="483" y="757"/>
                  <a:pt x="483" y="752"/>
                </a:cubicBezTo>
                <a:cubicBezTo>
                  <a:pt x="484" y="743"/>
                  <a:pt x="484" y="737"/>
                  <a:pt x="484" y="735"/>
                </a:cubicBezTo>
                <a:cubicBezTo>
                  <a:pt x="482" y="730"/>
                  <a:pt x="477" y="728"/>
                  <a:pt x="470" y="727"/>
                </a:cubicBezTo>
                <a:cubicBezTo>
                  <a:pt x="462" y="726"/>
                  <a:pt x="458" y="726"/>
                  <a:pt x="458" y="726"/>
                </a:cubicBezTo>
                <a:cubicBezTo>
                  <a:pt x="453" y="725"/>
                  <a:pt x="452" y="721"/>
                  <a:pt x="452" y="716"/>
                </a:cubicBezTo>
                <a:cubicBezTo>
                  <a:pt x="452" y="713"/>
                  <a:pt x="454" y="709"/>
                  <a:pt x="457" y="704"/>
                </a:cubicBezTo>
                <a:cubicBezTo>
                  <a:pt x="459" y="700"/>
                  <a:pt x="461" y="696"/>
                  <a:pt x="461" y="692"/>
                </a:cubicBezTo>
                <a:cubicBezTo>
                  <a:pt x="463" y="671"/>
                  <a:pt x="458" y="651"/>
                  <a:pt x="445" y="632"/>
                </a:cubicBezTo>
                <a:cubicBezTo>
                  <a:pt x="441" y="626"/>
                  <a:pt x="438" y="622"/>
                  <a:pt x="437" y="620"/>
                </a:cubicBezTo>
                <a:cubicBezTo>
                  <a:pt x="434" y="614"/>
                  <a:pt x="434" y="608"/>
                  <a:pt x="434" y="603"/>
                </a:cubicBezTo>
                <a:cubicBezTo>
                  <a:pt x="436" y="593"/>
                  <a:pt x="437" y="587"/>
                  <a:pt x="437" y="584"/>
                </a:cubicBezTo>
                <a:cubicBezTo>
                  <a:pt x="437" y="577"/>
                  <a:pt x="436" y="573"/>
                  <a:pt x="433" y="571"/>
                </a:cubicBezTo>
                <a:lnTo>
                  <a:pt x="432" y="571"/>
                </a:lnTo>
                <a:cubicBezTo>
                  <a:pt x="432" y="570"/>
                  <a:pt x="432" y="570"/>
                  <a:pt x="432" y="570"/>
                </a:cubicBezTo>
                <a:cubicBezTo>
                  <a:pt x="432" y="567"/>
                  <a:pt x="431" y="563"/>
                  <a:pt x="430" y="558"/>
                </a:cubicBezTo>
                <a:cubicBezTo>
                  <a:pt x="427" y="546"/>
                  <a:pt x="425" y="539"/>
                  <a:pt x="424" y="538"/>
                </a:cubicBezTo>
                <a:cubicBezTo>
                  <a:pt x="422" y="534"/>
                  <a:pt x="420" y="531"/>
                  <a:pt x="419" y="529"/>
                </a:cubicBezTo>
                <a:cubicBezTo>
                  <a:pt x="417" y="526"/>
                  <a:pt x="414" y="523"/>
                  <a:pt x="410" y="522"/>
                </a:cubicBezTo>
                <a:cubicBezTo>
                  <a:pt x="407" y="521"/>
                  <a:pt x="400" y="517"/>
                  <a:pt x="390" y="511"/>
                </a:cubicBezTo>
                <a:cubicBezTo>
                  <a:pt x="391" y="516"/>
                  <a:pt x="389" y="518"/>
                  <a:pt x="385" y="518"/>
                </a:cubicBezTo>
                <a:cubicBezTo>
                  <a:pt x="370" y="504"/>
                  <a:pt x="359" y="495"/>
                  <a:pt x="351" y="488"/>
                </a:cubicBezTo>
                <a:cubicBezTo>
                  <a:pt x="345" y="484"/>
                  <a:pt x="339" y="479"/>
                  <a:pt x="332" y="472"/>
                </a:cubicBezTo>
                <a:cubicBezTo>
                  <a:pt x="325" y="465"/>
                  <a:pt x="320" y="460"/>
                  <a:pt x="316" y="458"/>
                </a:cubicBezTo>
                <a:cubicBezTo>
                  <a:pt x="314" y="458"/>
                  <a:pt x="313" y="459"/>
                  <a:pt x="312" y="461"/>
                </a:cubicBezTo>
                <a:cubicBezTo>
                  <a:pt x="312" y="462"/>
                  <a:pt x="311" y="463"/>
                  <a:pt x="309" y="462"/>
                </a:cubicBezTo>
                <a:cubicBezTo>
                  <a:pt x="306" y="459"/>
                  <a:pt x="302" y="455"/>
                  <a:pt x="296" y="451"/>
                </a:cubicBezTo>
                <a:cubicBezTo>
                  <a:pt x="287" y="444"/>
                  <a:pt x="275" y="439"/>
                  <a:pt x="263" y="438"/>
                </a:cubicBezTo>
                <a:cubicBezTo>
                  <a:pt x="255" y="437"/>
                  <a:pt x="250" y="437"/>
                  <a:pt x="248" y="438"/>
                </a:cubicBezTo>
                <a:cubicBezTo>
                  <a:pt x="247" y="438"/>
                  <a:pt x="242" y="442"/>
                  <a:pt x="233" y="447"/>
                </a:cubicBezTo>
                <a:cubicBezTo>
                  <a:pt x="231" y="449"/>
                  <a:pt x="226" y="450"/>
                  <a:pt x="218" y="451"/>
                </a:cubicBezTo>
                <a:cubicBezTo>
                  <a:pt x="211" y="453"/>
                  <a:pt x="209" y="458"/>
                  <a:pt x="211" y="465"/>
                </a:cubicBezTo>
                <a:cubicBezTo>
                  <a:pt x="209" y="471"/>
                  <a:pt x="201" y="477"/>
                  <a:pt x="187" y="482"/>
                </a:cubicBezTo>
                <a:cubicBezTo>
                  <a:pt x="185" y="483"/>
                  <a:pt x="183" y="485"/>
                  <a:pt x="181" y="487"/>
                </a:cubicBezTo>
                <a:cubicBezTo>
                  <a:pt x="181" y="489"/>
                  <a:pt x="180" y="491"/>
                  <a:pt x="179" y="494"/>
                </a:cubicBezTo>
                <a:cubicBezTo>
                  <a:pt x="178" y="496"/>
                  <a:pt x="176" y="498"/>
                  <a:pt x="173" y="501"/>
                </a:cubicBezTo>
                <a:cubicBezTo>
                  <a:pt x="170" y="503"/>
                  <a:pt x="168" y="504"/>
                  <a:pt x="168" y="505"/>
                </a:cubicBezTo>
                <a:cubicBezTo>
                  <a:pt x="168" y="507"/>
                  <a:pt x="168" y="508"/>
                  <a:pt x="169" y="510"/>
                </a:cubicBezTo>
                <a:cubicBezTo>
                  <a:pt x="169" y="514"/>
                  <a:pt x="152" y="520"/>
                  <a:pt x="119" y="529"/>
                </a:cubicBezTo>
                <a:cubicBezTo>
                  <a:pt x="114" y="530"/>
                  <a:pt x="103" y="531"/>
                  <a:pt x="87" y="531"/>
                </a:cubicBezTo>
                <a:cubicBezTo>
                  <a:pt x="86" y="531"/>
                  <a:pt x="86" y="531"/>
                  <a:pt x="85" y="531"/>
                </a:cubicBezTo>
                <a:cubicBezTo>
                  <a:pt x="82" y="528"/>
                  <a:pt x="81" y="524"/>
                  <a:pt x="81" y="518"/>
                </a:cubicBezTo>
                <a:cubicBezTo>
                  <a:pt x="82" y="514"/>
                  <a:pt x="87" y="508"/>
                  <a:pt x="96" y="499"/>
                </a:cubicBezTo>
                <a:cubicBezTo>
                  <a:pt x="106" y="491"/>
                  <a:pt x="111" y="485"/>
                  <a:pt x="111" y="481"/>
                </a:cubicBezTo>
                <a:cubicBezTo>
                  <a:pt x="112" y="479"/>
                  <a:pt x="111" y="477"/>
                  <a:pt x="109" y="476"/>
                </a:cubicBezTo>
                <a:cubicBezTo>
                  <a:pt x="107" y="474"/>
                  <a:pt x="106" y="473"/>
                  <a:pt x="107" y="471"/>
                </a:cubicBezTo>
                <a:cubicBezTo>
                  <a:pt x="107" y="471"/>
                  <a:pt x="107" y="469"/>
                  <a:pt x="109" y="468"/>
                </a:cubicBezTo>
                <a:lnTo>
                  <a:pt x="109" y="464"/>
                </a:lnTo>
                <a:cubicBezTo>
                  <a:pt x="104" y="463"/>
                  <a:pt x="101" y="463"/>
                  <a:pt x="100" y="463"/>
                </a:cubicBezTo>
                <a:cubicBezTo>
                  <a:pt x="96" y="462"/>
                  <a:pt x="91" y="463"/>
                  <a:pt x="84" y="465"/>
                </a:cubicBezTo>
                <a:cubicBezTo>
                  <a:pt x="77" y="466"/>
                  <a:pt x="74" y="467"/>
                  <a:pt x="73" y="467"/>
                </a:cubicBezTo>
                <a:cubicBezTo>
                  <a:pt x="70" y="466"/>
                  <a:pt x="65" y="464"/>
                  <a:pt x="58" y="459"/>
                </a:cubicBezTo>
                <a:cubicBezTo>
                  <a:pt x="56" y="458"/>
                  <a:pt x="53" y="455"/>
                  <a:pt x="48" y="451"/>
                </a:cubicBezTo>
                <a:cubicBezTo>
                  <a:pt x="44" y="448"/>
                  <a:pt x="40" y="446"/>
                  <a:pt x="35" y="443"/>
                </a:cubicBezTo>
                <a:cubicBezTo>
                  <a:pt x="35" y="443"/>
                  <a:pt x="32" y="443"/>
                  <a:pt x="26" y="442"/>
                </a:cubicBezTo>
                <a:cubicBezTo>
                  <a:pt x="23" y="441"/>
                  <a:pt x="21" y="440"/>
                  <a:pt x="22" y="437"/>
                </a:cubicBezTo>
                <a:cubicBezTo>
                  <a:pt x="22" y="435"/>
                  <a:pt x="21" y="430"/>
                  <a:pt x="18" y="424"/>
                </a:cubicBezTo>
                <a:cubicBezTo>
                  <a:pt x="16" y="417"/>
                  <a:pt x="15" y="412"/>
                  <a:pt x="16" y="409"/>
                </a:cubicBezTo>
                <a:cubicBezTo>
                  <a:pt x="16" y="407"/>
                  <a:pt x="16" y="406"/>
                  <a:pt x="17" y="404"/>
                </a:cubicBezTo>
                <a:cubicBezTo>
                  <a:pt x="18" y="403"/>
                  <a:pt x="19" y="402"/>
                  <a:pt x="19" y="400"/>
                </a:cubicBezTo>
                <a:cubicBezTo>
                  <a:pt x="19" y="399"/>
                  <a:pt x="18" y="398"/>
                  <a:pt x="17" y="396"/>
                </a:cubicBezTo>
                <a:cubicBezTo>
                  <a:pt x="15" y="395"/>
                  <a:pt x="14" y="393"/>
                  <a:pt x="14" y="391"/>
                </a:cubicBezTo>
                <a:cubicBezTo>
                  <a:pt x="14" y="387"/>
                  <a:pt x="17" y="384"/>
                  <a:pt x="21" y="381"/>
                </a:cubicBezTo>
                <a:cubicBezTo>
                  <a:pt x="22" y="381"/>
                  <a:pt x="23" y="379"/>
                  <a:pt x="24" y="377"/>
                </a:cubicBezTo>
                <a:cubicBezTo>
                  <a:pt x="26" y="374"/>
                  <a:pt x="26" y="372"/>
                  <a:pt x="27" y="371"/>
                </a:cubicBezTo>
                <a:cubicBezTo>
                  <a:pt x="29" y="368"/>
                  <a:pt x="33" y="364"/>
                  <a:pt x="38" y="361"/>
                </a:cubicBezTo>
                <a:cubicBezTo>
                  <a:pt x="43" y="358"/>
                  <a:pt x="46" y="357"/>
                  <a:pt x="46" y="357"/>
                </a:cubicBezTo>
                <a:cubicBezTo>
                  <a:pt x="43" y="349"/>
                  <a:pt x="42" y="345"/>
                  <a:pt x="41" y="342"/>
                </a:cubicBezTo>
                <a:cubicBezTo>
                  <a:pt x="40" y="337"/>
                  <a:pt x="40" y="334"/>
                  <a:pt x="39" y="332"/>
                </a:cubicBezTo>
                <a:cubicBezTo>
                  <a:pt x="39" y="330"/>
                  <a:pt x="37" y="328"/>
                  <a:pt x="33" y="328"/>
                </a:cubicBezTo>
                <a:cubicBezTo>
                  <a:pt x="28" y="328"/>
                  <a:pt x="25" y="328"/>
                  <a:pt x="24" y="328"/>
                </a:cubicBezTo>
                <a:cubicBezTo>
                  <a:pt x="19" y="327"/>
                  <a:pt x="15" y="325"/>
                  <a:pt x="13" y="320"/>
                </a:cubicBezTo>
                <a:cubicBezTo>
                  <a:pt x="11" y="316"/>
                  <a:pt x="11" y="311"/>
                  <a:pt x="11" y="305"/>
                </a:cubicBezTo>
                <a:cubicBezTo>
                  <a:pt x="12" y="304"/>
                  <a:pt x="11" y="303"/>
                  <a:pt x="9" y="302"/>
                </a:cubicBezTo>
                <a:cubicBezTo>
                  <a:pt x="7" y="302"/>
                  <a:pt x="6" y="301"/>
                  <a:pt x="6" y="301"/>
                </a:cubicBezTo>
                <a:cubicBezTo>
                  <a:pt x="5" y="301"/>
                  <a:pt x="4" y="299"/>
                  <a:pt x="5" y="298"/>
                </a:cubicBezTo>
                <a:cubicBezTo>
                  <a:pt x="5" y="296"/>
                  <a:pt x="5" y="294"/>
                  <a:pt x="5" y="293"/>
                </a:cubicBezTo>
                <a:cubicBezTo>
                  <a:pt x="5" y="291"/>
                  <a:pt x="4" y="289"/>
                  <a:pt x="2" y="285"/>
                </a:cubicBezTo>
                <a:cubicBezTo>
                  <a:pt x="1" y="281"/>
                  <a:pt x="0" y="279"/>
                  <a:pt x="0" y="278"/>
                </a:cubicBezTo>
                <a:cubicBezTo>
                  <a:pt x="1" y="274"/>
                  <a:pt x="3" y="273"/>
                  <a:pt x="8" y="273"/>
                </a:cubicBezTo>
                <a:cubicBezTo>
                  <a:pt x="9" y="274"/>
                  <a:pt x="16" y="275"/>
                  <a:pt x="30" y="277"/>
                </a:cubicBezTo>
                <a:cubicBezTo>
                  <a:pt x="33" y="277"/>
                  <a:pt x="36" y="276"/>
                  <a:pt x="38" y="273"/>
                </a:cubicBezTo>
                <a:cubicBezTo>
                  <a:pt x="42" y="269"/>
                  <a:pt x="45" y="266"/>
                  <a:pt x="47" y="266"/>
                </a:cubicBezTo>
                <a:cubicBezTo>
                  <a:pt x="48" y="265"/>
                  <a:pt x="52" y="264"/>
                  <a:pt x="58" y="264"/>
                </a:cubicBezTo>
                <a:cubicBezTo>
                  <a:pt x="62" y="263"/>
                  <a:pt x="64" y="261"/>
                  <a:pt x="64" y="258"/>
                </a:cubicBezTo>
                <a:cubicBezTo>
                  <a:pt x="64" y="253"/>
                  <a:pt x="64" y="250"/>
                  <a:pt x="64" y="249"/>
                </a:cubicBezTo>
                <a:cubicBezTo>
                  <a:pt x="64" y="248"/>
                  <a:pt x="66" y="246"/>
                  <a:pt x="70" y="243"/>
                </a:cubicBezTo>
                <a:cubicBezTo>
                  <a:pt x="74" y="240"/>
                  <a:pt x="75" y="237"/>
                  <a:pt x="76" y="236"/>
                </a:cubicBezTo>
                <a:cubicBezTo>
                  <a:pt x="76" y="234"/>
                  <a:pt x="75" y="233"/>
                  <a:pt x="72" y="230"/>
                </a:cubicBezTo>
                <a:cubicBezTo>
                  <a:pt x="69" y="228"/>
                  <a:pt x="66" y="225"/>
                  <a:pt x="65" y="223"/>
                </a:cubicBezTo>
                <a:cubicBezTo>
                  <a:pt x="57" y="216"/>
                  <a:pt x="53" y="209"/>
                  <a:pt x="54" y="202"/>
                </a:cubicBezTo>
                <a:cubicBezTo>
                  <a:pt x="56" y="198"/>
                  <a:pt x="57" y="194"/>
                  <a:pt x="57" y="191"/>
                </a:cubicBezTo>
                <a:cubicBezTo>
                  <a:pt x="51" y="189"/>
                  <a:pt x="47" y="186"/>
                  <a:pt x="45" y="182"/>
                </a:cubicBezTo>
                <a:cubicBezTo>
                  <a:pt x="44" y="180"/>
                  <a:pt x="42" y="178"/>
                  <a:pt x="39" y="176"/>
                </a:cubicBezTo>
                <a:cubicBezTo>
                  <a:pt x="38" y="175"/>
                  <a:pt x="37" y="172"/>
                  <a:pt x="38" y="168"/>
                </a:cubicBezTo>
                <a:cubicBezTo>
                  <a:pt x="39" y="157"/>
                  <a:pt x="44" y="152"/>
                  <a:pt x="55" y="153"/>
                </a:cubicBezTo>
                <a:cubicBezTo>
                  <a:pt x="59" y="154"/>
                  <a:pt x="62" y="152"/>
                  <a:pt x="65" y="147"/>
                </a:cubicBezTo>
                <a:cubicBezTo>
                  <a:pt x="68" y="142"/>
                  <a:pt x="70" y="138"/>
                  <a:pt x="71" y="136"/>
                </a:cubicBezTo>
                <a:lnTo>
                  <a:pt x="71" y="137"/>
                </a:lnTo>
                <a:cubicBezTo>
                  <a:pt x="73" y="143"/>
                  <a:pt x="74" y="148"/>
                  <a:pt x="77" y="150"/>
                </a:cubicBezTo>
                <a:cubicBezTo>
                  <a:pt x="79" y="155"/>
                  <a:pt x="84" y="157"/>
                  <a:pt x="90" y="156"/>
                </a:cubicBezTo>
                <a:cubicBezTo>
                  <a:pt x="91" y="150"/>
                  <a:pt x="94" y="147"/>
                  <a:pt x="100" y="148"/>
                </a:cubicBezTo>
                <a:cubicBezTo>
                  <a:pt x="103" y="148"/>
                  <a:pt x="108" y="149"/>
                  <a:pt x="116" y="151"/>
                </a:cubicBezTo>
                <a:cubicBezTo>
                  <a:pt x="119" y="151"/>
                  <a:pt x="123" y="149"/>
                  <a:pt x="128" y="145"/>
                </a:cubicBezTo>
                <a:cubicBezTo>
                  <a:pt x="133" y="141"/>
                  <a:pt x="137" y="139"/>
                  <a:pt x="138" y="139"/>
                </a:cubicBezTo>
                <a:cubicBezTo>
                  <a:pt x="140" y="139"/>
                  <a:pt x="145" y="142"/>
                  <a:pt x="151" y="148"/>
                </a:cubicBezTo>
                <a:cubicBezTo>
                  <a:pt x="158" y="154"/>
                  <a:pt x="163" y="157"/>
                  <a:pt x="167" y="157"/>
                </a:cubicBezTo>
                <a:cubicBezTo>
                  <a:pt x="169" y="157"/>
                  <a:pt x="171" y="156"/>
                  <a:pt x="173" y="153"/>
                </a:cubicBezTo>
                <a:cubicBezTo>
                  <a:pt x="175" y="150"/>
                  <a:pt x="177" y="148"/>
                  <a:pt x="178" y="148"/>
                </a:cubicBezTo>
                <a:cubicBezTo>
                  <a:pt x="180" y="147"/>
                  <a:pt x="183" y="147"/>
                  <a:pt x="186" y="146"/>
                </a:cubicBezTo>
                <a:cubicBezTo>
                  <a:pt x="189" y="145"/>
                  <a:pt x="192" y="144"/>
                  <a:pt x="193" y="141"/>
                </a:cubicBezTo>
                <a:cubicBezTo>
                  <a:pt x="192" y="135"/>
                  <a:pt x="193" y="131"/>
                  <a:pt x="195" y="129"/>
                </a:cubicBezTo>
                <a:cubicBezTo>
                  <a:pt x="196" y="127"/>
                  <a:pt x="198" y="126"/>
                  <a:pt x="202" y="126"/>
                </a:cubicBezTo>
                <a:cubicBezTo>
                  <a:pt x="205" y="125"/>
                  <a:pt x="208" y="124"/>
                  <a:pt x="209" y="123"/>
                </a:cubicBezTo>
                <a:cubicBezTo>
                  <a:pt x="212" y="122"/>
                  <a:pt x="213" y="119"/>
                  <a:pt x="214" y="114"/>
                </a:cubicBezTo>
                <a:cubicBezTo>
                  <a:pt x="214" y="112"/>
                  <a:pt x="213" y="110"/>
                  <a:pt x="212" y="107"/>
                </a:cubicBezTo>
                <a:cubicBezTo>
                  <a:pt x="211" y="104"/>
                  <a:pt x="210" y="103"/>
                  <a:pt x="210" y="102"/>
                </a:cubicBezTo>
                <a:cubicBezTo>
                  <a:pt x="211" y="99"/>
                  <a:pt x="213" y="97"/>
                  <a:pt x="219" y="95"/>
                </a:cubicBezTo>
                <a:cubicBezTo>
                  <a:pt x="225" y="93"/>
                  <a:pt x="228" y="92"/>
                  <a:pt x="229" y="90"/>
                </a:cubicBezTo>
                <a:lnTo>
                  <a:pt x="229" y="90"/>
                </a:lnTo>
                <a:close/>
                <a:moveTo>
                  <a:pt x="727" y="560"/>
                </a:moveTo>
                <a:lnTo>
                  <a:pt x="727" y="560"/>
                </a:lnTo>
                <a:cubicBezTo>
                  <a:pt x="728" y="562"/>
                  <a:pt x="728" y="564"/>
                  <a:pt x="727" y="565"/>
                </a:cubicBezTo>
                <a:cubicBezTo>
                  <a:pt x="728" y="568"/>
                  <a:pt x="727" y="570"/>
                  <a:pt x="724" y="571"/>
                </a:cubicBezTo>
                <a:cubicBezTo>
                  <a:pt x="722" y="572"/>
                  <a:pt x="720" y="573"/>
                  <a:pt x="719" y="573"/>
                </a:cubicBezTo>
                <a:cubicBezTo>
                  <a:pt x="715" y="573"/>
                  <a:pt x="713" y="570"/>
                  <a:pt x="713" y="566"/>
                </a:cubicBezTo>
                <a:cubicBezTo>
                  <a:pt x="713" y="564"/>
                  <a:pt x="715" y="562"/>
                  <a:pt x="718" y="560"/>
                </a:cubicBezTo>
                <a:cubicBezTo>
                  <a:pt x="722" y="558"/>
                  <a:pt x="725" y="557"/>
                  <a:pt x="727" y="557"/>
                </a:cubicBezTo>
                <a:cubicBezTo>
                  <a:pt x="727" y="557"/>
                  <a:pt x="726" y="557"/>
                  <a:pt x="726" y="557"/>
                </a:cubicBezTo>
                <a:cubicBezTo>
                  <a:pt x="726" y="556"/>
                  <a:pt x="725" y="556"/>
                  <a:pt x="725" y="556"/>
                </a:cubicBezTo>
                <a:cubicBezTo>
                  <a:pt x="725" y="556"/>
                  <a:pt x="726" y="556"/>
                  <a:pt x="726" y="557"/>
                </a:cubicBezTo>
                <a:cubicBezTo>
                  <a:pt x="726" y="557"/>
                  <a:pt x="727" y="557"/>
                  <a:pt x="727" y="557"/>
                </a:cubicBezTo>
                <a:cubicBezTo>
                  <a:pt x="727" y="557"/>
                  <a:pt x="727" y="559"/>
                  <a:pt x="727" y="560"/>
                </a:cubicBezTo>
                <a:lnTo>
                  <a:pt x="727" y="56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" name="Freeform 242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" name="Freeform 243"/>
          <p:cNvSpPr>
            <a:spLocks noEditPoints="1"/>
          </p:cNvSpPr>
          <p:nvPr/>
        </p:nvSpPr>
        <p:spPr bwMode="auto">
          <a:xfrm>
            <a:off x="6372796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" name="Freeform 244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 245"/>
          <p:cNvSpPr/>
          <p:nvPr/>
        </p:nvSpPr>
        <p:spPr bwMode="auto">
          <a:xfrm>
            <a:off x="9335482" y="4309624"/>
            <a:ext cx="848977" cy="539782"/>
          </a:xfrm>
          <a:custGeom>
            <a:avLst/>
            <a:gdLst>
              <a:gd name="T0" fmla="*/ 807 w 813"/>
              <a:gd name="T1" fmla="*/ 80 h 517"/>
              <a:gd name="T2" fmla="*/ 758 w 813"/>
              <a:gd name="T3" fmla="*/ 49 h 517"/>
              <a:gd name="T4" fmla="*/ 697 w 813"/>
              <a:gd name="T5" fmla="*/ 30 h 517"/>
              <a:gd name="T6" fmla="*/ 656 w 813"/>
              <a:gd name="T7" fmla="*/ 15 h 517"/>
              <a:gd name="T8" fmla="*/ 626 w 813"/>
              <a:gd name="T9" fmla="*/ 1 h 517"/>
              <a:gd name="T10" fmla="*/ 601 w 813"/>
              <a:gd name="T11" fmla="*/ 9 h 517"/>
              <a:gd name="T12" fmla="*/ 570 w 813"/>
              <a:gd name="T13" fmla="*/ 5 h 517"/>
              <a:gd name="T14" fmla="*/ 522 w 813"/>
              <a:gd name="T15" fmla="*/ 14 h 517"/>
              <a:gd name="T16" fmla="*/ 504 w 813"/>
              <a:gd name="T17" fmla="*/ 56 h 517"/>
              <a:gd name="T18" fmla="*/ 458 w 813"/>
              <a:gd name="T19" fmla="*/ 82 h 517"/>
              <a:gd name="T20" fmla="*/ 411 w 813"/>
              <a:gd name="T21" fmla="*/ 75 h 517"/>
              <a:gd name="T22" fmla="*/ 334 w 813"/>
              <a:gd name="T23" fmla="*/ 102 h 517"/>
              <a:gd name="T24" fmla="*/ 328 w 813"/>
              <a:gd name="T25" fmla="*/ 143 h 517"/>
              <a:gd name="T26" fmla="*/ 303 w 813"/>
              <a:gd name="T27" fmla="*/ 154 h 517"/>
              <a:gd name="T28" fmla="*/ 237 w 813"/>
              <a:gd name="T29" fmla="*/ 158 h 517"/>
              <a:gd name="T30" fmla="*/ 128 w 813"/>
              <a:gd name="T31" fmla="*/ 111 h 517"/>
              <a:gd name="T32" fmla="*/ 117 w 813"/>
              <a:gd name="T33" fmla="*/ 163 h 517"/>
              <a:gd name="T34" fmla="*/ 50 w 813"/>
              <a:gd name="T35" fmla="*/ 166 h 517"/>
              <a:gd name="T36" fmla="*/ 65 w 813"/>
              <a:gd name="T37" fmla="*/ 205 h 517"/>
              <a:gd name="T38" fmla="*/ 41 w 813"/>
              <a:gd name="T39" fmla="*/ 250 h 517"/>
              <a:gd name="T40" fmla="*/ 42 w 813"/>
              <a:gd name="T41" fmla="*/ 282 h 517"/>
              <a:gd name="T42" fmla="*/ 18 w 813"/>
              <a:gd name="T43" fmla="*/ 298 h 517"/>
              <a:gd name="T44" fmla="*/ 0 w 813"/>
              <a:gd name="T45" fmla="*/ 315 h 517"/>
              <a:gd name="T46" fmla="*/ 30 w 813"/>
              <a:gd name="T47" fmla="*/ 343 h 517"/>
              <a:gd name="T48" fmla="*/ 53 w 813"/>
              <a:gd name="T49" fmla="*/ 385 h 517"/>
              <a:gd name="T50" fmla="*/ 92 w 813"/>
              <a:gd name="T51" fmla="*/ 418 h 517"/>
              <a:gd name="T52" fmla="*/ 131 w 813"/>
              <a:gd name="T53" fmla="*/ 456 h 517"/>
              <a:gd name="T54" fmla="*/ 167 w 813"/>
              <a:gd name="T55" fmla="*/ 483 h 517"/>
              <a:gd name="T56" fmla="*/ 202 w 813"/>
              <a:gd name="T57" fmla="*/ 505 h 517"/>
              <a:gd name="T58" fmla="*/ 217 w 813"/>
              <a:gd name="T59" fmla="*/ 509 h 517"/>
              <a:gd name="T60" fmla="*/ 256 w 813"/>
              <a:gd name="T61" fmla="*/ 514 h 517"/>
              <a:gd name="T62" fmla="*/ 293 w 813"/>
              <a:gd name="T63" fmla="*/ 507 h 517"/>
              <a:gd name="T64" fmla="*/ 339 w 813"/>
              <a:gd name="T65" fmla="*/ 483 h 517"/>
              <a:gd name="T66" fmla="*/ 372 w 813"/>
              <a:gd name="T67" fmla="*/ 468 h 517"/>
              <a:gd name="T68" fmla="*/ 394 w 813"/>
              <a:gd name="T69" fmla="*/ 460 h 517"/>
              <a:gd name="T70" fmla="*/ 448 w 813"/>
              <a:gd name="T71" fmla="*/ 440 h 517"/>
              <a:gd name="T72" fmla="*/ 491 w 813"/>
              <a:gd name="T73" fmla="*/ 438 h 517"/>
              <a:gd name="T74" fmla="*/ 514 w 813"/>
              <a:gd name="T75" fmla="*/ 441 h 517"/>
              <a:gd name="T76" fmla="*/ 565 w 813"/>
              <a:gd name="T77" fmla="*/ 435 h 517"/>
              <a:gd name="T78" fmla="*/ 598 w 813"/>
              <a:gd name="T79" fmla="*/ 416 h 517"/>
              <a:gd name="T80" fmla="*/ 633 w 813"/>
              <a:gd name="T81" fmla="*/ 376 h 517"/>
              <a:gd name="T82" fmla="*/ 633 w 813"/>
              <a:gd name="T83" fmla="*/ 353 h 517"/>
              <a:gd name="T84" fmla="*/ 661 w 813"/>
              <a:gd name="T85" fmla="*/ 328 h 517"/>
              <a:gd name="T86" fmla="*/ 669 w 813"/>
              <a:gd name="T87" fmla="*/ 299 h 517"/>
              <a:gd name="T88" fmla="*/ 672 w 813"/>
              <a:gd name="T89" fmla="*/ 270 h 517"/>
              <a:gd name="T90" fmla="*/ 712 w 813"/>
              <a:gd name="T91" fmla="*/ 202 h 517"/>
              <a:gd name="T92" fmla="*/ 721 w 813"/>
              <a:gd name="T93" fmla="*/ 169 h 517"/>
              <a:gd name="T94" fmla="*/ 748 w 813"/>
              <a:gd name="T95" fmla="*/ 137 h 517"/>
              <a:gd name="T96" fmla="*/ 773 w 813"/>
              <a:gd name="T97" fmla="*/ 131 h 517"/>
              <a:gd name="T98" fmla="*/ 804 w 813"/>
              <a:gd name="T99" fmla="*/ 101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3" h="517">
                <a:moveTo>
                  <a:pt x="813" y="93"/>
                </a:moveTo>
                <a:lnTo>
                  <a:pt x="813" y="93"/>
                </a:lnTo>
                <a:cubicBezTo>
                  <a:pt x="812" y="93"/>
                  <a:pt x="812" y="93"/>
                  <a:pt x="811" y="93"/>
                </a:cubicBezTo>
                <a:cubicBezTo>
                  <a:pt x="810" y="91"/>
                  <a:pt x="808" y="86"/>
                  <a:pt x="807" y="80"/>
                </a:cubicBezTo>
                <a:cubicBezTo>
                  <a:pt x="805" y="74"/>
                  <a:pt x="802" y="71"/>
                  <a:pt x="798" y="71"/>
                </a:cubicBezTo>
                <a:cubicBezTo>
                  <a:pt x="791" y="71"/>
                  <a:pt x="786" y="72"/>
                  <a:pt x="785" y="71"/>
                </a:cubicBezTo>
                <a:cubicBezTo>
                  <a:pt x="780" y="71"/>
                  <a:pt x="776" y="67"/>
                  <a:pt x="773" y="60"/>
                </a:cubicBezTo>
                <a:cubicBezTo>
                  <a:pt x="769" y="53"/>
                  <a:pt x="764" y="49"/>
                  <a:pt x="758" y="49"/>
                </a:cubicBezTo>
                <a:cubicBezTo>
                  <a:pt x="752" y="48"/>
                  <a:pt x="748" y="47"/>
                  <a:pt x="745" y="44"/>
                </a:cubicBezTo>
                <a:cubicBezTo>
                  <a:pt x="744" y="43"/>
                  <a:pt x="741" y="40"/>
                  <a:pt x="739" y="36"/>
                </a:cubicBezTo>
                <a:cubicBezTo>
                  <a:pt x="734" y="29"/>
                  <a:pt x="727" y="23"/>
                  <a:pt x="718" y="20"/>
                </a:cubicBezTo>
                <a:cubicBezTo>
                  <a:pt x="716" y="26"/>
                  <a:pt x="710" y="30"/>
                  <a:pt x="697" y="30"/>
                </a:cubicBezTo>
                <a:cubicBezTo>
                  <a:pt x="694" y="30"/>
                  <a:pt x="689" y="30"/>
                  <a:pt x="683" y="32"/>
                </a:cubicBezTo>
                <a:cubicBezTo>
                  <a:pt x="677" y="34"/>
                  <a:pt x="673" y="34"/>
                  <a:pt x="672" y="34"/>
                </a:cubicBezTo>
                <a:cubicBezTo>
                  <a:pt x="670" y="34"/>
                  <a:pt x="668" y="32"/>
                  <a:pt x="663" y="27"/>
                </a:cubicBezTo>
                <a:cubicBezTo>
                  <a:pt x="658" y="21"/>
                  <a:pt x="656" y="17"/>
                  <a:pt x="656" y="15"/>
                </a:cubicBezTo>
                <a:cubicBezTo>
                  <a:pt x="651" y="11"/>
                  <a:pt x="647" y="9"/>
                  <a:pt x="644" y="8"/>
                </a:cubicBezTo>
                <a:cubicBezTo>
                  <a:pt x="640" y="8"/>
                  <a:pt x="638" y="6"/>
                  <a:pt x="637" y="4"/>
                </a:cubicBezTo>
                <a:cubicBezTo>
                  <a:pt x="637" y="2"/>
                  <a:pt x="635" y="1"/>
                  <a:pt x="632" y="1"/>
                </a:cubicBezTo>
                <a:cubicBezTo>
                  <a:pt x="630" y="0"/>
                  <a:pt x="628" y="1"/>
                  <a:pt x="626" y="1"/>
                </a:cubicBezTo>
                <a:cubicBezTo>
                  <a:pt x="624" y="2"/>
                  <a:pt x="623" y="2"/>
                  <a:pt x="621" y="2"/>
                </a:cubicBezTo>
                <a:cubicBezTo>
                  <a:pt x="618" y="2"/>
                  <a:pt x="617" y="2"/>
                  <a:pt x="616" y="2"/>
                </a:cubicBezTo>
                <a:cubicBezTo>
                  <a:pt x="616" y="2"/>
                  <a:pt x="615" y="4"/>
                  <a:pt x="613" y="8"/>
                </a:cubicBezTo>
                <a:cubicBezTo>
                  <a:pt x="610" y="8"/>
                  <a:pt x="607" y="8"/>
                  <a:pt x="601" y="9"/>
                </a:cubicBezTo>
                <a:cubicBezTo>
                  <a:pt x="595" y="11"/>
                  <a:pt x="592" y="11"/>
                  <a:pt x="591" y="11"/>
                </a:cubicBezTo>
                <a:cubicBezTo>
                  <a:pt x="587" y="9"/>
                  <a:pt x="584" y="7"/>
                  <a:pt x="583" y="7"/>
                </a:cubicBezTo>
                <a:cubicBezTo>
                  <a:pt x="581" y="8"/>
                  <a:pt x="579" y="9"/>
                  <a:pt x="577" y="9"/>
                </a:cubicBezTo>
                <a:cubicBezTo>
                  <a:pt x="576" y="9"/>
                  <a:pt x="573" y="8"/>
                  <a:pt x="570" y="5"/>
                </a:cubicBezTo>
                <a:cubicBezTo>
                  <a:pt x="567" y="3"/>
                  <a:pt x="565" y="2"/>
                  <a:pt x="564" y="2"/>
                </a:cubicBezTo>
                <a:cubicBezTo>
                  <a:pt x="558" y="1"/>
                  <a:pt x="552" y="2"/>
                  <a:pt x="545" y="4"/>
                </a:cubicBezTo>
                <a:cubicBezTo>
                  <a:pt x="537" y="6"/>
                  <a:pt x="532" y="7"/>
                  <a:pt x="529" y="8"/>
                </a:cubicBezTo>
                <a:cubicBezTo>
                  <a:pt x="526" y="9"/>
                  <a:pt x="524" y="11"/>
                  <a:pt x="522" y="14"/>
                </a:cubicBezTo>
                <a:cubicBezTo>
                  <a:pt x="521" y="16"/>
                  <a:pt x="520" y="19"/>
                  <a:pt x="519" y="23"/>
                </a:cubicBezTo>
                <a:cubicBezTo>
                  <a:pt x="519" y="24"/>
                  <a:pt x="517" y="26"/>
                  <a:pt x="514" y="31"/>
                </a:cubicBezTo>
                <a:cubicBezTo>
                  <a:pt x="512" y="34"/>
                  <a:pt x="511" y="37"/>
                  <a:pt x="511" y="40"/>
                </a:cubicBezTo>
                <a:cubicBezTo>
                  <a:pt x="511" y="45"/>
                  <a:pt x="508" y="50"/>
                  <a:pt x="504" y="56"/>
                </a:cubicBezTo>
                <a:cubicBezTo>
                  <a:pt x="503" y="57"/>
                  <a:pt x="500" y="58"/>
                  <a:pt x="496" y="58"/>
                </a:cubicBezTo>
                <a:cubicBezTo>
                  <a:pt x="491" y="59"/>
                  <a:pt x="488" y="59"/>
                  <a:pt x="487" y="60"/>
                </a:cubicBezTo>
                <a:cubicBezTo>
                  <a:pt x="485" y="62"/>
                  <a:pt x="481" y="66"/>
                  <a:pt x="474" y="73"/>
                </a:cubicBezTo>
                <a:cubicBezTo>
                  <a:pt x="467" y="79"/>
                  <a:pt x="462" y="82"/>
                  <a:pt x="458" y="82"/>
                </a:cubicBezTo>
                <a:cubicBezTo>
                  <a:pt x="455" y="82"/>
                  <a:pt x="450" y="80"/>
                  <a:pt x="445" y="76"/>
                </a:cubicBezTo>
                <a:cubicBezTo>
                  <a:pt x="441" y="73"/>
                  <a:pt x="438" y="72"/>
                  <a:pt x="438" y="72"/>
                </a:cubicBezTo>
                <a:cubicBezTo>
                  <a:pt x="431" y="70"/>
                  <a:pt x="426" y="69"/>
                  <a:pt x="423" y="69"/>
                </a:cubicBezTo>
                <a:cubicBezTo>
                  <a:pt x="418" y="68"/>
                  <a:pt x="413" y="71"/>
                  <a:pt x="411" y="75"/>
                </a:cubicBezTo>
                <a:cubicBezTo>
                  <a:pt x="407" y="83"/>
                  <a:pt x="404" y="88"/>
                  <a:pt x="402" y="89"/>
                </a:cubicBezTo>
                <a:cubicBezTo>
                  <a:pt x="399" y="92"/>
                  <a:pt x="394" y="94"/>
                  <a:pt x="387" y="95"/>
                </a:cubicBezTo>
                <a:cubicBezTo>
                  <a:pt x="379" y="95"/>
                  <a:pt x="372" y="96"/>
                  <a:pt x="369" y="96"/>
                </a:cubicBezTo>
                <a:cubicBezTo>
                  <a:pt x="353" y="99"/>
                  <a:pt x="341" y="101"/>
                  <a:pt x="334" y="102"/>
                </a:cubicBezTo>
                <a:cubicBezTo>
                  <a:pt x="326" y="104"/>
                  <a:pt x="321" y="107"/>
                  <a:pt x="321" y="110"/>
                </a:cubicBezTo>
                <a:cubicBezTo>
                  <a:pt x="321" y="114"/>
                  <a:pt x="320" y="117"/>
                  <a:pt x="318" y="120"/>
                </a:cubicBezTo>
                <a:cubicBezTo>
                  <a:pt x="317" y="123"/>
                  <a:pt x="316" y="125"/>
                  <a:pt x="315" y="127"/>
                </a:cubicBezTo>
                <a:cubicBezTo>
                  <a:pt x="315" y="130"/>
                  <a:pt x="319" y="136"/>
                  <a:pt x="328" y="143"/>
                </a:cubicBezTo>
                <a:lnTo>
                  <a:pt x="329" y="143"/>
                </a:lnTo>
                <a:lnTo>
                  <a:pt x="328" y="144"/>
                </a:lnTo>
                <a:cubicBezTo>
                  <a:pt x="322" y="143"/>
                  <a:pt x="318" y="144"/>
                  <a:pt x="314" y="147"/>
                </a:cubicBezTo>
                <a:cubicBezTo>
                  <a:pt x="309" y="151"/>
                  <a:pt x="306" y="154"/>
                  <a:pt x="303" y="154"/>
                </a:cubicBezTo>
                <a:cubicBezTo>
                  <a:pt x="299" y="155"/>
                  <a:pt x="293" y="155"/>
                  <a:pt x="284" y="154"/>
                </a:cubicBezTo>
                <a:cubicBezTo>
                  <a:pt x="277" y="153"/>
                  <a:pt x="272" y="153"/>
                  <a:pt x="269" y="156"/>
                </a:cubicBezTo>
                <a:cubicBezTo>
                  <a:pt x="266" y="158"/>
                  <a:pt x="261" y="160"/>
                  <a:pt x="254" y="159"/>
                </a:cubicBezTo>
                <a:cubicBezTo>
                  <a:pt x="246" y="159"/>
                  <a:pt x="241" y="158"/>
                  <a:pt x="237" y="158"/>
                </a:cubicBezTo>
                <a:cubicBezTo>
                  <a:pt x="218" y="160"/>
                  <a:pt x="207" y="161"/>
                  <a:pt x="203" y="160"/>
                </a:cubicBezTo>
                <a:cubicBezTo>
                  <a:pt x="199" y="160"/>
                  <a:pt x="188" y="152"/>
                  <a:pt x="168" y="136"/>
                </a:cubicBezTo>
                <a:cubicBezTo>
                  <a:pt x="153" y="118"/>
                  <a:pt x="144" y="109"/>
                  <a:pt x="140" y="109"/>
                </a:cubicBezTo>
                <a:cubicBezTo>
                  <a:pt x="135" y="108"/>
                  <a:pt x="131" y="109"/>
                  <a:pt x="128" y="111"/>
                </a:cubicBezTo>
                <a:lnTo>
                  <a:pt x="129" y="112"/>
                </a:lnTo>
                <a:cubicBezTo>
                  <a:pt x="127" y="114"/>
                  <a:pt x="123" y="121"/>
                  <a:pt x="119" y="131"/>
                </a:cubicBezTo>
                <a:cubicBezTo>
                  <a:pt x="115" y="141"/>
                  <a:pt x="113" y="147"/>
                  <a:pt x="112" y="150"/>
                </a:cubicBezTo>
                <a:cubicBezTo>
                  <a:pt x="112" y="152"/>
                  <a:pt x="114" y="157"/>
                  <a:pt x="117" y="163"/>
                </a:cubicBezTo>
                <a:cubicBezTo>
                  <a:pt x="117" y="166"/>
                  <a:pt x="106" y="170"/>
                  <a:pt x="84" y="174"/>
                </a:cubicBezTo>
                <a:cubicBezTo>
                  <a:pt x="81" y="173"/>
                  <a:pt x="78" y="171"/>
                  <a:pt x="73" y="166"/>
                </a:cubicBezTo>
                <a:cubicBezTo>
                  <a:pt x="69" y="161"/>
                  <a:pt x="65" y="159"/>
                  <a:pt x="62" y="158"/>
                </a:cubicBezTo>
                <a:cubicBezTo>
                  <a:pt x="60" y="158"/>
                  <a:pt x="56" y="161"/>
                  <a:pt x="50" y="166"/>
                </a:cubicBezTo>
                <a:cubicBezTo>
                  <a:pt x="43" y="171"/>
                  <a:pt x="40" y="173"/>
                  <a:pt x="40" y="173"/>
                </a:cubicBezTo>
                <a:cubicBezTo>
                  <a:pt x="40" y="174"/>
                  <a:pt x="44" y="177"/>
                  <a:pt x="53" y="181"/>
                </a:cubicBezTo>
                <a:cubicBezTo>
                  <a:pt x="63" y="186"/>
                  <a:pt x="69" y="191"/>
                  <a:pt x="73" y="197"/>
                </a:cubicBezTo>
                <a:cubicBezTo>
                  <a:pt x="70" y="197"/>
                  <a:pt x="67" y="200"/>
                  <a:pt x="65" y="205"/>
                </a:cubicBezTo>
                <a:cubicBezTo>
                  <a:pt x="62" y="211"/>
                  <a:pt x="58" y="215"/>
                  <a:pt x="54" y="217"/>
                </a:cubicBezTo>
                <a:cubicBezTo>
                  <a:pt x="50" y="218"/>
                  <a:pt x="46" y="222"/>
                  <a:pt x="43" y="228"/>
                </a:cubicBezTo>
                <a:cubicBezTo>
                  <a:pt x="40" y="233"/>
                  <a:pt x="39" y="237"/>
                  <a:pt x="38" y="241"/>
                </a:cubicBezTo>
                <a:cubicBezTo>
                  <a:pt x="38" y="242"/>
                  <a:pt x="39" y="245"/>
                  <a:pt x="41" y="250"/>
                </a:cubicBezTo>
                <a:cubicBezTo>
                  <a:pt x="41" y="252"/>
                  <a:pt x="40" y="255"/>
                  <a:pt x="38" y="258"/>
                </a:cubicBezTo>
                <a:cubicBezTo>
                  <a:pt x="37" y="260"/>
                  <a:pt x="39" y="263"/>
                  <a:pt x="42" y="266"/>
                </a:cubicBezTo>
                <a:cubicBezTo>
                  <a:pt x="44" y="268"/>
                  <a:pt x="46" y="271"/>
                  <a:pt x="50" y="275"/>
                </a:cubicBezTo>
                <a:cubicBezTo>
                  <a:pt x="45" y="278"/>
                  <a:pt x="42" y="281"/>
                  <a:pt x="42" y="282"/>
                </a:cubicBezTo>
                <a:cubicBezTo>
                  <a:pt x="41" y="283"/>
                  <a:pt x="42" y="284"/>
                  <a:pt x="43" y="285"/>
                </a:cubicBezTo>
                <a:cubicBezTo>
                  <a:pt x="43" y="286"/>
                  <a:pt x="44" y="287"/>
                  <a:pt x="44" y="289"/>
                </a:cubicBezTo>
                <a:cubicBezTo>
                  <a:pt x="43" y="293"/>
                  <a:pt x="40" y="295"/>
                  <a:pt x="34" y="295"/>
                </a:cubicBezTo>
                <a:cubicBezTo>
                  <a:pt x="26" y="295"/>
                  <a:pt x="21" y="296"/>
                  <a:pt x="18" y="298"/>
                </a:cubicBezTo>
                <a:cubicBezTo>
                  <a:pt x="16" y="301"/>
                  <a:pt x="13" y="303"/>
                  <a:pt x="8" y="307"/>
                </a:cubicBezTo>
                <a:cubicBezTo>
                  <a:pt x="5" y="309"/>
                  <a:pt x="4" y="311"/>
                  <a:pt x="2" y="313"/>
                </a:cubicBezTo>
                <a:cubicBezTo>
                  <a:pt x="2" y="313"/>
                  <a:pt x="2" y="313"/>
                  <a:pt x="2" y="313"/>
                </a:cubicBezTo>
                <a:cubicBezTo>
                  <a:pt x="1" y="314"/>
                  <a:pt x="1" y="314"/>
                  <a:pt x="0" y="315"/>
                </a:cubicBezTo>
                <a:cubicBezTo>
                  <a:pt x="2" y="315"/>
                  <a:pt x="3" y="314"/>
                  <a:pt x="4" y="314"/>
                </a:cubicBezTo>
                <a:cubicBezTo>
                  <a:pt x="19" y="316"/>
                  <a:pt x="27" y="320"/>
                  <a:pt x="26" y="327"/>
                </a:cubicBezTo>
                <a:cubicBezTo>
                  <a:pt x="26" y="329"/>
                  <a:pt x="25" y="331"/>
                  <a:pt x="24" y="335"/>
                </a:cubicBezTo>
                <a:cubicBezTo>
                  <a:pt x="23" y="336"/>
                  <a:pt x="26" y="338"/>
                  <a:pt x="30" y="343"/>
                </a:cubicBezTo>
                <a:cubicBezTo>
                  <a:pt x="33" y="347"/>
                  <a:pt x="35" y="351"/>
                  <a:pt x="35" y="354"/>
                </a:cubicBezTo>
                <a:cubicBezTo>
                  <a:pt x="34" y="360"/>
                  <a:pt x="36" y="365"/>
                  <a:pt x="39" y="369"/>
                </a:cubicBezTo>
                <a:cubicBezTo>
                  <a:pt x="42" y="372"/>
                  <a:pt x="47" y="376"/>
                  <a:pt x="53" y="384"/>
                </a:cubicBezTo>
                <a:lnTo>
                  <a:pt x="53" y="385"/>
                </a:lnTo>
                <a:cubicBezTo>
                  <a:pt x="57" y="386"/>
                  <a:pt x="62" y="388"/>
                  <a:pt x="66" y="392"/>
                </a:cubicBezTo>
                <a:cubicBezTo>
                  <a:pt x="72" y="398"/>
                  <a:pt x="78" y="401"/>
                  <a:pt x="82" y="403"/>
                </a:cubicBezTo>
                <a:cubicBezTo>
                  <a:pt x="85" y="404"/>
                  <a:pt x="88" y="406"/>
                  <a:pt x="89" y="410"/>
                </a:cubicBezTo>
                <a:cubicBezTo>
                  <a:pt x="90" y="412"/>
                  <a:pt x="91" y="415"/>
                  <a:pt x="92" y="418"/>
                </a:cubicBezTo>
                <a:cubicBezTo>
                  <a:pt x="94" y="422"/>
                  <a:pt x="99" y="426"/>
                  <a:pt x="108" y="429"/>
                </a:cubicBezTo>
                <a:cubicBezTo>
                  <a:pt x="111" y="430"/>
                  <a:pt x="116" y="433"/>
                  <a:pt x="125" y="438"/>
                </a:cubicBezTo>
                <a:cubicBezTo>
                  <a:pt x="127" y="439"/>
                  <a:pt x="128" y="442"/>
                  <a:pt x="129" y="447"/>
                </a:cubicBezTo>
                <a:cubicBezTo>
                  <a:pt x="129" y="452"/>
                  <a:pt x="130" y="455"/>
                  <a:pt x="131" y="456"/>
                </a:cubicBezTo>
                <a:cubicBezTo>
                  <a:pt x="133" y="458"/>
                  <a:pt x="135" y="460"/>
                  <a:pt x="137" y="464"/>
                </a:cubicBezTo>
                <a:cubicBezTo>
                  <a:pt x="138" y="466"/>
                  <a:pt x="139" y="468"/>
                  <a:pt x="141" y="472"/>
                </a:cubicBezTo>
                <a:cubicBezTo>
                  <a:pt x="145" y="479"/>
                  <a:pt x="150" y="482"/>
                  <a:pt x="156" y="483"/>
                </a:cubicBezTo>
                <a:cubicBezTo>
                  <a:pt x="160" y="483"/>
                  <a:pt x="163" y="483"/>
                  <a:pt x="167" y="483"/>
                </a:cubicBezTo>
                <a:cubicBezTo>
                  <a:pt x="170" y="483"/>
                  <a:pt x="172" y="483"/>
                  <a:pt x="173" y="484"/>
                </a:cubicBezTo>
                <a:cubicBezTo>
                  <a:pt x="175" y="484"/>
                  <a:pt x="179" y="489"/>
                  <a:pt x="184" y="499"/>
                </a:cubicBezTo>
                <a:cubicBezTo>
                  <a:pt x="185" y="500"/>
                  <a:pt x="188" y="500"/>
                  <a:pt x="193" y="502"/>
                </a:cubicBezTo>
                <a:cubicBezTo>
                  <a:pt x="197" y="503"/>
                  <a:pt x="200" y="504"/>
                  <a:pt x="202" y="505"/>
                </a:cubicBezTo>
                <a:cubicBezTo>
                  <a:pt x="205" y="507"/>
                  <a:pt x="209" y="511"/>
                  <a:pt x="215" y="516"/>
                </a:cubicBezTo>
                <a:cubicBezTo>
                  <a:pt x="214" y="516"/>
                  <a:pt x="215" y="516"/>
                  <a:pt x="215" y="516"/>
                </a:cubicBezTo>
                <a:lnTo>
                  <a:pt x="215" y="515"/>
                </a:lnTo>
                <a:cubicBezTo>
                  <a:pt x="216" y="513"/>
                  <a:pt x="217" y="510"/>
                  <a:pt x="217" y="509"/>
                </a:cubicBezTo>
                <a:lnTo>
                  <a:pt x="225" y="510"/>
                </a:lnTo>
                <a:cubicBezTo>
                  <a:pt x="228" y="512"/>
                  <a:pt x="233" y="513"/>
                  <a:pt x="237" y="512"/>
                </a:cubicBezTo>
                <a:cubicBezTo>
                  <a:pt x="244" y="511"/>
                  <a:pt x="248" y="511"/>
                  <a:pt x="248" y="511"/>
                </a:cubicBezTo>
                <a:cubicBezTo>
                  <a:pt x="250" y="511"/>
                  <a:pt x="252" y="512"/>
                  <a:pt x="256" y="514"/>
                </a:cubicBezTo>
                <a:cubicBezTo>
                  <a:pt x="259" y="515"/>
                  <a:pt x="262" y="516"/>
                  <a:pt x="265" y="516"/>
                </a:cubicBezTo>
                <a:cubicBezTo>
                  <a:pt x="267" y="517"/>
                  <a:pt x="272" y="516"/>
                  <a:pt x="282" y="516"/>
                </a:cubicBezTo>
                <a:cubicBezTo>
                  <a:pt x="284" y="516"/>
                  <a:pt x="286" y="514"/>
                  <a:pt x="287" y="511"/>
                </a:cubicBezTo>
                <a:cubicBezTo>
                  <a:pt x="288" y="508"/>
                  <a:pt x="290" y="507"/>
                  <a:pt x="293" y="507"/>
                </a:cubicBezTo>
                <a:cubicBezTo>
                  <a:pt x="298" y="507"/>
                  <a:pt x="303" y="505"/>
                  <a:pt x="306" y="500"/>
                </a:cubicBezTo>
                <a:cubicBezTo>
                  <a:pt x="309" y="494"/>
                  <a:pt x="311" y="490"/>
                  <a:pt x="313" y="487"/>
                </a:cubicBezTo>
                <a:cubicBezTo>
                  <a:pt x="321" y="488"/>
                  <a:pt x="330" y="487"/>
                  <a:pt x="338" y="484"/>
                </a:cubicBezTo>
                <a:cubicBezTo>
                  <a:pt x="339" y="484"/>
                  <a:pt x="339" y="483"/>
                  <a:pt x="339" y="483"/>
                </a:cubicBezTo>
                <a:cubicBezTo>
                  <a:pt x="344" y="482"/>
                  <a:pt x="348" y="480"/>
                  <a:pt x="352" y="477"/>
                </a:cubicBezTo>
                <a:cubicBezTo>
                  <a:pt x="356" y="474"/>
                  <a:pt x="360" y="472"/>
                  <a:pt x="364" y="469"/>
                </a:cubicBezTo>
                <a:cubicBezTo>
                  <a:pt x="366" y="466"/>
                  <a:pt x="368" y="465"/>
                  <a:pt x="368" y="465"/>
                </a:cubicBezTo>
                <a:cubicBezTo>
                  <a:pt x="370" y="465"/>
                  <a:pt x="371" y="466"/>
                  <a:pt x="372" y="468"/>
                </a:cubicBezTo>
                <a:cubicBezTo>
                  <a:pt x="373" y="470"/>
                  <a:pt x="375" y="471"/>
                  <a:pt x="379" y="471"/>
                </a:cubicBezTo>
                <a:cubicBezTo>
                  <a:pt x="381" y="472"/>
                  <a:pt x="384" y="471"/>
                  <a:pt x="388" y="470"/>
                </a:cubicBezTo>
                <a:cubicBezTo>
                  <a:pt x="392" y="469"/>
                  <a:pt x="394" y="468"/>
                  <a:pt x="395" y="466"/>
                </a:cubicBezTo>
                <a:cubicBezTo>
                  <a:pt x="394" y="463"/>
                  <a:pt x="394" y="461"/>
                  <a:pt x="394" y="460"/>
                </a:cubicBezTo>
                <a:cubicBezTo>
                  <a:pt x="399" y="460"/>
                  <a:pt x="403" y="459"/>
                  <a:pt x="406" y="456"/>
                </a:cubicBezTo>
                <a:cubicBezTo>
                  <a:pt x="407" y="454"/>
                  <a:pt x="410" y="451"/>
                  <a:pt x="413" y="447"/>
                </a:cubicBezTo>
                <a:cubicBezTo>
                  <a:pt x="418" y="439"/>
                  <a:pt x="425" y="435"/>
                  <a:pt x="434" y="436"/>
                </a:cubicBezTo>
                <a:cubicBezTo>
                  <a:pt x="436" y="436"/>
                  <a:pt x="441" y="437"/>
                  <a:pt x="448" y="440"/>
                </a:cubicBezTo>
                <a:cubicBezTo>
                  <a:pt x="453" y="440"/>
                  <a:pt x="457" y="439"/>
                  <a:pt x="461" y="438"/>
                </a:cubicBezTo>
                <a:cubicBezTo>
                  <a:pt x="464" y="436"/>
                  <a:pt x="468" y="435"/>
                  <a:pt x="470" y="435"/>
                </a:cubicBezTo>
                <a:cubicBezTo>
                  <a:pt x="472" y="435"/>
                  <a:pt x="476" y="437"/>
                  <a:pt x="483" y="439"/>
                </a:cubicBezTo>
                <a:cubicBezTo>
                  <a:pt x="485" y="439"/>
                  <a:pt x="488" y="439"/>
                  <a:pt x="491" y="438"/>
                </a:cubicBezTo>
                <a:cubicBezTo>
                  <a:pt x="494" y="436"/>
                  <a:pt x="497" y="436"/>
                  <a:pt x="499" y="436"/>
                </a:cubicBezTo>
                <a:cubicBezTo>
                  <a:pt x="502" y="437"/>
                  <a:pt x="505" y="437"/>
                  <a:pt x="507" y="438"/>
                </a:cubicBezTo>
                <a:cubicBezTo>
                  <a:pt x="508" y="439"/>
                  <a:pt x="510" y="440"/>
                  <a:pt x="512" y="442"/>
                </a:cubicBezTo>
                <a:cubicBezTo>
                  <a:pt x="512" y="442"/>
                  <a:pt x="513" y="442"/>
                  <a:pt x="514" y="441"/>
                </a:cubicBezTo>
                <a:cubicBezTo>
                  <a:pt x="525" y="439"/>
                  <a:pt x="534" y="435"/>
                  <a:pt x="540" y="430"/>
                </a:cubicBezTo>
                <a:cubicBezTo>
                  <a:pt x="541" y="430"/>
                  <a:pt x="544" y="432"/>
                  <a:pt x="547" y="435"/>
                </a:cubicBezTo>
                <a:cubicBezTo>
                  <a:pt x="551" y="437"/>
                  <a:pt x="553" y="438"/>
                  <a:pt x="555" y="439"/>
                </a:cubicBezTo>
                <a:cubicBezTo>
                  <a:pt x="560" y="439"/>
                  <a:pt x="563" y="438"/>
                  <a:pt x="565" y="435"/>
                </a:cubicBezTo>
                <a:cubicBezTo>
                  <a:pt x="567" y="434"/>
                  <a:pt x="568" y="430"/>
                  <a:pt x="570" y="426"/>
                </a:cubicBezTo>
                <a:cubicBezTo>
                  <a:pt x="571" y="421"/>
                  <a:pt x="573" y="418"/>
                  <a:pt x="575" y="416"/>
                </a:cubicBezTo>
                <a:cubicBezTo>
                  <a:pt x="578" y="414"/>
                  <a:pt x="582" y="413"/>
                  <a:pt x="587" y="413"/>
                </a:cubicBezTo>
                <a:cubicBezTo>
                  <a:pt x="592" y="414"/>
                  <a:pt x="595" y="415"/>
                  <a:pt x="598" y="416"/>
                </a:cubicBezTo>
                <a:cubicBezTo>
                  <a:pt x="600" y="417"/>
                  <a:pt x="603" y="418"/>
                  <a:pt x="606" y="418"/>
                </a:cubicBezTo>
                <a:cubicBezTo>
                  <a:pt x="610" y="419"/>
                  <a:pt x="614" y="413"/>
                  <a:pt x="618" y="402"/>
                </a:cubicBezTo>
                <a:cubicBezTo>
                  <a:pt x="623" y="391"/>
                  <a:pt x="627" y="385"/>
                  <a:pt x="632" y="384"/>
                </a:cubicBezTo>
                <a:lnTo>
                  <a:pt x="633" y="376"/>
                </a:lnTo>
                <a:cubicBezTo>
                  <a:pt x="630" y="373"/>
                  <a:pt x="629" y="371"/>
                  <a:pt x="629" y="369"/>
                </a:cubicBezTo>
                <a:cubicBezTo>
                  <a:pt x="629" y="368"/>
                  <a:pt x="630" y="366"/>
                  <a:pt x="632" y="364"/>
                </a:cubicBezTo>
                <a:cubicBezTo>
                  <a:pt x="634" y="362"/>
                  <a:pt x="635" y="360"/>
                  <a:pt x="635" y="359"/>
                </a:cubicBezTo>
                <a:cubicBezTo>
                  <a:pt x="635" y="357"/>
                  <a:pt x="635" y="355"/>
                  <a:pt x="633" y="353"/>
                </a:cubicBezTo>
                <a:cubicBezTo>
                  <a:pt x="632" y="351"/>
                  <a:pt x="631" y="349"/>
                  <a:pt x="631" y="348"/>
                </a:cubicBezTo>
                <a:cubicBezTo>
                  <a:pt x="633" y="347"/>
                  <a:pt x="636" y="347"/>
                  <a:pt x="640" y="346"/>
                </a:cubicBezTo>
                <a:cubicBezTo>
                  <a:pt x="643" y="346"/>
                  <a:pt x="646" y="345"/>
                  <a:pt x="649" y="343"/>
                </a:cubicBezTo>
                <a:cubicBezTo>
                  <a:pt x="657" y="335"/>
                  <a:pt x="661" y="330"/>
                  <a:pt x="661" y="328"/>
                </a:cubicBezTo>
                <a:cubicBezTo>
                  <a:pt x="661" y="328"/>
                  <a:pt x="660" y="326"/>
                  <a:pt x="658" y="323"/>
                </a:cubicBezTo>
                <a:cubicBezTo>
                  <a:pt x="656" y="321"/>
                  <a:pt x="654" y="319"/>
                  <a:pt x="655" y="318"/>
                </a:cubicBezTo>
                <a:cubicBezTo>
                  <a:pt x="655" y="314"/>
                  <a:pt x="657" y="310"/>
                  <a:pt x="661" y="307"/>
                </a:cubicBezTo>
                <a:cubicBezTo>
                  <a:pt x="666" y="302"/>
                  <a:pt x="668" y="300"/>
                  <a:pt x="669" y="299"/>
                </a:cubicBezTo>
                <a:cubicBezTo>
                  <a:pt x="670" y="296"/>
                  <a:pt x="671" y="292"/>
                  <a:pt x="674" y="288"/>
                </a:cubicBezTo>
                <a:cubicBezTo>
                  <a:pt x="676" y="284"/>
                  <a:pt x="677" y="281"/>
                  <a:pt x="677" y="280"/>
                </a:cubicBezTo>
                <a:cubicBezTo>
                  <a:pt x="677" y="279"/>
                  <a:pt x="677" y="277"/>
                  <a:pt x="674" y="276"/>
                </a:cubicBezTo>
                <a:cubicBezTo>
                  <a:pt x="673" y="274"/>
                  <a:pt x="672" y="272"/>
                  <a:pt x="672" y="270"/>
                </a:cubicBezTo>
                <a:cubicBezTo>
                  <a:pt x="672" y="265"/>
                  <a:pt x="676" y="260"/>
                  <a:pt x="681" y="254"/>
                </a:cubicBezTo>
                <a:cubicBezTo>
                  <a:pt x="688" y="248"/>
                  <a:pt x="691" y="242"/>
                  <a:pt x="692" y="236"/>
                </a:cubicBezTo>
                <a:cubicBezTo>
                  <a:pt x="693" y="230"/>
                  <a:pt x="697" y="222"/>
                  <a:pt x="703" y="213"/>
                </a:cubicBezTo>
                <a:cubicBezTo>
                  <a:pt x="709" y="206"/>
                  <a:pt x="712" y="202"/>
                  <a:pt x="712" y="202"/>
                </a:cubicBezTo>
                <a:cubicBezTo>
                  <a:pt x="712" y="199"/>
                  <a:pt x="712" y="197"/>
                  <a:pt x="711" y="194"/>
                </a:cubicBezTo>
                <a:cubicBezTo>
                  <a:pt x="710" y="191"/>
                  <a:pt x="709" y="188"/>
                  <a:pt x="709" y="186"/>
                </a:cubicBezTo>
                <a:cubicBezTo>
                  <a:pt x="710" y="184"/>
                  <a:pt x="712" y="181"/>
                  <a:pt x="715" y="176"/>
                </a:cubicBezTo>
                <a:cubicBezTo>
                  <a:pt x="718" y="172"/>
                  <a:pt x="720" y="170"/>
                  <a:pt x="721" y="169"/>
                </a:cubicBezTo>
                <a:cubicBezTo>
                  <a:pt x="722" y="168"/>
                  <a:pt x="724" y="168"/>
                  <a:pt x="727" y="167"/>
                </a:cubicBezTo>
                <a:cubicBezTo>
                  <a:pt x="729" y="167"/>
                  <a:pt x="731" y="165"/>
                  <a:pt x="731" y="164"/>
                </a:cubicBezTo>
                <a:cubicBezTo>
                  <a:pt x="731" y="160"/>
                  <a:pt x="732" y="156"/>
                  <a:pt x="733" y="152"/>
                </a:cubicBezTo>
                <a:cubicBezTo>
                  <a:pt x="735" y="144"/>
                  <a:pt x="740" y="138"/>
                  <a:pt x="748" y="137"/>
                </a:cubicBezTo>
                <a:cubicBezTo>
                  <a:pt x="751" y="136"/>
                  <a:pt x="755" y="134"/>
                  <a:pt x="759" y="131"/>
                </a:cubicBezTo>
                <a:cubicBezTo>
                  <a:pt x="763" y="129"/>
                  <a:pt x="766" y="128"/>
                  <a:pt x="767" y="128"/>
                </a:cubicBezTo>
                <a:cubicBezTo>
                  <a:pt x="768" y="128"/>
                  <a:pt x="769" y="129"/>
                  <a:pt x="770" y="130"/>
                </a:cubicBezTo>
                <a:cubicBezTo>
                  <a:pt x="771" y="131"/>
                  <a:pt x="772" y="131"/>
                  <a:pt x="773" y="131"/>
                </a:cubicBezTo>
                <a:cubicBezTo>
                  <a:pt x="775" y="132"/>
                  <a:pt x="779" y="132"/>
                  <a:pt x="785" y="131"/>
                </a:cubicBezTo>
                <a:cubicBezTo>
                  <a:pt x="788" y="122"/>
                  <a:pt x="793" y="116"/>
                  <a:pt x="801" y="114"/>
                </a:cubicBezTo>
                <a:cubicBezTo>
                  <a:pt x="800" y="113"/>
                  <a:pt x="799" y="111"/>
                  <a:pt x="800" y="109"/>
                </a:cubicBezTo>
                <a:cubicBezTo>
                  <a:pt x="800" y="106"/>
                  <a:pt x="802" y="103"/>
                  <a:pt x="804" y="101"/>
                </a:cubicBezTo>
                <a:cubicBezTo>
                  <a:pt x="809" y="98"/>
                  <a:pt x="811" y="95"/>
                  <a:pt x="813" y="93"/>
                </a:cubicBezTo>
                <a:lnTo>
                  <a:pt x="813" y="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 246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38 w 471"/>
              <a:gd name="T1" fmla="*/ 6 h 485"/>
              <a:gd name="T2" fmla="*/ 338 w 471"/>
              <a:gd name="T3" fmla="*/ 5 h 485"/>
              <a:gd name="T4" fmla="*/ 262 w 471"/>
              <a:gd name="T5" fmla="*/ 14 h 485"/>
              <a:gd name="T6" fmla="*/ 288 w 471"/>
              <a:gd name="T7" fmla="*/ 11 h 485"/>
              <a:gd name="T8" fmla="*/ 228 w 471"/>
              <a:gd name="T9" fmla="*/ 31 h 485"/>
              <a:gd name="T10" fmla="*/ 219 w 471"/>
              <a:gd name="T11" fmla="*/ 39 h 485"/>
              <a:gd name="T12" fmla="*/ 226 w 471"/>
              <a:gd name="T13" fmla="*/ 187 h 485"/>
              <a:gd name="T14" fmla="*/ 305 w 471"/>
              <a:gd name="T15" fmla="*/ 166 h 485"/>
              <a:gd name="T16" fmla="*/ 256 w 471"/>
              <a:gd name="T17" fmla="*/ 206 h 485"/>
              <a:gd name="T18" fmla="*/ 307 w 471"/>
              <a:gd name="T19" fmla="*/ 167 h 485"/>
              <a:gd name="T20" fmla="*/ 241 w 471"/>
              <a:gd name="T21" fmla="*/ 81 h 485"/>
              <a:gd name="T22" fmla="*/ 80 w 471"/>
              <a:gd name="T23" fmla="*/ 340 h 485"/>
              <a:gd name="T24" fmla="*/ 100 w 471"/>
              <a:gd name="T25" fmla="*/ 352 h 485"/>
              <a:gd name="T26" fmla="*/ 37 w 471"/>
              <a:gd name="T27" fmla="*/ 347 h 485"/>
              <a:gd name="T28" fmla="*/ 0 w 471"/>
              <a:gd name="T29" fmla="*/ 323 h 485"/>
              <a:gd name="T30" fmla="*/ 365 w 471"/>
              <a:gd name="T31" fmla="*/ 20 h 485"/>
              <a:gd name="T32" fmla="*/ 466 w 471"/>
              <a:gd name="T33" fmla="*/ 63 h 485"/>
              <a:gd name="T34" fmla="*/ 464 w 471"/>
              <a:gd name="T35" fmla="*/ 96 h 485"/>
              <a:gd name="T36" fmla="*/ 402 w 471"/>
              <a:gd name="T37" fmla="*/ 167 h 485"/>
              <a:gd name="T38" fmla="*/ 432 w 471"/>
              <a:gd name="T39" fmla="*/ 217 h 485"/>
              <a:gd name="T40" fmla="*/ 388 w 471"/>
              <a:gd name="T41" fmla="*/ 263 h 485"/>
              <a:gd name="T42" fmla="*/ 321 w 471"/>
              <a:gd name="T43" fmla="*/ 285 h 485"/>
              <a:gd name="T44" fmla="*/ 303 w 471"/>
              <a:gd name="T45" fmla="*/ 323 h 485"/>
              <a:gd name="T46" fmla="*/ 297 w 471"/>
              <a:gd name="T47" fmla="*/ 405 h 485"/>
              <a:gd name="T48" fmla="*/ 291 w 471"/>
              <a:gd name="T49" fmla="*/ 457 h 485"/>
              <a:gd name="T50" fmla="*/ 246 w 471"/>
              <a:gd name="T51" fmla="*/ 473 h 485"/>
              <a:gd name="T52" fmla="*/ 262 w 471"/>
              <a:gd name="T53" fmla="*/ 404 h 485"/>
              <a:gd name="T54" fmla="*/ 209 w 471"/>
              <a:gd name="T55" fmla="*/ 375 h 485"/>
              <a:gd name="T56" fmla="*/ 166 w 471"/>
              <a:gd name="T57" fmla="*/ 344 h 485"/>
              <a:gd name="T58" fmla="*/ 138 w 471"/>
              <a:gd name="T59" fmla="*/ 335 h 485"/>
              <a:gd name="T60" fmla="*/ 101 w 471"/>
              <a:gd name="T61" fmla="*/ 351 h 485"/>
              <a:gd name="T62" fmla="*/ 56 w 471"/>
              <a:gd name="T63" fmla="*/ 332 h 485"/>
              <a:gd name="T64" fmla="*/ 29 w 471"/>
              <a:gd name="T65" fmla="*/ 292 h 485"/>
              <a:gd name="T66" fmla="*/ 66 w 471"/>
              <a:gd name="T67" fmla="*/ 298 h 485"/>
              <a:gd name="T68" fmla="*/ 97 w 471"/>
              <a:gd name="T69" fmla="*/ 332 h 485"/>
              <a:gd name="T70" fmla="*/ 80 w 471"/>
              <a:gd name="T71" fmla="*/ 302 h 485"/>
              <a:gd name="T72" fmla="*/ 105 w 471"/>
              <a:gd name="T73" fmla="*/ 302 h 485"/>
              <a:gd name="T74" fmla="*/ 95 w 471"/>
              <a:gd name="T75" fmla="*/ 293 h 485"/>
              <a:gd name="T76" fmla="*/ 58 w 471"/>
              <a:gd name="T77" fmla="*/ 271 h 485"/>
              <a:gd name="T78" fmla="*/ 123 w 471"/>
              <a:gd name="T79" fmla="*/ 287 h 485"/>
              <a:gd name="T80" fmla="*/ 92 w 471"/>
              <a:gd name="T81" fmla="*/ 268 h 485"/>
              <a:gd name="T82" fmla="*/ 89 w 471"/>
              <a:gd name="T83" fmla="*/ 284 h 485"/>
              <a:gd name="T84" fmla="*/ 100 w 471"/>
              <a:gd name="T85" fmla="*/ 289 h 485"/>
              <a:gd name="T86" fmla="*/ 123 w 471"/>
              <a:gd name="T87" fmla="*/ 295 h 485"/>
              <a:gd name="T88" fmla="*/ 169 w 471"/>
              <a:gd name="T89" fmla="*/ 292 h 485"/>
              <a:gd name="T90" fmla="*/ 166 w 471"/>
              <a:gd name="T91" fmla="*/ 284 h 485"/>
              <a:gd name="T92" fmla="*/ 102 w 471"/>
              <a:gd name="T93" fmla="*/ 262 h 485"/>
              <a:gd name="T94" fmla="*/ 107 w 471"/>
              <a:gd name="T95" fmla="*/ 236 h 485"/>
              <a:gd name="T96" fmla="*/ 157 w 471"/>
              <a:gd name="T97" fmla="*/ 178 h 485"/>
              <a:gd name="T98" fmla="*/ 215 w 471"/>
              <a:gd name="T99" fmla="*/ 87 h 485"/>
              <a:gd name="T100" fmla="*/ 239 w 471"/>
              <a:gd name="T101" fmla="*/ 111 h 485"/>
              <a:gd name="T102" fmla="*/ 225 w 471"/>
              <a:gd name="T103" fmla="*/ 167 h 485"/>
              <a:gd name="T104" fmla="*/ 247 w 471"/>
              <a:gd name="T105" fmla="*/ 203 h 485"/>
              <a:gd name="T106" fmla="*/ 274 w 471"/>
              <a:gd name="T107" fmla="*/ 205 h 485"/>
              <a:gd name="T108" fmla="*/ 310 w 471"/>
              <a:gd name="T109" fmla="*/ 159 h 485"/>
              <a:gd name="T110" fmla="*/ 296 w 471"/>
              <a:gd name="T111" fmla="*/ 111 h 485"/>
              <a:gd name="T112" fmla="*/ 276 w 471"/>
              <a:gd name="T113" fmla="*/ 75 h 485"/>
              <a:gd name="T114" fmla="*/ 327 w 471"/>
              <a:gd name="T115" fmla="*/ 19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 247"/>
          <p:cNvSpPr>
            <a:spLocks noEditPoints="1"/>
          </p:cNvSpPr>
          <p:nvPr/>
        </p:nvSpPr>
        <p:spPr bwMode="auto">
          <a:xfrm>
            <a:off x="7868114" y="3312163"/>
            <a:ext cx="492616" cy="506591"/>
          </a:xfrm>
          <a:custGeom>
            <a:avLst/>
            <a:gdLst>
              <a:gd name="T0" fmla="*/ 362 w 471"/>
              <a:gd name="T1" fmla="*/ 7 h 485"/>
              <a:gd name="T2" fmla="*/ 335 w 471"/>
              <a:gd name="T3" fmla="*/ 4 h 485"/>
              <a:gd name="T4" fmla="*/ 265 w 471"/>
              <a:gd name="T5" fmla="*/ 16 h 485"/>
              <a:gd name="T6" fmla="*/ 301 w 471"/>
              <a:gd name="T7" fmla="*/ 4 h 485"/>
              <a:gd name="T8" fmla="*/ 247 w 471"/>
              <a:gd name="T9" fmla="*/ 18 h 485"/>
              <a:gd name="T10" fmla="*/ 205 w 471"/>
              <a:gd name="T11" fmla="*/ 69 h 485"/>
              <a:gd name="T12" fmla="*/ 206 w 471"/>
              <a:gd name="T13" fmla="*/ 69 h 485"/>
              <a:gd name="T14" fmla="*/ 226 w 471"/>
              <a:gd name="T15" fmla="*/ 186 h 485"/>
              <a:gd name="T16" fmla="*/ 309 w 471"/>
              <a:gd name="T17" fmla="*/ 173 h 485"/>
              <a:gd name="T18" fmla="*/ 248 w 471"/>
              <a:gd name="T19" fmla="*/ 201 h 485"/>
              <a:gd name="T20" fmla="*/ 305 w 471"/>
              <a:gd name="T21" fmla="*/ 166 h 485"/>
              <a:gd name="T22" fmla="*/ 241 w 471"/>
              <a:gd name="T23" fmla="*/ 81 h 485"/>
              <a:gd name="T24" fmla="*/ 76 w 471"/>
              <a:gd name="T25" fmla="*/ 336 h 485"/>
              <a:gd name="T26" fmla="*/ 100 w 471"/>
              <a:gd name="T27" fmla="*/ 352 h 485"/>
              <a:gd name="T28" fmla="*/ 46 w 471"/>
              <a:gd name="T29" fmla="*/ 351 h 485"/>
              <a:gd name="T30" fmla="*/ 0 w 471"/>
              <a:gd name="T31" fmla="*/ 325 h 485"/>
              <a:gd name="T32" fmla="*/ 362 w 471"/>
              <a:gd name="T33" fmla="*/ 19 h 485"/>
              <a:gd name="T34" fmla="*/ 450 w 471"/>
              <a:gd name="T35" fmla="*/ 54 h 485"/>
              <a:gd name="T36" fmla="*/ 464 w 471"/>
              <a:gd name="T37" fmla="*/ 85 h 485"/>
              <a:gd name="T38" fmla="*/ 421 w 471"/>
              <a:gd name="T39" fmla="*/ 164 h 485"/>
              <a:gd name="T40" fmla="*/ 416 w 471"/>
              <a:gd name="T41" fmla="*/ 201 h 485"/>
              <a:gd name="T42" fmla="*/ 408 w 471"/>
              <a:gd name="T43" fmla="*/ 257 h 485"/>
              <a:gd name="T44" fmla="*/ 360 w 471"/>
              <a:gd name="T45" fmla="*/ 296 h 485"/>
              <a:gd name="T46" fmla="*/ 305 w 471"/>
              <a:gd name="T47" fmla="*/ 318 h 485"/>
              <a:gd name="T48" fmla="*/ 317 w 471"/>
              <a:gd name="T49" fmla="*/ 372 h 485"/>
              <a:gd name="T50" fmla="*/ 278 w 471"/>
              <a:gd name="T51" fmla="*/ 432 h 485"/>
              <a:gd name="T52" fmla="*/ 266 w 471"/>
              <a:gd name="T53" fmla="*/ 481 h 485"/>
              <a:gd name="T54" fmla="*/ 265 w 471"/>
              <a:gd name="T55" fmla="*/ 423 h 485"/>
              <a:gd name="T56" fmla="*/ 220 w 471"/>
              <a:gd name="T57" fmla="*/ 383 h 485"/>
              <a:gd name="T58" fmla="*/ 179 w 471"/>
              <a:gd name="T59" fmla="*/ 352 h 485"/>
              <a:gd name="T60" fmla="*/ 152 w 471"/>
              <a:gd name="T61" fmla="*/ 335 h 485"/>
              <a:gd name="T62" fmla="*/ 116 w 471"/>
              <a:gd name="T63" fmla="*/ 348 h 485"/>
              <a:gd name="T64" fmla="*/ 77 w 471"/>
              <a:gd name="T65" fmla="*/ 329 h 485"/>
              <a:gd name="T66" fmla="*/ 19 w 471"/>
              <a:gd name="T67" fmla="*/ 300 h 485"/>
              <a:gd name="T68" fmla="*/ 63 w 471"/>
              <a:gd name="T69" fmla="*/ 295 h 485"/>
              <a:gd name="T70" fmla="*/ 80 w 471"/>
              <a:gd name="T71" fmla="*/ 317 h 485"/>
              <a:gd name="T72" fmla="*/ 90 w 471"/>
              <a:gd name="T73" fmla="*/ 312 h 485"/>
              <a:gd name="T74" fmla="*/ 93 w 471"/>
              <a:gd name="T75" fmla="*/ 299 h 485"/>
              <a:gd name="T76" fmla="*/ 96 w 471"/>
              <a:gd name="T77" fmla="*/ 293 h 485"/>
              <a:gd name="T78" fmla="*/ 57 w 471"/>
              <a:gd name="T79" fmla="*/ 281 h 485"/>
              <a:gd name="T80" fmla="*/ 106 w 471"/>
              <a:gd name="T81" fmla="*/ 266 h 485"/>
              <a:gd name="T82" fmla="*/ 92 w 471"/>
              <a:gd name="T83" fmla="*/ 280 h 485"/>
              <a:gd name="T84" fmla="*/ 81 w 471"/>
              <a:gd name="T85" fmla="*/ 277 h 485"/>
              <a:gd name="T86" fmla="*/ 97 w 471"/>
              <a:gd name="T87" fmla="*/ 290 h 485"/>
              <a:gd name="T88" fmla="*/ 112 w 471"/>
              <a:gd name="T89" fmla="*/ 299 h 485"/>
              <a:gd name="T90" fmla="*/ 168 w 471"/>
              <a:gd name="T91" fmla="*/ 293 h 485"/>
              <a:gd name="T92" fmla="*/ 178 w 471"/>
              <a:gd name="T93" fmla="*/ 280 h 485"/>
              <a:gd name="T94" fmla="*/ 116 w 471"/>
              <a:gd name="T95" fmla="*/ 272 h 485"/>
              <a:gd name="T96" fmla="*/ 95 w 471"/>
              <a:gd name="T97" fmla="*/ 235 h 485"/>
              <a:gd name="T98" fmla="*/ 136 w 471"/>
              <a:gd name="T99" fmla="*/ 207 h 485"/>
              <a:gd name="T100" fmla="*/ 188 w 471"/>
              <a:gd name="T101" fmla="*/ 109 h 485"/>
              <a:gd name="T102" fmla="*/ 235 w 471"/>
              <a:gd name="T103" fmla="*/ 94 h 485"/>
              <a:gd name="T104" fmla="*/ 227 w 471"/>
              <a:gd name="T105" fmla="*/ 138 h 485"/>
              <a:gd name="T106" fmla="*/ 226 w 471"/>
              <a:gd name="T107" fmla="*/ 191 h 485"/>
              <a:gd name="T108" fmla="*/ 256 w 471"/>
              <a:gd name="T109" fmla="*/ 208 h 485"/>
              <a:gd name="T110" fmla="*/ 311 w 471"/>
              <a:gd name="T111" fmla="*/ 167 h 485"/>
              <a:gd name="T112" fmla="*/ 289 w 471"/>
              <a:gd name="T113" fmla="*/ 122 h 485"/>
              <a:gd name="T114" fmla="*/ 269 w 471"/>
              <a:gd name="T115" fmla="*/ 89 h 485"/>
              <a:gd name="T116" fmla="*/ 286 w 471"/>
              <a:gd name="T117" fmla="*/ 38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71" h="485">
                <a:moveTo>
                  <a:pt x="362" y="7"/>
                </a:moveTo>
                <a:lnTo>
                  <a:pt x="362" y="7"/>
                </a:lnTo>
                <a:cubicBezTo>
                  <a:pt x="362" y="9"/>
                  <a:pt x="364" y="10"/>
                  <a:pt x="366" y="10"/>
                </a:cubicBezTo>
                <a:cubicBezTo>
                  <a:pt x="373" y="11"/>
                  <a:pt x="378" y="9"/>
                  <a:pt x="382" y="5"/>
                </a:cubicBezTo>
                <a:cubicBezTo>
                  <a:pt x="381" y="5"/>
                  <a:pt x="380" y="4"/>
                  <a:pt x="379" y="4"/>
                </a:cubicBezTo>
                <a:cubicBezTo>
                  <a:pt x="368" y="3"/>
                  <a:pt x="363" y="4"/>
                  <a:pt x="362" y="7"/>
                </a:cubicBezTo>
                <a:lnTo>
                  <a:pt x="362" y="7"/>
                </a:lnTo>
                <a:close/>
                <a:moveTo>
                  <a:pt x="338" y="6"/>
                </a:moveTo>
                <a:lnTo>
                  <a:pt x="338" y="6"/>
                </a:lnTo>
                <a:cubicBezTo>
                  <a:pt x="334" y="7"/>
                  <a:pt x="331" y="8"/>
                  <a:pt x="328" y="8"/>
                </a:cubicBezTo>
                <a:cubicBezTo>
                  <a:pt x="325" y="9"/>
                  <a:pt x="322" y="9"/>
                  <a:pt x="319" y="9"/>
                </a:cubicBezTo>
                <a:cubicBezTo>
                  <a:pt x="314" y="8"/>
                  <a:pt x="312" y="7"/>
                  <a:pt x="312" y="4"/>
                </a:cubicBezTo>
                <a:cubicBezTo>
                  <a:pt x="313" y="3"/>
                  <a:pt x="313" y="2"/>
                  <a:pt x="314" y="2"/>
                </a:cubicBezTo>
                <a:cubicBezTo>
                  <a:pt x="317" y="5"/>
                  <a:pt x="324" y="5"/>
                  <a:pt x="335" y="4"/>
                </a:cubicBezTo>
                <a:cubicBezTo>
                  <a:pt x="336" y="4"/>
                  <a:pt x="337" y="4"/>
                  <a:pt x="338" y="5"/>
                </a:cubicBezTo>
                <a:lnTo>
                  <a:pt x="338" y="6"/>
                </a:lnTo>
                <a:lnTo>
                  <a:pt x="338" y="6"/>
                </a:lnTo>
                <a:close/>
                <a:moveTo>
                  <a:pt x="284" y="10"/>
                </a:moveTo>
                <a:lnTo>
                  <a:pt x="284" y="10"/>
                </a:lnTo>
                <a:cubicBezTo>
                  <a:pt x="282" y="9"/>
                  <a:pt x="278" y="10"/>
                  <a:pt x="273" y="12"/>
                </a:cubicBezTo>
                <a:cubicBezTo>
                  <a:pt x="268" y="15"/>
                  <a:pt x="266" y="16"/>
                  <a:pt x="265" y="16"/>
                </a:cubicBezTo>
                <a:cubicBezTo>
                  <a:pt x="264" y="15"/>
                  <a:pt x="263" y="15"/>
                  <a:pt x="262" y="15"/>
                </a:cubicBezTo>
                <a:lnTo>
                  <a:pt x="262" y="14"/>
                </a:lnTo>
                <a:cubicBezTo>
                  <a:pt x="263" y="11"/>
                  <a:pt x="265" y="9"/>
                  <a:pt x="269" y="8"/>
                </a:cubicBezTo>
                <a:cubicBezTo>
                  <a:pt x="271" y="7"/>
                  <a:pt x="275" y="7"/>
                  <a:pt x="279" y="6"/>
                </a:cubicBezTo>
                <a:cubicBezTo>
                  <a:pt x="281" y="6"/>
                  <a:pt x="284" y="5"/>
                  <a:pt x="288" y="3"/>
                </a:cubicBezTo>
                <a:cubicBezTo>
                  <a:pt x="291" y="1"/>
                  <a:pt x="294" y="0"/>
                  <a:pt x="297" y="1"/>
                </a:cubicBezTo>
                <a:cubicBezTo>
                  <a:pt x="299" y="1"/>
                  <a:pt x="300" y="2"/>
                  <a:pt x="301" y="4"/>
                </a:cubicBezTo>
                <a:cubicBezTo>
                  <a:pt x="300" y="5"/>
                  <a:pt x="297" y="7"/>
                  <a:pt x="293" y="9"/>
                </a:cubicBezTo>
                <a:cubicBezTo>
                  <a:pt x="290" y="10"/>
                  <a:pt x="288" y="11"/>
                  <a:pt x="288" y="11"/>
                </a:cubicBezTo>
                <a:cubicBezTo>
                  <a:pt x="286" y="10"/>
                  <a:pt x="285" y="10"/>
                  <a:pt x="284" y="10"/>
                </a:cubicBezTo>
                <a:lnTo>
                  <a:pt x="284" y="10"/>
                </a:lnTo>
                <a:close/>
                <a:moveTo>
                  <a:pt x="237" y="22"/>
                </a:moveTo>
                <a:lnTo>
                  <a:pt x="237" y="22"/>
                </a:lnTo>
                <a:cubicBezTo>
                  <a:pt x="241" y="20"/>
                  <a:pt x="244" y="18"/>
                  <a:pt x="247" y="18"/>
                </a:cubicBezTo>
                <a:cubicBezTo>
                  <a:pt x="245" y="22"/>
                  <a:pt x="240" y="28"/>
                  <a:pt x="230" y="34"/>
                </a:cubicBezTo>
                <a:cubicBezTo>
                  <a:pt x="230" y="33"/>
                  <a:pt x="229" y="33"/>
                  <a:pt x="229" y="33"/>
                </a:cubicBezTo>
                <a:cubicBezTo>
                  <a:pt x="228" y="32"/>
                  <a:pt x="228" y="32"/>
                  <a:pt x="228" y="31"/>
                </a:cubicBezTo>
                <a:cubicBezTo>
                  <a:pt x="229" y="28"/>
                  <a:pt x="231" y="25"/>
                  <a:pt x="237" y="22"/>
                </a:cubicBezTo>
                <a:lnTo>
                  <a:pt x="237" y="22"/>
                </a:lnTo>
                <a:close/>
                <a:moveTo>
                  <a:pt x="205" y="69"/>
                </a:moveTo>
                <a:lnTo>
                  <a:pt x="205" y="69"/>
                </a:lnTo>
                <a:cubicBezTo>
                  <a:pt x="204" y="69"/>
                  <a:pt x="203" y="68"/>
                  <a:pt x="202" y="66"/>
                </a:cubicBezTo>
                <a:cubicBezTo>
                  <a:pt x="201" y="64"/>
                  <a:pt x="200" y="63"/>
                  <a:pt x="200" y="62"/>
                </a:cubicBezTo>
                <a:cubicBezTo>
                  <a:pt x="201" y="57"/>
                  <a:pt x="203" y="53"/>
                  <a:pt x="208" y="49"/>
                </a:cubicBezTo>
                <a:cubicBezTo>
                  <a:pt x="215" y="43"/>
                  <a:pt x="219" y="39"/>
                  <a:pt x="219" y="39"/>
                </a:cubicBezTo>
                <a:cubicBezTo>
                  <a:pt x="221" y="42"/>
                  <a:pt x="223" y="45"/>
                  <a:pt x="225" y="50"/>
                </a:cubicBezTo>
                <a:cubicBezTo>
                  <a:pt x="225" y="52"/>
                  <a:pt x="222" y="56"/>
                  <a:pt x="217" y="61"/>
                </a:cubicBezTo>
                <a:cubicBezTo>
                  <a:pt x="212" y="65"/>
                  <a:pt x="209" y="68"/>
                  <a:pt x="206" y="69"/>
                </a:cubicBezTo>
                <a:cubicBezTo>
                  <a:pt x="206" y="69"/>
                  <a:pt x="206" y="69"/>
                  <a:pt x="205" y="69"/>
                </a:cubicBezTo>
                <a:lnTo>
                  <a:pt x="205" y="69"/>
                </a:lnTo>
                <a:close/>
                <a:moveTo>
                  <a:pt x="230" y="189"/>
                </a:moveTo>
                <a:lnTo>
                  <a:pt x="230" y="189"/>
                </a:lnTo>
                <a:cubicBezTo>
                  <a:pt x="229" y="188"/>
                  <a:pt x="227" y="187"/>
                  <a:pt x="226" y="187"/>
                </a:cubicBezTo>
                <a:cubicBezTo>
                  <a:pt x="226" y="186"/>
                  <a:pt x="226" y="186"/>
                  <a:pt x="226" y="186"/>
                </a:cubicBezTo>
                <a:lnTo>
                  <a:pt x="226" y="186"/>
                </a:lnTo>
                <a:cubicBezTo>
                  <a:pt x="226" y="185"/>
                  <a:pt x="236" y="180"/>
                  <a:pt x="255" y="169"/>
                </a:cubicBezTo>
                <a:cubicBezTo>
                  <a:pt x="273" y="160"/>
                  <a:pt x="283" y="155"/>
                  <a:pt x="284" y="155"/>
                </a:cubicBezTo>
                <a:cubicBezTo>
                  <a:pt x="287" y="155"/>
                  <a:pt x="290" y="156"/>
                  <a:pt x="293" y="158"/>
                </a:cubicBezTo>
                <a:cubicBezTo>
                  <a:pt x="295" y="159"/>
                  <a:pt x="296" y="159"/>
                  <a:pt x="297" y="160"/>
                </a:cubicBezTo>
                <a:cubicBezTo>
                  <a:pt x="299" y="162"/>
                  <a:pt x="302" y="164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cubicBezTo>
                  <a:pt x="309" y="169"/>
                  <a:pt x="309" y="171"/>
                  <a:pt x="309" y="173"/>
                </a:cubicBezTo>
                <a:cubicBezTo>
                  <a:pt x="309" y="177"/>
                  <a:pt x="305" y="180"/>
                  <a:pt x="299" y="184"/>
                </a:cubicBezTo>
                <a:cubicBezTo>
                  <a:pt x="295" y="186"/>
                  <a:pt x="290" y="188"/>
                  <a:pt x="284" y="190"/>
                </a:cubicBezTo>
                <a:cubicBezTo>
                  <a:pt x="284" y="190"/>
                  <a:pt x="280" y="193"/>
                  <a:pt x="272" y="200"/>
                </a:cubicBezTo>
                <a:cubicBezTo>
                  <a:pt x="267" y="204"/>
                  <a:pt x="261" y="206"/>
                  <a:pt x="256" y="206"/>
                </a:cubicBezTo>
                <a:lnTo>
                  <a:pt x="256" y="206"/>
                </a:lnTo>
                <a:cubicBezTo>
                  <a:pt x="255" y="206"/>
                  <a:pt x="254" y="205"/>
                  <a:pt x="253" y="205"/>
                </a:cubicBezTo>
                <a:cubicBezTo>
                  <a:pt x="251" y="204"/>
                  <a:pt x="250" y="203"/>
                  <a:pt x="248" y="201"/>
                </a:cubicBezTo>
                <a:cubicBezTo>
                  <a:pt x="244" y="198"/>
                  <a:pt x="242" y="196"/>
                  <a:pt x="240" y="195"/>
                </a:cubicBezTo>
                <a:cubicBezTo>
                  <a:pt x="237" y="193"/>
                  <a:pt x="233" y="191"/>
                  <a:pt x="231" y="189"/>
                </a:cubicBezTo>
                <a:cubicBezTo>
                  <a:pt x="231" y="189"/>
                  <a:pt x="231" y="189"/>
                  <a:pt x="230" y="189"/>
                </a:cubicBezTo>
                <a:lnTo>
                  <a:pt x="230" y="189"/>
                </a:lnTo>
                <a:close/>
                <a:moveTo>
                  <a:pt x="307" y="167"/>
                </a:moveTo>
                <a:lnTo>
                  <a:pt x="307" y="167"/>
                </a:lnTo>
                <a:cubicBezTo>
                  <a:pt x="306" y="166"/>
                  <a:pt x="306" y="166"/>
                  <a:pt x="305" y="166"/>
                </a:cubicBezTo>
                <a:cubicBezTo>
                  <a:pt x="306" y="166"/>
                  <a:pt x="306" y="166"/>
                  <a:pt x="307" y="167"/>
                </a:cubicBezTo>
                <a:lnTo>
                  <a:pt x="307" y="167"/>
                </a:lnTo>
                <a:close/>
                <a:moveTo>
                  <a:pt x="241" y="81"/>
                </a:moveTo>
                <a:lnTo>
                  <a:pt x="241" y="81"/>
                </a:lnTo>
                <a:lnTo>
                  <a:pt x="240" y="81"/>
                </a:lnTo>
                <a:cubicBezTo>
                  <a:pt x="241" y="81"/>
                  <a:pt x="241" y="81"/>
                  <a:pt x="241" y="80"/>
                </a:cubicBezTo>
                <a:lnTo>
                  <a:pt x="241" y="81"/>
                </a:lnTo>
                <a:lnTo>
                  <a:pt x="241" y="81"/>
                </a:lnTo>
                <a:close/>
                <a:moveTo>
                  <a:pt x="37" y="330"/>
                </a:moveTo>
                <a:lnTo>
                  <a:pt x="37" y="330"/>
                </a:lnTo>
                <a:cubicBezTo>
                  <a:pt x="46" y="336"/>
                  <a:pt x="52" y="340"/>
                  <a:pt x="55" y="340"/>
                </a:cubicBezTo>
                <a:cubicBezTo>
                  <a:pt x="57" y="340"/>
                  <a:pt x="60" y="340"/>
                  <a:pt x="64" y="337"/>
                </a:cubicBezTo>
                <a:cubicBezTo>
                  <a:pt x="68" y="335"/>
                  <a:pt x="71" y="334"/>
                  <a:pt x="72" y="334"/>
                </a:cubicBezTo>
                <a:cubicBezTo>
                  <a:pt x="73" y="334"/>
                  <a:pt x="74" y="335"/>
                  <a:pt x="76" y="336"/>
                </a:cubicBezTo>
                <a:cubicBezTo>
                  <a:pt x="77" y="337"/>
                  <a:pt x="78" y="338"/>
                  <a:pt x="80" y="340"/>
                </a:cubicBezTo>
                <a:cubicBezTo>
                  <a:pt x="81" y="341"/>
                  <a:pt x="85" y="341"/>
                  <a:pt x="91" y="342"/>
                </a:cubicBezTo>
                <a:cubicBezTo>
                  <a:pt x="91" y="342"/>
                  <a:pt x="91" y="342"/>
                  <a:pt x="92" y="342"/>
                </a:cubicBezTo>
                <a:cubicBezTo>
                  <a:pt x="94" y="342"/>
                  <a:pt x="96" y="344"/>
                  <a:pt x="98" y="348"/>
                </a:cubicBezTo>
                <a:cubicBezTo>
                  <a:pt x="98" y="348"/>
                  <a:pt x="98" y="349"/>
                  <a:pt x="99" y="350"/>
                </a:cubicBezTo>
                <a:cubicBezTo>
                  <a:pt x="99" y="350"/>
                  <a:pt x="99" y="351"/>
                  <a:pt x="99" y="351"/>
                </a:cubicBezTo>
                <a:cubicBezTo>
                  <a:pt x="100" y="351"/>
                  <a:pt x="100" y="352"/>
                  <a:pt x="100" y="352"/>
                </a:cubicBezTo>
                <a:cubicBezTo>
                  <a:pt x="100" y="352"/>
                  <a:pt x="100" y="352"/>
                  <a:pt x="100" y="352"/>
                </a:cubicBezTo>
                <a:cubicBezTo>
                  <a:pt x="100" y="353"/>
                  <a:pt x="100" y="353"/>
                  <a:pt x="100" y="353"/>
                </a:cubicBezTo>
                <a:lnTo>
                  <a:pt x="99" y="353"/>
                </a:lnTo>
                <a:cubicBezTo>
                  <a:pt x="97" y="353"/>
                  <a:pt x="91" y="356"/>
                  <a:pt x="79" y="361"/>
                </a:cubicBezTo>
                <a:cubicBezTo>
                  <a:pt x="70" y="364"/>
                  <a:pt x="62" y="365"/>
                  <a:pt x="55" y="365"/>
                </a:cubicBezTo>
                <a:cubicBezTo>
                  <a:pt x="52" y="364"/>
                  <a:pt x="50" y="363"/>
                  <a:pt x="49" y="360"/>
                </a:cubicBezTo>
                <a:cubicBezTo>
                  <a:pt x="47" y="356"/>
                  <a:pt x="46" y="353"/>
                  <a:pt x="46" y="351"/>
                </a:cubicBezTo>
                <a:cubicBezTo>
                  <a:pt x="44" y="350"/>
                  <a:pt x="41" y="349"/>
                  <a:pt x="37" y="347"/>
                </a:cubicBezTo>
                <a:cubicBezTo>
                  <a:pt x="33" y="346"/>
                  <a:pt x="30" y="345"/>
                  <a:pt x="28" y="345"/>
                </a:cubicBezTo>
                <a:cubicBezTo>
                  <a:pt x="25" y="344"/>
                  <a:pt x="22" y="346"/>
                  <a:pt x="19" y="348"/>
                </a:cubicBezTo>
                <a:cubicBezTo>
                  <a:pt x="16" y="351"/>
                  <a:pt x="14" y="352"/>
                  <a:pt x="13" y="352"/>
                </a:cubicBezTo>
                <a:cubicBezTo>
                  <a:pt x="8" y="352"/>
                  <a:pt x="5" y="348"/>
                  <a:pt x="4" y="341"/>
                </a:cubicBezTo>
                <a:cubicBezTo>
                  <a:pt x="3" y="334"/>
                  <a:pt x="2" y="329"/>
                  <a:pt x="1" y="326"/>
                </a:cubicBezTo>
                <a:cubicBezTo>
                  <a:pt x="0" y="326"/>
                  <a:pt x="0" y="325"/>
                  <a:pt x="0" y="325"/>
                </a:cubicBezTo>
                <a:lnTo>
                  <a:pt x="0" y="323"/>
                </a:lnTo>
                <a:cubicBezTo>
                  <a:pt x="1" y="323"/>
                  <a:pt x="3" y="323"/>
                  <a:pt x="5" y="323"/>
                </a:cubicBezTo>
                <a:cubicBezTo>
                  <a:pt x="5" y="323"/>
                  <a:pt x="11" y="322"/>
                  <a:pt x="22" y="319"/>
                </a:cubicBezTo>
                <a:cubicBezTo>
                  <a:pt x="22" y="319"/>
                  <a:pt x="24" y="320"/>
                  <a:pt x="27" y="322"/>
                </a:cubicBezTo>
                <a:cubicBezTo>
                  <a:pt x="29" y="324"/>
                  <a:pt x="32" y="326"/>
                  <a:pt x="37" y="330"/>
                </a:cubicBezTo>
                <a:lnTo>
                  <a:pt x="37" y="330"/>
                </a:lnTo>
                <a:close/>
                <a:moveTo>
                  <a:pt x="362" y="19"/>
                </a:moveTo>
                <a:lnTo>
                  <a:pt x="362" y="19"/>
                </a:lnTo>
                <a:cubicBezTo>
                  <a:pt x="363" y="19"/>
                  <a:pt x="363" y="19"/>
                  <a:pt x="365" y="20"/>
                </a:cubicBezTo>
                <a:cubicBezTo>
                  <a:pt x="369" y="20"/>
                  <a:pt x="374" y="21"/>
                  <a:pt x="382" y="23"/>
                </a:cubicBezTo>
                <a:cubicBezTo>
                  <a:pt x="385" y="23"/>
                  <a:pt x="399" y="23"/>
                  <a:pt x="424" y="20"/>
                </a:cubicBezTo>
                <a:cubicBezTo>
                  <a:pt x="432" y="21"/>
                  <a:pt x="438" y="29"/>
                  <a:pt x="441" y="43"/>
                </a:cubicBezTo>
                <a:cubicBezTo>
                  <a:pt x="442" y="47"/>
                  <a:pt x="445" y="51"/>
                  <a:pt x="449" y="54"/>
                </a:cubicBezTo>
                <a:cubicBezTo>
                  <a:pt x="450" y="54"/>
                  <a:pt x="450" y="54"/>
                  <a:pt x="450" y="54"/>
                </a:cubicBezTo>
                <a:cubicBezTo>
                  <a:pt x="450" y="54"/>
                  <a:pt x="450" y="54"/>
                  <a:pt x="451" y="55"/>
                </a:cubicBezTo>
                <a:cubicBezTo>
                  <a:pt x="454" y="57"/>
                  <a:pt x="459" y="59"/>
                  <a:pt x="466" y="63"/>
                </a:cubicBezTo>
                <a:cubicBezTo>
                  <a:pt x="466" y="62"/>
                  <a:pt x="467" y="62"/>
                  <a:pt x="468" y="61"/>
                </a:cubicBezTo>
                <a:cubicBezTo>
                  <a:pt x="468" y="62"/>
                  <a:pt x="468" y="62"/>
                  <a:pt x="469" y="63"/>
                </a:cubicBezTo>
                <a:cubicBezTo>
                  <a:pt x="470" y="67"/>
                  <a:pt x="471" y="70"/>
                  <a:pt x="471" y="72"/>
                </a:cubicBezTo>
                <a:cubicBezTo>
                  <a:pt x="470" y="74"/>
                  <a:pt x="469" y="76"/>
                  <a:pt x="467" y="79"/>
                </a:cubicBezTo>
                <a:cubicBezTo>
                  <a:pt x="465" y="81"/>
                  <a:pt x="465" y="83"/>
                  <a:pt x="464" y="85"/>
                </a:cubicBezTo>
                <a:cubicBezTo>
                  <a:pt x="464" y="85"/>
                  <a:pt x="464" y="87"/>
                  <a:pt x="463" y="91"/>
                </a:cubicBezTo>
                <a:cubicBezTo>
                  <a:pt x="463" y="92"/>
                  <a:pt x="463" y="94"/>
                  <a:pt x="464" y="96"/>
                </a:cubicBezTo>
                <a:cubicBezTo>
                  <a:pt x="464" y="98"/>
                  <a:pt x="464" y="100"/>
                  <a:pt x="464" y="103"/>
                </a:cubicBezTo>
                <a:cubicBezTo>
                  <a:pt x="464" y="107"/>
                  <a:pt x="462" y="112"/>
                  <a:pt x="458" y="119"/>
                </a:cubicBezTo>
                <a:cubicBezTo>
                  <a:pt x="457" y="122"/>
                  <a:pt x="453" y="127"/>
                  <a:pt x="447" y="133"/>
                </a:cubicBezTo>
                <a:cubicBezTo>
                  <a:pt x="440" y="157"/>
                  <a:pt x="435" y="168"/>
                  <a:pt x="434" y="168"/>
                </a:cubicBezTo>
                <a:cubicBezTo>
                  <a:pt x="429" y="165"/>
                  <a:pt x="424" y="164"/>
                  <a:pt x="421" y="164"/>
                </a:cubicBezTo>
                <a:cubicBezTo>
                  <a:pt x="413" y="164"/>
                  <a:pt x="407" y="164"/>
                  <a:pt x="403" y="163"/>
                </a:cubicBezTo>
                <a:lnTo>
                  <a:pt x="402" y="167"/>
                </a:lnTo>
                <a:cubicBezTo>
                  <a:pt x="404" y="172"/>
                  <a:pt x="405" y="175"/>
                  <a:pt x="405" y="176"/>
                </a:cubicBezTo>
                <a:cubicBezTo>
                  <a:pt x="404" y="177"/>
                  <a:pt x="404" y="179"/>
                  <a:pt x="402" y="181"/>
                </a:cubicBezTo>
                <a:cubicBezTo>
                  <a:pt x="400" y="183"/>
                  <a:pt x="400" y="185"/>
                  <a:pt x="399" y="186"/>
                </a:cubicBezTo>
                <a:cubicBezTo>
                  <a:pt x="399" y="190"/>
                  <a:pt x="400" y="193"/>
                  <a:pt x="404" y="196"/>
                </a:cubicBezTo>
                <a:cubicBezTo>
                  <a:pt x="406" y="197"/>
                  <a:pt x="410" y="199"/>
                  <a:pt x="416" y="201"/>
                </a:cubicBezTo>
                <a:cubicBezTo>
                  <a:pt x="421" y="203"/>
                  <a:pt x="425" y="205"/>
                  <a:pt x="427" y="207"/>
                </a:cubicBezTo>
                <a:cubicBezTo>
                  <a:pt x="431" y="209"/>
                  <a:pt x="432" y="213"/>
                  <a:pt x="432" y="217"/>
                </a:cubicBezTo>
                <a:cubicBezTo>
                  <a:pt x="432" y="218"/>
                  <a:pt x="431" y="220"/>
                  <a:pt x="430" y="223"/>
                </a:cubicBezTo>
                <a:cubicBezTo>
                  <a:pt x="428" y="226"/>
                  <a:pt x="428" y="229"/>
                  <a:pt x="427" y="231"/>
                </a:cubicBezTo>
                <a:cubicBezTo>
                  <a:pt x="427" y="237"/>
                  <a:pt x="426" y="241"/>
                  <a:pt x="424" y="242"/>
                </a:cubicBezTo>
                <a:cubicBezTo>
                  <a:pt x="424" y="243"/>
                  <a:pt x="421" y="245"/>
                  <a:pt x="414" y="248"/>
                </a:cubicBezTo>
                <a:cubicBezTo>
                  <a:pt x="411" y="250"/>
                  <a:pt x="408" y="253"/>
                  <a:pt x="408" y="257"/>
                </a:cubicBezTo>
                <a:cubicBezTo>
                  <a:pt x="405" y="256"/>
                  <a:pt x="402" y="256"/>
                  <a:pt x="397" y="257"/>
                </a:cubicBezTo>
                <a:cubicBezTo>
                  <a:pt x="391" y="258"/>
                  <a:pt x="389" y="260"/>
                  <a:pt x="388" y="263"/>
                </a:cubicBezTo>
                <a:cubicBezTo>
                  <a:pt x="388" y="267"/>
                  <a:pt x="390" y="271"/>
                  <a:pt x="394" y="275"/>
                </a:cubicBezTo>
                <a:cubicBezTo>
                  <a:pt x="398" y="278"/>
                  <a:pt x="400" y="280"/>
                  <a:pt x="400" y="281"/>
                </a:cubicBezTo>
                <a:cubicBezTo>
                  <a:pt x="400" y="284"/>
                  <a:pt x="397" y="287"/>
                  <a:pt x="391" y="290"/>
                </a:cubicBezTo>
                <a:cubicBezTo>
                  <a:pt x="385" y="293"/>
                  <a:pt x="381" y="295"/>
                  <a:pt x="377" y="294"/>
                </a:cubicBezTo>
                <a:cubicBezTo>
                  <a:pt x="372" y="294"/>
                  <a:pt x="367" y="295"/>
                  <a:pt x="360" y="296"/>
                </a:cubicBezTo>
                <a:cubicBezTo>
                  <a:pt x="355" y="298"/>
                  <a:pt x="351" y="299"/>
                  <a:pt x="349" y="299"/>
                </a:cubicBezTo>
                <a:cubicBezTo>
                  <a:pt x="336" y="292"/>
                  <a:pt x="326" y="287"/>
                  <a:pt x="321" y="285"/>
                </a:cubicBezTo>
                <a:cubicBezTo>
                  <a:pt x="321" y="293"/>
                  <a:pt x="317" y="296"/>
                  <a:pt x="309" y="295"/>
                </a:cubicBezTo>
                <a:cubicBezTo>
                  <a:pt x="305" y="294"/>
                  <a:pt x="302" y="294"/>
                  <a:pt x="300" y="294"/>
                </a:cubicBezTo>
                <a:cubicBezTo>
                  <a:pt x="299" y="295"/>
                  <a:pt x="299" y="298"/>
                  <a:pt x="298" y="302"/>
                </a:cubicBezTo>
                <a:cubicBezTo>
                  <a:pt x="298" y="307"/>
                  <a:pt x="299" y="311"/>
                  <a:pt x="301" y="312"/>
                </a:cubicBezTo>
                <a:cubicBezTo>
                  <a:pt x="304" y="314"/>
                  <a:pt x="305" y="316"/>
                  <a:pt x="305" y="318"/>
                </a:cubicBezTo>
                <a:cubicBezTo>
                  <a:pt x="305" y="319"/>
                  <a:pt x="304" y="320"/>
                  <a:pt x="302" y="322"/>
                </a:cubicBezTo>
                <a:cubicBezTo>
                  <a:pt x="302" y="322"/>
                  <a:pt x="303" y="323"/>
                  <a:pt x="303" y="323"/>
                </a:cubicBezTo>
                <a:cubicBezTo>
                  <a:pt x="303" y="324"/>
                  <a:pt x="305" y="324"/>
                  <a:pt x="309" y="326"/>
                </a:cubicBezTo>
                <a:cubicBezTo>
                  <a:pt x="311" y="326"/>
                  <a:pt x="311" y="328"/>
                  <a:pt x="311" y="331"/>
                </a:cubicBezTo>
                <a:cubicBezTo>
                  <a:pt x="310" y="332"/>
                  <a:pt x="310" y="333"/>
                  <a:pt x="308" y="336"/>
                </a:cubicBezTo>
                <a:cubicBezTo>
                  <a:pt x="308" y="337"/>
                  <a:pt x="310" y="341"/>
                  <a:pt x="313" y="347"/>
                </a:cubicBezTo>
                <a:cubicBezTo>
                  <a:pt x="316" y="356"/>
                  <a:pt x="318" y="364"/>
                  <a:pt x="317" y="372"/>
                </a:cubicBezTo>
                <a:cubicBezTo>
                  <a:pt x="316" y="380"/>
                  <a:pt x="313" y="386"/>
                  <a:pt x="309" y="389"/>
                </a:cubicBezTo>
                <a:cubicBezTo>
                  <a:pt x="303" y="392"/>
                  <a:pt x="299" y="398"/>
                  <a:pt x="297" y="405"/>
                </a:cubicBezTo>
                <a:cubicBezTo>
                  <a:pt x="298" y="406"/>
                  <a:pt x="300" y="407"/>
                  <a:pt x="302" y="408"/>
                </a:cubicBezTo>
                <a:cubicBezTo>
                  <a:pt x="304" y="408"/>
                  <a:pt x="304" y="410"/>
                  <a:pt x="304" y="412"/>
                </a:cubicBezTo>
                <a:cubicBezTo>
                  <a:pt x="304" y="415"/>
                  <a:pt x="300" y="418"/>
                  <a:pt x="294" y="422"/>
                </a:cubicBezTo>
                <a:cubicBezTo>
                  <a:pt x="287" y="426"/>
                  <a:pt x="284" y="430"/>
                  <a:pt x="283" y="433"/>
                </a:cubicBezTo>
                <a:lnTo>
                  <a:pt x="278" y="432"/>
                </a:lnTo>
                <a:cubicBezTo>
                  <a:pt x="277" y="430"/>
                  <a:pt x="274" y="431"/>
                  <a:pt x="269" y="435"/>
                </a:cubicBezTo>
                <a:cubicBezTo>
                  <a:pt x="276" y="442"/>
                  <a:pt x="284" y="450"/>
                  <a:pt x="291" y="457"/>
                </a:cubicBezTo>
                <a:cubicBezTo>
                  <a:pt x="291" y="460"/>
                  <a:pt x="288" y="462"/>
                  <a:pt x="284" y="463"/>
                </a:cubicBezTo>
                <a:cubicBezTo>
                  <a:pt x="280" y="464"/>
                  <a:pt x="278" y="467"/>
                  <a:pt x="277" y="472"/>
                </a:cubicBezTo>
                <a:cubicBezTo>
                  <a:pt x="277" y="479"/>
                  <a:pt x="277" y="483"/>
                  <a:pt x="279" y="484"/>
                </a:cubicBezTo>
                <a:lnTo>
                  <a:pt x="278" y="485"/>
                </a:lnTo>
                <a:cubicBezTo>
                  <a:pt x="276" y="483"/>
                  <a:pt x="272" y="482"/>
                  <a:pt x="266" y="481"/>
                </a:cubicBezTo>
                <a:cubicBezTo>
                  <a:pt x="255" y="480"/>
                  <a:pt x="248" y="479"/>
                  <a:pt x="247" y="479"/>
                </a:cubicBezTo>
                <a:cubicBezTo>
                  <a:pt x="247" y="477"/>
                  <a:pt x="247" y="475"/>
                  <a:pt x="246" y="473"/>
                </a:cubicBezTo>
                <a:cubicBezTo>
                  <a:pt x="246" y="471"/>
                  <a:pt x="245" y="470"/>
                  <a:pt x="244" y="469"/>
                </a:cubicBezTo>
                <a:cubicBezTo>
                  <a:pt x="240" y="467"/>
                  <a:pt x="238" y="464"/>
                  <a:pt x="238" y="463"/>
                </a:cubicBezTo>
                <a:cubicBezTo>
                  <a:pt x="239" y="460"/>
                  <a:pt x="242" y="457"/>
                  <a:pt x="248" y="454"/>
                </a:cubicBezTo>
                <a:cubicBezTo>
                  <a:pt x="254" y="450"/>
                  <a:pt x="257" y="447"/>
                  <a:pt x="258" y="442"/>
                </a:cubicBezTo>
                <a:cubicBezTo>
                  <a:pt x="259" y="436"/>
                  <a:pt x="261" y="430"/>
                  <a:pt x="265" y="423"/>
                </a:cubicBezTo>
                <a:cubicBezTo>
                  <a:pt x="268" y="417"/>
                  <a:pt x="269" y="414"/>
                  <a:pt x="269" y="414"/>
                </a:cubicBezTo>
                <a:cubicBezTo>
                  <a:pt x="270" y="410"/>
                  <a:pt x="268" y="407"/>
                  <a:pt x="262" y="404"/>
                </a:cubicBezTo>
                <a:cubicBezTo>
                  <a:pt x="256" y="402"/>
                  <a:pt x="252" y="400"/>
                  <a:pt x="250" y="399"/>
                </a:cubicBezTo>
                <a:cubicBezTo>
                  <a:pt x="247" y="398"/>
                  <a:pt x="244" y="395"/>
                  <a:pt x="240" y="389"/>
                </a:cubicBezTo>
                <a:cubicBezTo>
                  <a:pt x="237" y="385"/>
                  <a:pt x="235" y="382"/>
                  <a:pt x="233" y="382"/>
                </a:cubicBezTo>
                <a:cubicBezTo>
                  <a:pt x="232" y="381"/>
                  <a:pt x="230" y="382"/>
                  <a:pt x="227" y="383"/>
                </a:cubicBezTo>
                <a:cubicBezTo>
                  <a:pt x="224" y="383"/>
                  <a:pt x="222" y="384"/>
                  <a:pt x="220" y="383"/>
                </a:cubicBezTo>
                <a:cubicBezTo>
                  <a:pt x="215" y="383"/>
                  <a:pt x="212" y="382"/>
                  <a:pt x="211" y="380"/>
                </a:cubicBezTo>
                <a:cubicBezTo>
                  <a:pt x="210" y="379"/>
                  <a:pt x="210" y="377"/>
                  <a:pt x="209" y="375"/>
                </a:cubicBezTo>
                <a:cubicBezTo>
                  <a:pt x="209" y="369"/>
                  <a:pt x="205" y="366"/>
                  <a:pt x="197" y="366"/>
                </a:cubicBezTo>
                <a:cubicBezTo>
                  <a:pt x="198" y="363"/>
                  <a:pt x="198" y="358"/>
                  <a:pt x="196" y="352"/>
                </a:cubicBezTo>
                <a:cubicBezTo>
                  <a:pt x="195" y="346"/>
                  <a:pt x="193" y="343"/>
                  <a:pt x="191" y="343"/>
                </a:cubicBezTo>
                <a:cubicBezTo>
                  <a:pt x="190" y="343"/>
                  <a:pt x="187" y="344"/>
                  <a:pt x="184" y="347"/>
                </a:cubicBezTo>
                <a:cubicBezTo>
                  <a:pt x="181" y="350"/>
                  <a:pt x="180" y="352"/>
                  <a:pt x="179" y="352"/>
                </a:cubicBezTo>
                <a:cubicBezTo>
                  <a:pt x="173" y="349"/>
                  <a:pt x="168" y="347"/>
                  <a:pt x="165" y="347"/>
                </a:cubicBezTo>
                <a:lnTo>
                  <a:pt x="166" y="344"/>
                </a:lnTo>
                <a:cubicBezTo>
                  <a:pt x="166" y="343"/>
                  <a:pt x="167" y="342"/>
                  <a:pt x="168" y="341"/>
                </a:cubicBezTo>
                <a:cubicBezTo>
                  <a:pt x="169" y="340"/>
                  <a:pt x="170" y="339"/>
                  <a:pt x="170" y="339"/>
                </a:cubicBezTo>
                <a:cubicBezTo>
                  <a:pt x="170" y="338"/>
                  <a:pt x="169" y="336"/>
                  <a:pt x="167" y="333"/>
                </a:cubicBezTo>
                <a:cubicBezTo>
                  <a:pt x="165" y="331"/>
                  <a:pt x="163" y="330"/>
                  <a:pt x="162" y="330"/>
                </a:cubicBezTo>
                <a:cubicBezTo>
                  <a:pt x="160" y="329"/>
                  <a:pt x="157" y="331"/>
                  <a:pt x="152" y="335"/>
                </a:cubicBezTo>
                <a:cubicBezTo>
                  <a:pt x="148" y="339"/>
                  <a:pt x="146" y="341"/>
                  <a:pt x="145" y="341"/>
                </a:cubicBezTo>
                <a:cubicBezTo>
                  <a:pt x="143" y="341"/>
                  <a:pt x="140" y="339"/>
                  <a:pt x="138" y="335"/>
                </a:cubicBezTo>
                <a:cubicBezTo>
                  <a:pt x="136" y="331"/>
                  <a:pt x="133" y="329"/>
                  <a:pt x="131" y="329"/>
                </a:cubicBezTo>
                <a:cubicBezTo>
                  <a:pt x="129" y="329"/>
                  <a:pt x="126" y="329"/>
                  <a:pt x="124" y="331"/>
                </a:cubicBezTo>
                <a:cubicBezTo>
                  <a:pt x="122" y="333"/>
                  <a:pt x="120" y="336"/>
                  <a:pt x="120" y="338"/>
                </a:cubicBezTo>
                <a:cubicBezTo>
                  <a:pt x="120" y="340"/>
                  <a:pt x="120" y="342"/>
                  <a:pt x="121" y="346"/>
                </a:cubicBezTo>
                <a:cubicBezTo>
                  <a:pt x="121" y="348"/>
                  <a:pt x="119" y="349"/>
                  <a:pt x="116" y="348"/>
                </a:cubicBezTo>
                <a:cubicBezTo>
                  <a:pt x="112" y="347"/>
                  <a:pt x="109" y="346"/>
                  <a:pt x="107" y="347"/>
                </a:cubicBezTo>
                <a:cubicBezTo>
                  <a:pt x="106" y="346"/>
                  <a:pt x="104" y="348"/>
                  <a:pt x="101" y="351"/>
                </a:cubicBezTo>
                <a:cubicBezTo>
                  <a:pt x="101" y="350"/>
                  <a:pt x="101" y="350"/>
                  <a:pt x="101" y="349"/>
                </a:cubicBezTo>
                <a:cubicBezTo>
                  <a:pt x="100" y="348"/>
                  <a:pt x="100" y="348"/>
                  <a:pt x="100" y="347"/>
                </a:cubicBezTo>
                <a:cubicBezTo>
                  <a:pt x="98" y="341"/>
                  <a:pt x="95" y="337"/>
                  <a:pt x="91" y="337"/>
                </a:cubicBezTo>
                <a:cubicBezTo>
                  <a:pt x="85" y="335"/>
                  <a:pt x="81" y="333"/>
                  <a:pt x="79" y="331"/>
                </a:cubicBezTo>
                <a:cubicBezTo>
                  <a:pt x="78" y="331"/>
                  <a:pt x="78" y="330"/>
                  <a:pt x="77" y="329"/>
                </a:cubicBezTo>
                <a:cubicBezTo>
                  <a:pt x="73" y="326"/>
                  <a:pt x="71" y="324"/>
                  <a:pt x="70" y="324"/>
                </a:cubicBezTo>
                <a:cubicBezTo>
                  <a:pt x="64" y="329"/>
                  <a:pt x="60" y="332"/>
                  <a:pt x="56" y="332"/>
                </a:cubicBezTo>
                <a:cubicBezTo>
                  <a:pt x="54" y="331"/>
                  <a:pt x="52" y="329"/>
                  <a:pt x="49" y="325"/>
                </a:cubicBezTo>
                <a:cubicBezTo>
                  <a:pt x="46" y="321"/>
                  <a:pt x="40" y="318"/>
                  <a:pt x="33" y="317"/>
                </a:cubicBezTo>
                <a:cubicBezTo>
                  <a:pt x="32" y="317"/>
                  <a:pt x="32" y="317"/>
                  <a:pt x="31" y="316"/>
                </a:cubicBezTo>
                <a:cubicBezTo>
                  <a:pt x="29" y="315"/>
                  <a:pt x="26" y="313"/>
                  <a:pt x="23" y="309"/>
                </a:cubicBezTo>
                <a:cubicBezTo>
                  <a:pt x="20" y="304"/>
                  <a:pt x="18" y="301"/>
                  <a:pt x="19" y="300"/>
                </a:cubicBezTo>
                <a:cubicBezTo>
                  <a:pt x="19" y="299"/>
                  <a:pt x="19" y="298"/>
                  <a:pt x="20" y="296"/>
                </a:cubicBezTo>
                <a:cubicBezTo>
                  <a:pt x="21" y="295"/>
                  <a:pt x="25" y="294"/>
                  <a:pt x="29" y="292"/>
                </a:cubicBezTo>
                <a:cubicBezTo>
                  <a:pt x="30" y="291"/>
                  <a:pt x="31" y="291"/>
                  <a:pt x="32" y="290"/>
                </a:cubicBezTo>
                <a:cubicBezTo>
                  <a:pt x="32" y="290"/>
                  <a:pt x="33" y="290"/>
                  <a:pt x="33" y="290"/>
                </a:cubicBezTo>
                <a:cubicBezTo>
                  <a:pt x="33" y="290"/>
                  <a:pt x="34" y="291"/>
                  <a:pt x="34" y="291"/>
                </a:cubicBezTo>
                <a:cubicBezTo>
                  <a:pt x="40" y="293"/>
                  <a:pt x="44" y="295"/>
                  <a:pt x="48" y="295"/>
                </a:cubicBezTo>
                <a:cubicBezTo>
                  <a:pt x="51" y="295"/>
                  <a:pt x="56" y="295"/>
                  <a:pt x="63" y="295"/>
                </a:cubicBezTo>
                <a:cubicBezTo>
                  <a:pt x="65" y="295"/>
                  <a:pt x="65" y="296"/>
                  <a:pt x="66" y="296"/>
                </a:cubicBezTo>
                <a:cubicBezTo>
                  <a:pt x="66" y="297"/>
                  <a:pt x="66" y="297"/>
                  <a:pt x="66" y="298"/>
                </a:cubicBezTo>
                <a:cubicBezTo>
                  <a:pt x="66" y="299"/>
                  <a:pt x="65" y="300"/>
                  <a:pt x="65" y="302"/>
                </a:cubicBezTo>
                <a:cubicBezTo>
                  <a:pt x="65" y="303"/>
                  <a:pt x="66" y="305"/>
                  <a:pt x="69" y="305"/>
                </a:cubicBezTo>
                <a:cubicBezTo>
                  <a:pt x="73" y="306"/>
                  <a:pt x="75" y="307"/>
                  <a:pt x="76" y="307"/>
                </a:cubicBezTo>
                <a:cubicBezTo>
                  <a:pt x="77" y="309"/>
                  <a:pt x="78" y="312"/>
                  <a:pt x="79" y="316"/>
                </a:cubicBezTo>
                <a:cubicBezTo>
                  <a:pt x="79" y="316"/>
                  <a:pt x="80" y="316"/>
                  <a:pt x="80" y="317"/>
                </a:cubicBezTo>
                <a:cubicBezTo>
                  <a:pt x="81" y="318"/>
                  <a:pt x="83" y="320"/>
                  <a:pt x="86" y="323"/>
                </a:cubicBezTo>
                <a:cubicBezTo>
                  <a:pt x="91" y="329"/>
                  <a:pt x="95" y="331"/>
                  <a:pt x="97" y="332"/>
                </a:cubicBezTo>
                <a:cubicBezTo>
                  <a:pt x="100" y="332"/>
                  <a:pt x="102" y="331"/>
                  <a:pt x="104" y="330"/>
                </a:cubicBezTo>
                <a:cubicBezTo>
                  <a:pt x="106" y="329"/>
                  <a:pt x="108" y="327"/>
                  <a:pt x="108" y="325"/>
                </a:cubicBezTo>
                <a:cubicBezTo>
                  <a:pt x="108" y="322"/>
                  <a:pt x="107" y="320"/>
                  <a:pt x="106" y="319"/>
                </a:cubicBezTo>
                <a:cubicBezTo>
                  <a:pt x="104" y="317"/>
                  <a:pt x="101" y="316"/>
                  <a:pt x="98" y="315"/>
                </a:cubicBezTo>
                <a:cubicBezTo>
                  <a:pt x="94" y="314"/>
                  <a:pt x="91" y="313"/>
                  <a:pt x="90" y="312"/>
                </a:cubicBezTo>
                <a:cubicBezTo>
                  <a:pt x="87" y="311"/>
                  <a:pt x="86" y="309"/>
                  <a:pt x="84" y="307"/>
                </a:cubicBezTo>
                <a:cubicBezTo>
                  <a:pt x="83" y="305"/>
                  <a:pt x="81" y="303"/>
                  <a:pt x="80" y="302"/>
                </a:cubicBezTo>
                <a:cubicBezTo>
                  <a:pt x="80" y="302"/>
                  <a:pt x="79" y="302"/>
                  <a:pt x="79" y="302"/>
                </a:cubicBezTo>
                <a:cubicBezTo>
                  <a:pt x="79" y="302"/>
                  <a:pt x="80" y="302"/>
                  <a:pt x="80" y="302"/>
                </a:cubicBezTo>
                <a:cubicBezTo>
                  <a:pt x="81" y="301"/>
                  <a:pt x="82" y="300"/>
                  <a:pt x="85" y="300"/>
                </a:cubicBezTo>
                <a:cubicBezTo>
                  <a:pt x="87" y="299"/>
                  <a:pt x="88" y="299"/>
                  <a:pt x="90" y="299"/>
                </a:cubicBezTo>
                <a:cubicBezTo>
                  <a:pt x="91" y="299"/>
                  <a:pt x="92" y="299"/>
                  <a:pt x="93" y="299"/>
                </a:cubicBezTo>
                <a:cubicBezTo>
                  <a:pt x="94" y="299"/>
                  <a:pt x="95" y="300"/>
                  <a:pt x="96" y="301"/>
                </a:cubicBezTo>
                <a:lnTo>
                  <a:pt x="105" y="302"/>
                </a:lnTo>
                <a:lnTo>
                  <a:pt x="105" y="301"/>
                </a:lnTo>
                <a:cubicBezTo>
                  <a:pt x="100" y="298"/>
                  <a:pt x="97" y="295"/>
                  <a:pt x="97" y="293"/>
                </a:cubicBezTo>
                <a:cubicBezTo>
                  <a:pt x="97" y="293"/>
                  <a:pt x="96" y="292"/>
                  <a:pt x="96" y="292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6" y="292"/>
                  <a:pt x="96" y="293"/>
                </a:cubicBezTo>
                <a:lnTo>
                  <a:pt x="95" y="293"/>
                </a:lnTo>
                <a:lnTo>
                  <a:pt x="95" y="293"/>
                </a:lnTo>
                <a:cubicBezTo>
                  <a:pt x="93" y="293"/>
                  <a:pt x="91" y="293"/>
                  <a:pt x="89" y="293"/>
                </a:cubicBezTo>
                <a:cubicBezTo>
                  <a:pt x="84" y="293"/>
                  <a:pt x="81" y="293"/>
                  <a:pt x="80" y="293"/>
                </a:cubicBezTo>
                <a:cubicBezTo>
                  <a:pt x="76" y="293"/>
                  <a:pt x="74" y="291"/>
                  <a:pt x="72" y="289"/>
                </a:cubicBezTo>
                <a:cubicBezTo>
                  <a:pt x="70" y="286"/>
                  <a:pt x="68" y="284"/>
                  <a:pt x="67" y="284"/>
                </a:cubicBezTo>
                <a:cubicBezTo>
                  <a:pt x="65" y="282"/>
                  <a:pt x="62" y="282"/>
                  <a:pt x="57" y="281"/>
                </a:cubicBezTo>
                <a:cubicBezTo>
                  <a:pt x="53" y="280"/>
                  <a:pt x="50" y="279"/>
                  <a:pt x="49" y="278"/>
                </a:cubicBezTo>
                <a:cubicBezTo>
                  <a:pt x="50" y="275"/>
                  <a:pt x="53" y="273"/>
                  <a:pt x="58" y="271"/>
                </a:cubicBezTo>
                <a:cubicBezTo>
                  <a:pt x="64" y="269"/>
                  <a:pt x="68" y="268"/>
                  <a:pt x="69" y="267"/>
                </a:cubicBezTo>
                <a:cubicBezTo>
                  <a:pt x="78" y="260"/>
                  <a:pt x="84" y="256"/>
                  <a:pt x="87" y="257"/>
                </a:cubicBezTo>
                <a:cubicBezTo>
                  <a:pt x="90" y="257"/>
                  <a:pt x="93" y="258"/>
                  <a:pt x="97" y="261"/>
                </a:cubicBezTo>
                <a:cubicBezTo>
                  <a:pt x="101" y="264"/>
                  <a:pt x="103" y="265"/>
                  <a:pt x="103" y="265"/>
                </a:cubicBezTo>
                <a:cubicBezTo>
                  <a:pt x="104" y="266"/>
                  <a:pt x="105" y="266"/>
                  <a:pt x="106" y="266"/>
                </a:cubicBezTo>
                <a:cubicBezTo>
                  <a:pt x="108" y="268"/>
                  <a:pt x="111" y="271"/>
                  <a:pt x="115" y="276"/>
                </a:cubicBezTo>
                <a:cubicBezTo>
                  <a:pt x="120" y="283"/>
                  <a:pt x="122" y="287"/>
                  <a:pt x="123" y="287"/>
                </a:cubicBezTo>
                <a:cubicBezTo>
                  <a:pt x="120" y="290"/>
                  <a:pt x="117" y="291"/>
                  <a:pt x="114" y="291"/>
                </a:cubicBezTo>
                <a:cubicBezTo>
                  <a:pt x="113" y="291"/>
                  <a:pt x="111" y="290"/>
                  <a:pt x="109" y="289"/>
                </a:cubicBezTo>
                <a:lnTo>
                  <a:pt x="109" y="289"/>
                </a:lnTo>
                <a:cubicBezTo>
                  <a:pt x="107" y="288"/>
                  <a:pt x="104" y="287"/>
                  <a:pt x="101" y="285"/>
                </a:cubicBezTo>
                <a:cubicBezTo>
                  <a:pt x="95" y="282"/>
                  <a:pt x="92" y="280"/>
                  <a:pt x="92" y="280"/>
                </a:cubicBezTo>
                <a:cubicBezTo>
                  <a:pt x="94" y="278"/>
                  <a:pt x="96" y="277"/>
                  <a:pt x="96" y="276"/>
                </a:cubicBezTo>
                <a:cubicBezTo>
                  <a:pt x="96" y="273"/>
                  <a:pt x="95" y="271"/>
                  <a:pt x="92" y="268"/>
                </a:cubicBezTo>
                <a:cubicBezTo>
                  <a:pt x="91" y="267"/>
                  <a:pt x="88" y="265"/>
                  <a:pt x="86" y="265"/>
                </a:cubicBezTo>
                <a:cubicBezTo>
                  <a:pt x="82" y="265"/>
                  <a:pt x="79" y="265"/>
                  <a:pt x="77" y="266"/>
                </a:cubicBezTo>
                <a:cubicBezTo>
                  <a:pt x="76" y="267"/>
                  <a:pt x="73" y="268"/>
                  <a:pt x="70" y="270"/>
                </a:cubicBezTo>
                <a:lnTo>
                  <a:pt x="70" y="271"/>
                </a:lnTo>
                <a:cubicBezTo>
                  <a:pt x="74" y="271"/>
                  <a:pt x="78" y="273"/>
                  <a:pt x="81" y="277"/>
                </a:cubicBezTo>
                <a:cubicBezTo>
                  <a:pt x="83" y="279"/>
                  <a:pt x="86" y="281"/>
                  <a:pt x="89" y="284"/>
                </a:cubicBezTo>
                <a:cubicBezTo>
                  <a:pt x="89" y="284"/>
                  <a:pt x="89" y="284"/>
                  <a:pt x="89" y="284"/>
                </a:cubicBezTo>
                <a:cubicBezTo>
                  <a:pt x="90" y="285"/>
                  <a:pt x="90" y="285"/>
                  <a:pt x="90" y="285"/>
                </a:cubicBezTo>
                <a:cubicBezTo>
                  <a:pt x="91" y="286"/>
                  <a:pt x="92" y="287"/>
                  <a:pt x="94" y="287"/>
                </a:cubicBezTo>
                <a:cubicBezTo>
                  <a:pt x="95" y="289"/>
                  <a:pt x="96" y="290"/>
                  <a:pt x="97" y="291"/>
                </a:cubicBezTo>
                <a:cubicBezTo>
                  <a:pt x="97" y="291"/>
                  <a:pt x="97" y="291"/>
                  <a:pt x="97" y="291"/>
                </a:cubicBezTo>
                <a:cubicBezTo>
                  <a:pt x="97" y="291"/>
                  <a:pt x="97" y="290"/>
                  <a:pt x="97" y="290"/>
                </a:cubicBezTo>
                <a:cubicBezTo>
                  <a:pt x="97" y="289"/>
                  <a:pt x="97" y="289"/>
                  <a:pt x="98" y="289"/>
                </a:cubicBezTo>
                <a:cubicBezTo>
                  <a:pt x="98" y="289"/>
                  <a:pt x="99" y="289"/>
                  <a:pt x="100" y="289"/>
                </a:cubicBezTo>
                <a:cubicBezTo>
                  <a:pt x="104" y="290"/>
                  <a:pt x="106" y="290"/>
                  <a:pt x="108" y="291"/>
                </a:cubicBezTo>
                <a:cubicBezTo>
                  <a:pt x="111" y="293"/>
                  <a:pt x="113" y="295"/>
                  <a:pt x="112" y="297"/>
                </a:cubicBezTo>
                <a:cubicBezTo>
                  <a:pt x="112" y="298"/>
                  <a:pt x="112" y="298"/>
                  <a:pt x="112" y="299"/>
                </a:cubicBezTo>
                <a:cubicBezTo>
                  <a:pt x="112" y="299"/>
                  <a:pt x="111" y="299"/>
                  <a:pt x="111" y="299"/>
                </a:cubicBezTo>
                <a:cubicBezTo>
                  <a:pt x="111" y="299"/>
                  <a:pt x="112" y="299"/>
                  <a:pt x="112" y="299"/>
                </a:cubicBezTo>
                <a:lnTo>
                  <a:pt x="113" y="299"/>
                </a:lnTo>
                <a:cubicBezTo>
                  <a:pt x="116" y="299"/>
                  <a:pt x="119" y="297"/>
                  <a:pt x="123" y="295"/>
                </a:cubicBezTo>
                <a:cubicBezTo>
                  <a:pt x="127" y="292"/>
                  <a:pt x="131" y="291"/>
                  <a:pt x="135" y="291"/>
                </a:cubicBezTo>
                <a:lnTo>
                  <a:pt x="135" y="291"/>
                </a:lnTo>
                <a:cubicBezTo>
                  <a:pt x="137" y="292"/>
                  <a:pt x="138" y="292"/>
                  <a:pt x="140" y="293"/>
                </a:cubicBezTo>
                <a:cubicBezTo>
                  <a:pt x="142" y="294"/>
                  <a:pt x="147" y="294"/>
                  <a:pt x="154" y="293"/>
                </a:cubicBezTo>
                <a:cubicBezTo>
                  <a:pt x="159" y="292"/>
                  <a:pt x="164" y="292"/>
                  <a:pt x="168" y="293"/>
                </a:cubicBezTo>
                <a:cubicBezTo>
                  <a:pt x="169" y="292"/>
                  <a:pt x="169" y="293"/>
                  <a:pt x="170" y="293"/>
                </a:cubicBezTo>
                <a:cubicBezTo>
                  <a:pt x="169" y="293"/>
                  <a:pt x="169" y="292"/>
                  <a:pt x="169" y="292"/>
                </a:cubicBezTo>
                <a:cubicBezTo>
                  <a:pt x="169" y="292"/>
                  <a:pt x="168" y="292"/>
                  <a:pt x="168" y="291"/>
                </a:cubicBezTo>
                <a:cubicBezTo>
                  <a:pt x="167" y="290"/>
                  <a:pt x="167" y="289"/>
                  <a:pt x="167" y="287"/>
                </a:cubicBezTo>
                <a:cubicBezTo>
                  <a:pt x="171" y="287"/>
                  <a:pt x="175" y="285"/>
                  <a:pt x="178" y="281"/>
                </a:cubicBezTo>
                <a:lnTo>
                  <a:pt x="178" y="280"/>
                </a:lnTo>
                <a:lnTo>
                  <a:pt x="178" y="280"/>
                </a:lnTo>
                <a:lnTo>
                  <a:pt x="178" y="280"/>
                </a:lnTo>
                <a:cubicBezTo>
                  <a:pt x="176" y="280"/>
                  <a:pt x="172" y="282"/>
                  <a:pt x="166" y="284"/>
                </a:cubicBezTo>
                <a:cubicBezTo>
                  <a:pt x="164" y="285"/>
                  <a:pt x="162" y="286"/>
                  <a:pt x="159" y="286"/>
                </a:cubicBezTo>
                <a:cubicBezTo>
                  <a:pt x="155" y="288"/>
                  <a:pt x="148" y="289"/>
                  <a:pt x="141" y="288"/>
                </a:cubicBezTo>
                <a:cubicBezTo>
                  <a:pt x="139" y="288"/>
                  <a:pt x="138" y="287"/>
                  <a:pt x="137" y="287"/>
                </a:cubicBezTo>
                <a:cubicBezTo>
                  <a:pt x="133" y="286"/>
                  <a:pt x="129" y="284"/>
                  <a:pt x="126" y="281"/>
                </a:cubicBezTo>
                <a:cubicBezTo>
                  <a:pt x="122" y="277"/>
                  <a:pt x="118" y="273"/>
                  <a:pt x="116" y="272"/>
                </a:cubicBezTo>
                <a:cubicBezTo>
                  <a:pt x="112" y="269"/>
                  <a:pt x="109" y="267"/>
                  <a:pt x="106" y="265"/>
                </a:cubicBezTo>
                <a:cubicBezTo>
                  <a:pt x="105" y="264"/>
                  <a:pt x="103" y="263"/>
                  <a:pt x="102" y="262"/>
                </a:cubicBezTo>
                <a:cubicBezTo>
                  <a:pt x="95" y="257"/>
                  <a:pt x="92" y="254"/>
                  <a:pt x="93" y="252"/>
                </a:cubicBezTo>
                <a:cubicBezTo>
                  <a:pt x="94" y="250"/>
                  <a:pt x="96" y="248"/>
                  <a:pt x="96" y="246"/>
                </a:cubicBezTo>
                <a:cubicBezTo>
                  <a:pt x="95" y="243"/>
                  <a:pt x="94" y="240"/>
                  <a:pt x="94" y="239"/>
                </a:cubicBezTo>
                <a:cubicBezTo>
                  <a:pt x="95" y="237"/>
                  <a:pt x="95" y="236"/>
                  <a:pt x="95" y="235"/>
                </a:cubicBezTo>
                <a:lnTo>
                  <a:pt x="95" y="235"/>
                </a:lnTo>
                <a:cubicBezTo>
                  <a:pt x="97" y="235"/>
                  <a:pt x="99" y="235"/>
                  <a:pt x="102" y="235"/>
                </a:cubicBezTo>
                <a:cubicBezTo>
                  <a:pt x="104" y="235"/>
                  <a:pt x="106" y="236"/>
                  <a:pt x="107" y="236"/>
                </a:cubicBezTo>
                <a:cubicBezTo>
                  <a:pt x="108" y="237"/>
                  <a:pt x="109" y="237"/>
                  <a:pt x="110" y="238"/>
                </a:cubicBezTo>
                <a:cubicBezTo>
                  <a:pt x="110" y="238"/>
                  <a:pt x="110" y="238"/>
                  <a:pt x="110" y="238"/>
                </a:cubicBezTo>
                <a:lnTo>
                  <a:pt x="110" y="238"/>
                </a:lnTo>
                <a:cubicBezTo>
                  <a:pt x="108" y="237"/>
                  <a:pt x="108" y="235"/>
                  <a:pt x="108" y="235"/>
                </a:cubicBezTo>
                <a:cubicBezTo>
                  <a:pt x="122" y="221"/>
                  <a:pt x="132" y="212"/>
                  <a:pt x="136" y="207"/>
                </a:cubicBezTo>
                <a:cubicBezTo>
                  <a:pt x="141" y="201"/>
                  <a:pt x="146" y="196"/>
                  <a:pt x="148" y="193"/>
                </a:cubicBezTo>
                <a:cubicBezTo>
                  <a:pt x="152" y="188"/>
                  <a:pt x="155" y="183"/>
                  <a:pt x="157" y="178"/>
                </a:cubicBezTo>
                <a:lnTo>
                  <a:pt x="157" y="178"/>
                </a:lnTo>
                <a:cubicBezTo>
                  <a:pt x="158" y="177"/>
                  <a:pt x="158" y="177"/>
                  <a:pt x="158" y="176"/>
                </a:cubicBezTo>
                <a:cubicBezTo>
                  <a:pt x="160" y="173"/>
                  <a:pt x="163" y="170"/>
                  <a:pt x="167" y="166"/>
                </a:cubicBezTo>
                <a:cubicBezTo>
                  <a:pt x="171" y="157"/>
                  <a:pt x="173" y="152"/>
                  <a:pt x="174" y="150"/>
                </a:cubicBezTo>
                <a:cubicBezTo>
                  <a:pt x="174" y="144"/>
                  <a:pt x="179" y="131"/>
                  <a:pt x="188" y="109"/>
                </a:cubicBezTo>
                <a:cubicBezTo>
                  <a:pt x="198" y="86"/>
                  <a:pt x="204" y="75"/>
                  <a:pt x="208" y="75"/>
                </a:cubicBezTo>
                <a:cubicBezTo>
                  <a:pt x="211" y="75"/>
                  <a:pt x="213" y="79"/>
                  <a:pt x="215" y="87"/>
                </a:cubicBezTo>
                <a:cubicBezTo>
                  <a:pt x="222" y="86"/>
                  <a:pt x="231" y="84"/>
                  <a:pt x="240" y="81"/>
                </a:cubicBezTo>
                <a:lnTo>
                  <a:pt x="241" y="81"/>
                </a:lnTo>
                <a:lnTo>
                  <a:pt x="241" y="81"/>
                </a:lnTo>
                <a:cubicBezTo>
                  <a:pt x="240" y="82"/>
                  <a:pt x="238" y="84"/>
                  <a:pt x="233" y="89"/>
                </a:cubicBezTo>
                <a:cubicBezTo>
                  <a:pt x="233" y="91"/>
                  <a:pt x="234" y="93"/>
                  <a:pt x="235" y="94"/>
                </a:cubicBezTo>
                <a:cubicBezTo>
                  <a:pt x="237" y="96"/>
                  <a:pt x="238" y="97"/>
                  <a:pt x="239" y="98"/>
                </a:cubicBezTo>
                <a:cubicBezTo>
                  <a:pt x="239" y="98"/>
                  <a:pt x="239" y="103"/>
                  <a:pt x="239" y="111"/>
                </a:cubicBezTo>
                <a:cubicBezTo>
                  <a:pt x="239" y="116"/>
                  <a:pt x="241" y="119"/>
                  <a:pt x="246" y="121"/>
                </a:cubicBezTo>
                <a:cubicBezTo>
                  <a:pt x="251" y="122"/>
                  <a:pt x="253" y="124"/>
                  <a:pt x="253" y="127"/>
                </a:cubicBezTo>
                <a:cubicBezTo>
                  <a:pt x="252" y="129"/>
                  <a:pt x="250" y="132"/>
                  <a:pt x="246" y="135"/>
                </a:cubicBezTo>
                <a:cubicBezTo>
                  <a:pt x="242" y="139"/>
                  <a:pt x="239" y="140"/>
                  <a:pt x="236" y="140"/>
                </a:cubicBezTo>
                <a:cubicBezTo>
                  <a:pt x="232" y="139"/>
                  <a:pt x="229" y="138"/>
                  <a:pt x="227" y="138"/>
                </a:cubicBezTo>
                <a:lnTo>
                  <a:pt x="227" y="144"/>
                </a:lnTo>
                <a:cubicBezTo>
                  <a:pt x="227" y="151"/>
                  <a:pt x="226" y="159"/>
                  <a:pt x="225" y="167"/>
                </a:cubicBezTo>
                <a:cubicBezTo>
                  <a:pt x="223" y="176"/>
                  <a:pt x="220" y="182"/>
                  <a:pt x="216" y="184"/>
                </a:cubicBezTo>
                <a:cubicBezTo>
                  <a:pt x="216" y="184"/>
                  <a:pt x="218" y="186"/>
                  <a:pt x="221" y="188"/>
                </a:cubicBezTo>
                <a:cubicBezTo>
                  <a:pt x="221" y="188"/>
                  <a:pt x="222" y="189"/>
                  <a:pt x="222" y="189"/>
                </a:cubicBezTo>
                <a:cubicBezTo>
                  <a:pt x="223" y="190"/>
                  <a:pt x="223" y="190"/>
                  <a:pt x="224" y="191"/>
                </a:cubicBezTo>
                <a:cubicBezTo>
                  <a:pt x="225" y="191"/>
                  <a:pt x="225" y="191"/>
                  <a:pt x="226" y="191"/>
                </a:cubicBezTo>
                <a:cubicBezTo>
                  <a:pt x="228" y="193"/>
                  <a:pt x="234" y="196"/>
                  <a:pt x="243" y="201"/>
                </a:cubicBezTo>
                <a:cubicBezTo>
                  <a:pt x="244" y="202"/>
                  <a:pt x="246" y="202"/>
                  <a:pt x="247" y="203"/>
                </a:cubicBezTo>
                <a:lnTo>
                  <a:pt x="247" y="203"/>
                </a:lnTo>
                <a:cubicBezTo>
                  <a:pt x="249" y="204"/>
                  <a:pt x="251" y="205"/>
                  <a:pt x="252" y="206"/>
                </a:cubicBezTo>
                <a:lnTo>
                  <a:pt x="252" y="206"/>
                </a:lnTo>
                <a:cubicBezTo>
                  <a:pt x="254" y="207"/>
                  <a:pt x="255" y="207"/>
                  <a:pt x="255" y="208"/>
                </a:cubicBezTo>
                <a:lnTo>
                  <a:pt x="256" y="208"/>
                </a:lnTo>
                <a:cubicBezTo>
                  <a:pt x="256" y="208"/>
                  <a:pt x="257" y="208"/>
                  <a:pt x="257" y="209"/>
                </a:cubicBezTo>
                <a:cubicBezTo>
                  <a:pt x="264" y="209"/>
                  <a:pt x="269" y="208"/>
                  <a:pt x="274" y="205"/>
                </a:cubicBezTo>
                <a:cubicBezTo>
                  <a:pt x="278" y="201"/>
                  <a:pt x="282" y="197"/>
                  <a:pt x="285" y="195"/>
                </a:cubicBezTo>
                <a:cubicBezTo>
                  <a:pt x="302" y="189"/>
                  <a:pt x="311" y="182"/>
                  <a:pt x="312" y="176"/>
                </a:cubicBezTo>
                <a:cubicBezTo>
                  <a:pt x="312" y="176"/>
                  <a:pt x="312" y="175"/>
                  <a:pt x="312" y="173"/>
                </a:cubicBezTo>
                <a:lnTo>
                  <a:pt x="312" y="173"/>
                </a:lnTo>
                <a:cubicBezTo>
                  <a:pt x="312" y="171"/>
                  <a:pt x="312" y="169"/>
                  <a:pt x="311" y="167"/>
                </a:cubicBezTo>
                <a:cubicBezTo>
                  <a:pt x="311" y="165"/>
                  <a:pt x="311" y="164"/>
                  <a:pt x="311" y="162"/>
                </a:cubicBezTo>
                <a:cubicBezTo>
                  <a:pt x="311" y="161"/>
                  <a:pt x="310" y="160"/>
                  <a:pt x="310" y="159"/>
                </a:cubicBezTo>
                <a:lnTo>
                  <a:pt x="310" y="158"/>
                </a:lnTo>
                <a:cubicBezTo>
                  <a:pt x="304" y="156"/>
                  <a:pt x="299" y="154"/>
                  <a:pt x="296" y="152"/>
                </a:cubicBezTo>
                <a:cubicBezTo>
                  <a:pt x="294" y="151"/>
                  <a:pt x="293" y="151"/>
                  <a:pt x="292" y="150"/>
                </a:cubicBezTo>
                <a:cubicBezTo>
                  <a:pt x="288" y="147"/>
                  <a:pt x="286" y="142"/>
                  <a:pt x="287" y="135"/>
                </a:cubicBezTo>
                <a:cubicBezTo>
                  <a:pt x="288" y="130"/>
                  <a:pt x="289" y="125"/>
                  <a:pt x="289" y="122"/>
                </a:cubicBezTo>
                <a:cubicBezTo>
                  <a:pt x="289" y="119"/>
                  <a:pt x="290" y="117"/>
                  <a:pt x="292" y="115"/>
                </a:cubicBezTo>
                <a:cubicBezTo>
                  <a:pt x="294" y="113"/>
                  <a:pt x="295" y="112"/>
                  <a:pt x="296" y="111"/>
                </a:cubicBezTo>
                <a:lnTo>
                  <a:pt x="295" y="110"/>
                </a:lnTo>
                <a:lnTo>
                  <a:pt x="289" y="109"/>
                </a:lnTo>
                <a:cubicBezTo>
                  <a:pt x="287" y="111"/>
                  <a:pt x="285" y="112"/>
                  <a:pt x="285" y="112"/>
                </a:cubicBezTo>
                <a:cubicBezTo>
                  <a:pt x="272" y="110"/>
                  <a:pt x="266" y="106"/>
                  <a:pt x="267" y="97"/>
                </a:cubicBezTo>
                <a:cubicBezTo>
                  <a:pt x="267" y="95"/>
                  <a:pt x="268" y="92"/>
                  <a:pt x="269" y="89"/>
                </a:cubicBezTo>
                <a:cubicBezTo>
                  <a:pt x="271" y="86"/>
                  <a:pt x="273" y="84"/>
                  <a:pt x="275" y="82"/>
                </a:cubicBezTo>
                <a:lnTo>
                  <a:pt x="276" y="75"/>
                </a:lnTo>
                <a:cubicBezTo>
                  <a:pt x="267" y="73"/>
                  <a:pt x="261" y="72"/>
                  <a:pt x="257" y="71"/>
                </a:cubicBezTo>
                <a:lnTo>
                  <a:pt x="258" y="69"/>
                </a:lnTo>
                <a:cubicBezTo>
                  <a:pt x="265" y="65"/>
                  <a:pt x="269" y="62"/>
                  <a:pt x="269" y="61"/>
                </a:cubicBezTo>
                <a:cubicBezTo>
                  <a:pt x="274" y="57"/>
                  <a:pt x="277" y="53"/>
                  <a:pt x="279" y="48"/>
                </a:cubicBezTo>
                <a:cubicBezTo>
                  <a:pt x="280" y="43"/>
                  <a:pt x="283" y="40"/>
                  <a:pt x="286" y="38"/>
                </a:cubicBezTo>
                <a:cubicBezTo>
                  <a:pt x="290" y="36"/>
                  <a:pt x="296" y="33"/>
                  <a:pt x="304" y="29"/>
                </a:cubicBezTo>
                <a:cubicBezTo>
                  <a:pt x="311" y="24"/>
                  <a:pt x="319" y="21"/>
                  <a:pt x="327" y="19"/>
                </a:cubicBezTo>
                <a:cubicBezTo>
                  <a:pt x="328" y="19"/>
                  <a:pt x="328" y="19"/>
                  <a:pt x="329" y="19"/>
                </a:cubicBezTo>
                <a:cubicBezTo>
                  <a:pt x="338" y="18"/>
                  <a:pt x="349" y="18"/>
                  <a:pt x="362" y="19"/>
                </a:cubicBezTo>
                <a:lnTo>
                  <a:pt x="362" y="1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 248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52 w 1283"/>
              <a:gd name="T5" fmla="*/ 634 h 1293"/>
              <a:gd name="T6" fmla="*/ 154 w 1283"/>
              <a:gd name="T7" fmla="*/ 773 h 1293"/>
              <a:gd name="T8" fmla="*/ 600 w 1283"/>
              <a:gd name="T9" fmla="*/ 496 h 1293"/>
              <a:gd name="T10" fmla="*/ 716 w 1283"/>
              <a:gd name="T11" fmla="*/ 705 h 1293"/>
              <a:gd name="T12" fmla="*/ 529 w 1283"/>
              <a:gd name="T13" fmla="*/ 537 h 1293"/>
              <a:gd name="T14" fmla="*/ 664 w 1283"/>
              <a:gd name="T15" fmla="*/ 676 h 1293"/>
              <a:gd name="T16" fmla="*/ 583 w 1283"/>
              <a:gd name="T17" fmla="*/ 519 h 1293"/>
              <a:gd name="T18" fmla="*/ 780 w 1283"/>
              <a:gd name="T19" fmla="*/ 356 h 1293"/>
              <a:gd name="T20" fmla="*/ 748 w 1283"/>
              <a:gd name="T21" fmla="*/ 415 h 1293"/>
              <a:gd name="T22" fmla="*/ 882 w 1283"/>
              <a:gd name="T23" fmla="*/ 473 h 1293"/>
              <a:gd name="T24" fmla="*/ 934 w 1283"/>
              <a:gd name="T25" fmla="*/ 424 h 1293"/>
              <a:gd name="T26" fmla="*/ 892 w 1283"/>
              <a:gd name="T27" fmla="*/ 589 h 1293"/>
              <a:gd name="T28" fmla="*/ 977 w 1283"/>
              <a:gd name="T29" fmla="*/ 726 h 1293"/>
              <a:gd name="T30" fmla="*/ 798 w 1283"/>
              <a:gd name="T31" fmla="*/ 770 h 1293"/>
              <a:gd name="T32" fmla="*/ 851 w 1283"/>
              <a:gd name="T33" fmla="*/ 858 h 1293"/>
              <a:gd name="T34" fmla="*/ 744 w 1283"/>
              <a:gd name="T35" fmla="*/ 724 h 1293"/>
              <a:gd name="T36" fmla="*/ 705 w 1283"/>
              <a:gd name="T37" fmla="*/ 817 h 1293"/>
              <a:gd name="T38" fmla="*/ 720 w 1283"/>
              <a:gd name="T39" fmla="*/ 862 h 1293"/>
              <a:gd name="T40" fmla="*/ 724 w 1283"/>
              <a:gd name="T41" fmla="*/ 935 h 1293"/>
              <a:gd name="T42" fmla="*/ 789 w 1283"/>
              <a:gd name="T43" fmla="*/ 944 h 1293"/>
              <a:gd name="T44" fmla="*/ 936 w 1283"/>
              <a:gd name="T45" fmla="*/ 896 h 1293"/>
              <a:gd name="T46" fmla="*/ 811 w 1283"/>
              <a:gd name="T47" fmla="*/ 886 h 1293"/>
              <a:gd name="T48" fmla="*/ 870 w 1283"/>
              <a:gd name="T49" fmla="*/ 969 h 1293"/>
              <a:gd name="T50" fmla="*/ 557 w 1283"/>
              <a:gd name="T51" fmla="*/ 740 h 1293"/>
              <a:gd name="T52" fmla="*/ 321 w 1283"/>
              <a:gd name="T53" fmla="*/ 961 h 1293"/>
              <a:gd name="T54" fmla="*/ 514 w 1283"/>
              <a:gd name="T55" fmla="*/ 1024 h 1293"/>
              <a:gd name="T56" fmla="*/ 709 w 1283"/>
              <a:gd name="T57" fmla="*/ 1293 h 1293"/>
              <a:gd name="T58" fmla="*/ 1056 w 1283"/>
              <a:gd name="T59" fmla="*/ 797 h 1293"/>
              <a:gd name="T60" fmla="*/ 1107 w 1283"/>
              <a:gd name="T61" fmla="*/ 874 h 1293"/>
              <a:gd name="T62" fmla="*/ 1151 w 1283"/>
              <a:gd name="T63" fmla="*/ 1092 h 1293"/>
              <a:gd name="T64" fmla="*/ 1223 w 1283"/>
              <a:gd name="T65" fmla="*/ 952 h 1293"/>
              <a:gd name="T66" fmla="*/ 166 w 1283"/>
              <a:gd name="T67" fmla="*/ 706 h 1293"/>
              <a:gd name="T68" fmla="*/ 332 w 1283"/>
              <a:gd name="T69" fmla="*/ 965 h 1293"/>
              <a:gd name="T70" fmla="*/ 570 w 1283"/>
              <a:gd name="T71" fmla="*/ 629 h 1293"/>
              <a:gd name="T72" fmla="*/ 462 w 1283"/>
              <a:gd name="T73" fmla="*/ 560 h 1293"/>
              <a:gd name="T74" fmla="*/ 525 w 1283"/>
              <a:gd name="T75" fmla="*/ 506 h 1293"/>
              <a:gd name="T76" fmla="*/ 412 w 1283"/>
              <a:gd name="T77" fmla="*/ 269 h 1293"/>
              <a:gd name="T78" fmla="*/ 596 w 1283"/>
              <a:gd name="T79" fmla="*/ 329 h 1293"/>
              <a:gd name="T80" fmla="*/ 576 w 1283"/>
              <a:gd name="T81" fmla="*/ 249 h 1293"/>
              <a:gd name="T82" fmla="*/ 771 w 1283"/>
              <a:gd name="T83" fmla="*/ 157 h 1293"/>
              <a:gd name="T84" fmla="*/ 926 w 1283"/>
              <a:gd name="T85" fmla="*/ 66 h 1293"/>
              <a:gd name="T86" fmla="*/ 787 w 1283"/>
              <a:gd name="T87" fmla="*/ 93 h 1293"/>
              <a:gd name="T88" fmla="*/ 553 w 1283"/>
              <a:gd name="T89" fmla="*/ 89 h 1293"/>
              <a:gd name="T90" fmla="*/ 320 w 1283"/>
              <a:gd name="T91" fmla="*/ 163 h 1293"/>
              <a:gd name="T92" fmla="*/ 150 w 1283"/>
              <a:gd name="T93" fmla="*/ 318 h 1293"/>
              <a:gd name="T94" fmla="*/ 125 w 1283"/>
              <a:gd name="T95" fmla="*/ 526 h 1293"/>
              <a:gd name="T96" fmla="*/ 208 w 1283"/>
              <a:gd name="T97" fmla="*/ 582 h 1293"/>
              <a:gd name="T98" fmla="*/ 205 w 1283"/>
              <a:gd name="T99" fmla="*/ 641 h 1293"/>
              <a:gd name="T100" fmla="*/ 323 w 1283"/>
              <a:gd name="T101" fmla="*/ 664 h 1293"/>
              <a:gd name="T102" fmla="*/ 515 w 1283"/>
              <a:gd name="T103" fmla="*/ 692 h 1293"/>
              <a:gd name="T104" fmla="*/ 269 w 1283"/>
              <a:gd name="T105" fmla="*/ 703 h 1293"/>
              <a:gd name="T106" fmla="*/ 317 w 1283"/>
              <a:gd name="T107" fmla="*/ 927 h 1293"/>
              <a:gd name="T108" fmla="*/ 423 w 1283"/>
              <a:gd name="T109" fmla="*/ 998 h 1293"/>
              <a:gd name="T110" fmla="*/ 519 w 1283"/>
              <a:gd name="T111" fmla="*/ 972 h 1293"/>
              <a:gd name="T112" fmla="*/ 523 w 1283"/>
              <a:gd name="T113" fmla="*/ 823 h 1293"/>
              <a:gd name="T114" fmla="*/ 519 w 1283"/>
              <a:gd name="T115" fmla="*/ 766 h 1293"/>
              <a:gd name="T116" fmla="*/ 654 w 1283"/>
              <a:gd name="T117" fmla="*/ 758 h 1293"/>
              <a:gd name="T118" fmla="*/ 877 w 1283"/>
              <a:gd name="T119" fmla="*/ 1179 h 1293"/>
              <a:gd name="T120" fmla="*/ 632 w 1283"/>
              <a:gd name="T121" fmla="*/ 1140 h 1293"/>
              <a:gd name="T122" fmla="*/ 742 w 1283"/>
              <a:gd name="T123" fmla="*/ 1221 h 1293"/>
              <a:gd name="T124" fmla="*/ 1017 w 1283"/>
              <a:gd name="T125" fmla="*/ 925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" name="Freeform 249"/>
          <p:cNvSpPr>
            <a:spLocks noEditPoints="1"/>
          </p:cNvSpPr>
          <p:nvPr/>
        </p:nvSpPr>
        <p:spPr bwMode="auto">
          <a:xfrm>
            <a:off x="9829844" y="5521949"/>
            <a:ext cx="1341593" cy="1352075"/>
          </a:xfrm>
          <a:custGeom>
            <a:avLst/>
            <a:gdLst>
              <a:gd name="T0" fmla="*/ 31 w 1283"/>
              <a:gd name="T1" fmla="*/ 448 h 1293"/>
              <a:gd name="T2" fmla="*/ 72 w 1283"/>
              <a:gd name="T3" fmla="*/ 528 h 1293"/>
              <a:gd name="T4" fmla="*/ 145 w 1283"/>
              <a:gd name="T5" fmla="*/ 630 h 1293"/>
              <a:gd name="T6" fmla="*/ 167 w 1283"/>
              <a:gd name="T7" fmla="*/ 759 h 1293"/>
              <a:gd name="T8" fmla="*/ 607 w 1283"/>
              <a:gd name="T9" fmla="*/ 478 h 1293"/>
              <a:gd name="T10" fmla="*/ 492 w 1283"/>
              <a:gd name="T11" fmla="*/ 516 h 1293"/>
              <a:gd name="T12" fmla="*/ 574 w 1283"/>
              <a:gd name="T13" fmla="*/ 579 h 1293"/>
              <a:gd name="T14" fmla="*/ 649 w 1283"/>
              <a:gd name="T15" fmla="*/ 659 h 1293"/>
              <a:gd name="T16" fmla="*/ 473 w 1283"/>
              <a:gd name="T17" fmla="*/ 562 h 1293"/>
              <a:gd name="T18" fmla="*/ 776 w 1283"/>
              <a:gd name="T19" fmla="*/ 362 h 1293"/>
              <a:gd name="T20" fmla="*/ 766 w 1283"/>
              <a:gd name="T21" fmla="*/ 362 h 1293"/>
              <a:gd name="T22" fmla="*/ 683 w 1283"/>
              <a:gd name="T23" fmla="*/ 530 h 1293"/>
              <a:gd name="T24" fmla="*/ 948 w 1283"/>
              <a:gd name="T25" fmla="*/ 439 h 1293"/>
              <a:gd name="T26" fmla="*/ 931 w 1283"/>
              <a:gd name="T27" fmla="*/ 585 h 1293"/>
              <a:gd name="T28" fmla="*/ 937 w 1283"/>
              <a:gd name="T29" fmla="*/ 766 h 1293"/>
              <a:gd name="T30" fmla="*/ 821 w 1283"/>
              <a:gd name="T31" fmla="*/ 765 h 1293"/>
              <a:gd name="T32" fmla="*/ 882 w 1283"/>
              <a:gd name="T33" fmla="*/ 871 h 1293"/>
              <a:gd name="T34" fmla="*/ 781 w 1283"/>
              <a:gd name="T35" fmla="*/ 751 h 1293"/>
              <a:gd name="T36" fmla="*/ 700 w 1283"/>
              <a:gd name="T37" fmla="*/ 767 h 1293"/>
              <a:gd name="T38" fmla="*/ 779 w 1283"/>
              <a:gd name="T39" fmla="*/ 812 h 1293"/>
              <a:gd name="T40" fmla="*/ 741 w 1283"/>
              <a:gd name="T41" fmla="*/ 915 h 1293"/>
              <a:gd name="T42" fmla="*/ 714 w 1283"/>
              <a:gd name="T43" fmla="*/ 952 h 1293"/>
              <a:gd name="T44" fmla="*/ 754 w 1283"/>
              <a:gd name="T45" fmla="*/ 924 h 1293"/>
              <a:gd name="T46" fmla="*/ 894 w 1283"/>
              <a:gd name="T47" fmla="*/ 891 h 1293"/>
              <a:gd name="T48" fmla="*/ 822 w 1283"/>
              <a:gd name="T49" fmla="*/ 934 h 1293"/>
              <a:gd name="T50" fmla="*/ 868 w 1283"/>
              <a:gd name="T51" fmla="*/ 981 h 1293"/>
              <a:gd name="T52" fmla="*/ 558 w 1283"/>
              <a:gd name="T53" fmla="*/ 721 h 1293"/>
              <a:gd name="T54" fmla="*/ 562 w 1283"/>
              <a:gd name="T55" fmla="*/ 847 h 1293"/>
              <a:gd name="T56" fmla="*/ 504 w 1283"/>
              <a:gd name="T57" fmla="*/ 1035 h 1293"/>
              <a:gd name="T58" fmla="*/ 711 w 1283"/>
              <a:gd name="T59" fmla="*/ 1288 h 1293"/>
              <a:gd name="T60" fmla="*/ 1070 w 1283"/>
              <a:gd name="T61" fmla="*/ 809 h 1293"/>
              <a:gd name="T62" fmla="*/ 1107 w 1283"/>
              <a:gd name="T63" fmla="*/ 874 h 1293"/>
              <a:gd name="T64" fmla="*/ 994 w 1283"/>
              <a:gd name="T65" fmla="*/ 933 h 1293"/>
              <a:gd name="T66" fmla="*/ 1238 w 1283"/>
              <a:gd name="T67" fmla="*/ 934 h 1293"/>
              <a:gd name="T68" fmla="*/ 163 w 1283"/>
              <a:gd name="T69" fmla="*/ 730 h 1293"/>
              <a:gd name="T70" fmla="*/ 153 w 1283"/>
              <a:gd name="T71" fmla="*/ 724 h 1293"/>
              <a:gd name="T72" fmla="*/ 580 w 1283"/>
              <a:gd name="T73" fmla="*/ 642 h 1293"/>
              <a:gd name="T74" fmla="*/ 432 w 1283"/>
              <a:gd name="T75" fmla="*/ 563 h 1293"/>
              <a:gd name="T76" fmla="*/ 524 w 1283"/>
              <a:gd name="T77" fmla="*/ 508 h 1293"/>
              <a:gd name="T78" fmla="*/ 412 w 1283"/>
              <a:gd name="T79" fmla="*/ 269 h 1293"/>
              <a:gd name="T80" fmla="*/ 598 w 1283"/>
              <a:gd name="T81" fmla="*/ 325 h 1293"/>
              <a:gd name="T82" fmla="*/ 562 w 1283"/>
              <a:gd name="T83" fmla="*/ 240 h 1293"/>
              <a:gd name="T84" fmla="*/ 829 w 1283"/>
              <a:gd name="T85" fmla="*/ 168 h 1293"/>
              <a:gd name="T86" fmla="*/ 924 w 1283"/>
              <a:gd name="T87" fmla="*/ 22 h 1293"/>
              <a:gd name="T88" fmla="*/ 709 w 1283"/>
              <a:gd name="T89" fmla="*/ 84 h 1293"/>
              <a:gd name="T90" fmla="*/ 494 w 1283"/>
              <a:gd name="T91" fmla="*/ 109 h 1293"/>
              <a:gd name="T92" fmla="*/ 265 w 1283"/>
              <a:gd name="T93" fmla="*/ 211 h 1293"/>
              <a:gd name="T94" fmla="*/ 106 w 1283"/>
              <a:gd name="T95" fmla="*/ 376 h 1293"/>
              <a:gd name="T96" fmla="*/ 171 w 1283"/>
              <a:gd name="T97" fmla="*/ 544 h 1293"/>
              <a:gd name="T98" fmla="*/ 165 w 1283"/>
              <a:gd name="T99" fmla="*/ 573 h 1293"/>
              <a:gd name="T100" fmla="*/ 250 w 1283"/>
              <a:gd name="T101" fmla="*/ 669 h 1293"/>
              <a:gd name="T102" fmla="*/ 425 w 1283"/>
              <a:gd name="T103" fmla="*/ 679 h 1293"/>
              <a:gd name="T104" fmla="*/ 385 w 1283"/>
              <a:gd name="T105" fmla="*/ 698 h 1293"/>
              <a:gd name="T106" fmla="*/ 278 w 1283"/>
              <a:gd name="T107" fmla="*/ 812 h 1293"/>
              <a:gd name="T108" fmla="*/ 386 w 1283"/>
              <a:gd name="T109" fmla="*/ 923 h 1293"/>
              <a:gd name="T110" fmla="*/ 495 w 1283"/>
              <a:gd name="T111" fmla="*/ 970 h 1293"/>
              <a:gd name="T112" fmla="*/ 470 w 1283"/>
              <a:gd name="T113" fmla="*/ 836 h 1293"/>
              <a:gd name="T114" fmla="*/ 553 w 1283"/>
              <a:gd name="T115" fmla="*/ 795 h 1293"/>
              <a:gd name="T116" fmla="*/ 612 w 1283"/>
              <a:gd name="T117" fmla="*/ 750 h 1293"/>
              <a:gd name="T118" fmla="*/ 946 w 1283"/>
              <a:gd name="T119" fmla="*/ 1177 h 1293"/>
              <a:gd name="T120" fmla="*/ 690 w 1283"/>
              <a:gd name="T121" fmla="*/ 1157 h 1293"/>
              <a:gd name="T122" fmla="*/ 703 w 1283"/>
              <a:gd name="T123" fmla="*/ 1222 h 1293"/>
              <a:gd name="T124" fmla="*/ 1033 w 1283"/>
              <a:gd name="T125" fmla="*/ 1183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83" h="1293">
                <a:moveTo>
                  <a:pt x="509" y="324"/>
                </a:moveTo>
                <a:lnTo>
                  <a:pt x="509" y="324"/>
                </a:lnTo>
                <a:lnTo>
                  <a:pt x="508" y="324"/>
                </a:lnTo>
                <a:cubicBezTo>
                  <a:pt x="508" y="323"/>
                  <a:pt x="507" y="323"/>
                  <a:pt x="507" y="323"/>
                </a:cubicBezTo>
                <a:lnTo>
                  <a:pt x="506" y="323"/>
                </a:lnTo>
                <a:cubicBezTo>
                  <a:pt x="508" y="324"/>
                  <a:pt x="509" y="328"/>
                  <a:pt x="509" y="333"/>
                </a:cubicBezTo>
                <a:cubicBezTo>
                  <a:pt x="509" y="339"/>
                  <a:pt x="510" y="342"/>
                  <a:pt x="512" y="345"/>
                </a:cubicBezTo>
                <a:cubicBezTo>
                  <a:pt x="519" y="355"/>
                  <a:pt x="524" y="360"/>
                  <a:pt x="526" y="360"/>
                </a:cubicBezTo>
                <a:cubicBezTo>
                  <a:pt x="527" y="360"/>
                  <a:pt x="529" y="360"/>
                  <a:pt x="531" y="360"/>
                </a:cubicBezTo>
                <a:cubicBezTo>
                  <a:pt x="531" y="360"/>
                  <a:pt x="533" y="361"/>
                  <a:pt x="539" y="363"/>
                </a:cubicBezTo>
                <a:cubicBezTo>
                  <a:pt x="544" y="364"/>
                  <a:pt x="549" y="365"/>
                  <a:pt x="554" y="366"/>
                </a:cubicBezTo>
                <a:cubicBezTo>
                  <a:pt x="555" y="366"/>
                  <a:pt x="557" y="366"/>
                  <a:pt x="560" y="365"/>
                </a:cubicBezTo>
                <a:lnTo>
                  <a:pt x="560" y="364"/>
                </a:lnTo>
                <a:cubicBezTo>
                  <a:pt x="561" y="359"/>
                  <a:pt x="556" y="356"/>
                  <a:pt x="547" y="353"/>
                </a:cubicBezTo>
                <a:cubicBezTo>
                  <a:pt x="542" y="352"/>
                  <a:pt x="539" y="352"/>
                  <a:pt x="537" y="351"/>
                </a:cubicBezTo>
                <a:cubicBezTo>
                  <a:pt x="534" y="351"/>
                  <a:pt x="532" y="349"/>
                  <a:pt x="529" y="347"/>
                </a:cubicBezTo>
                <a:cubicBezTo>
                  <a:pt x="525" y="340"/>
                  <a:pt x="521" y="335"/>
                  <a:pt x="518" y="332"/>
                </a:cubicBezTo>
                <a:cubicBezTo>
                  <a:pt x="515" y="328"/>
                  <a:pt x="512" y="325"/>
                  <a:pt x="509" y="324"/>
                </a:cubicBezTo>
                <a:lnTo>
                  <a:pt x="509" y="324"/>
                </a:lnTo>
                <a:close/>
                <a:moveTo>
                  <a:pt x="65" y="497"/>
                </a:moveTo>
                <a:lnTo>
                  <a:pt x="65" y="497"/>
                </a:lnTo>
                <a:cubicBezTo>
                  <a:pt x="65" y="489"/>
                  <a:pt x="62" y="485"/>
                  <a:pt x="55" y="484"/>
                </a:cubicBezTo>
                <a:cubicBezTo>
                  <a:pt x="52" y="484"/>
                  <a:pt x="50" y="483"/>
                  <a:pt x="48" y="481"/>
                </a:cubicBezTo>
                <a:cubicBezTo>
                  <a:pt x="45" y="478"/>
                  <a:pt x="43" y="476"/>
                  <a:pt x="42" y="475"/>
                </a:cubicBezTo>
                <a:cubicBezTo>
                  <a:pt x="41" y="473"/>
                  <a:pt x="39" y="468"/>
                  <a:pt x="36" y="458"/>
                </a:cubicBezTo>
                <a:cubicBezTo>
                  <a:pt x="36" y="455"/>
                  <a:pt x="34" y="451"/>
                  <a:pt x="31" y="448"/>
                </a:cubicBezTo>
                <a:cubicBezTo>
                  <a:pt x="28" y="445"/>
                  <a:pt x="27" y="443"/>
                  <a:pt x="27" y="443"/>
                </a:cubicBezTo>
                <a:cubicBezTo>
                  <a:pt x="27" y="443"/>
                  <a:pt x="29" y="441"/>
                  <a:pt x="33" y="439"/>
                </a:cubicBezTo>
                <a:cubicBezTo>
                  <a:pt x="38" y="437"/>
                  <a:pt x="40" y="435"/>
                  <a:pt x="40" y="433"/>
                </a:cubicBezTo>
                <a:cubicBezTo>
                  <a:pt x="40" y="430"/>
                  <a:pt x="39" y="426"/>
                  <a:pt x="37" y="423"/>
                </a:cubicBezTo>
                <a:cubicBezTo>
                  <a:pt x="35" y="419"/>
                  <a:pt x="32" y="417"/>
                  <a:pt x="30" y="417"/>
                </a:cubicBezTo>
                <a:cubicBezTo>
                  <a:pt x="29" y="417"/>
                  <a:pt x="27" y="418"/>
                  <a:pt x="25" y="422"/>
                </a:cubicBezTo>
                <a:cubicBezTo>
                  <a:pt x="23" y="425"/>
                  <a:pt x="20" y="426"/>
                  <a:pt x="17" y="426"/>
                </a:cubicBezTo>
                <a:cubicBezTo>
                  <a:pt x="13" y="424"/>
                  <a:pt x="10" y="424"/>
                  <a:pt x="9" y="424"/>
                </a:cubicBezTo>
                <a:cubicBezTo>
                  <a:pt x="7" y="424"/>
                  <a:pt x="5" y="425"/>
                  <a:pt x="3" y="427"/>
                </a:cubicBezTo>
                <a:cubicBezTo>
                  <a:pt x="1" y="430"/>
                  <a:pt x="1" y="431"/>
                  <a:pt x="0" y="433"/>
                </a:cubicBezTo>
                <a:cubicBezTo>
                  <a:pt x="0" y="435"/>
                  <a:pt x="1" y="436"/>
                  <a:pt x="3" y="437"/>
                </a:cubicBezTo>
                <a:cubicBezTo>
                  <a:pt x="5" y="439"/>
                  <a:pt x="6" y="441"/>
                  <a:pt x="6" y="444"/>
                </a:cubicBezTo>
                <a:cubicBezTo>
                  <a:pt x="6" y="449"/>
                  <a:pt x="8" y="453"/>
                  <a:pt x="12" y="455"/>
                </a:cubicBezTo>
                <a:cubicBezTo>
                  <a:pt x="14" y="456"/>
                  <a:pt x="17" y="459"/>
                  <a:pt x="23" y="462"/>
                </a:cubicBezTo>
                <a:cubicBezTo>
                  <a:pt x="28" y="466"/>
                  <a:pt x="31" y="468"/>
                  <a:pt x="30" y="471"/>
                </a:cubicBezTo>
                <a:cubicBezTo>
                  <a:pt x="30" y="475"/>
                  <a:pt x="33" y="481"/>
                  <a:pt x="41" y="487"/>
                </a:cubicBezTo>
                <a:cubicBezTo>
                  <a:pt x="48" y="494"/>
                  <a:pt x="53" y="497"/>
                  <a:pt x="57" y="497"/>
                </a:cubicBezTo>
                <a:cubicBezTo>
                  <a:pt x="58" y="498"/>
                  <a:pt x="60" y="497"/>
                  <a:pt x="62" y="498"/>
                </a:cubicBezTo>
                <a:cubicBezTo>
                  <a:pt x="64" y="498"/>
                  <a:pt x="65" y="497"/>
                  <a:pt x="65" y="495"/>
                </a:cubicBezTo>
                <a:lnTo>
                  <a:pt x="65" y="497"/>
                </a:lnTo>
                <a:lnTo>
                  <a:pt x="65" y="497"/>
                </a:lnTo>
                <a:close/>
                <a:moveTo>
                  <a:pt x="80" y="527"/>
                </a:moveTo>
                <a:lnTo>
                  <a:pt x="80" y="527"/>
                </a:lnTo>
                <a:cubicBezTo>
                  <a:pt x="80" y="527"/>
                  <a:pt x="79" y="527"/>
                  <a:pt x="79" y="527"/>
                </a:cubicBezTo>
                <a:lnTo>
                  <a:pt x="73" y="526"/>
                </a:lnTo>
                <a:cubicBezTo>
                  <a:pt x="73" y="527"/>
                  <a:pt x="73" y="527"/>
                  <a:pt x="72" y="528"/>
                </a:cubicBezTo>
                <a:cubicBezTo>
                  <a:pt x="72" y="529"/>
                  <a:pt x="73" y="531"/>
                  <a:pt x="76" y="533"/>
                </a:cubicBezTo>
                <a:cubicBezTo>
                  <a:pt x="78" y="533"/>
                  <a:pt x="79" y="535"/>
                  <a:pt x="81" y="536"/>
                </a:cubicBezTo>
                <a:lnTo>
                  <a:pt x="82" y="531"/>
                </a:lnTo>
                <a:cubicBezTo>
                  <a:pt x="81" y="529"/>
                  <a:pt x="80" y="528"/>
                  <a:pt x="80" y="528"/>
                </a:cubicBezTo>
                <a:lnTo>
                  <a:pt x="80" y="527"/>
                </a:lnTo>
                <a:lnTo>
                  <a:pt x="80" y="527"/>
                </a:lnTo>
                <a:close/>
                <a:moveTo>
                  <a:pt x="188" y="645"/>
                </a:moveTo>
                <a:lnTo>
                  <a:pt x="188" y="645"/>
                </a:lnTo>
                <a:cubicBezTo>
                  <a:pt x="189" y="645"/>
                  <a:pt x="190" y="645"/>
                  <a:pt x="191" y="642"/>
                </a:cubicBezTo>
                <a:cubicBezTo>
                  <a:pt x="193" y="641"/>
                  <a:pt x="193" y="639"/>
                  <a:pt x="193" y="638"/>
                </a:cubicBezTo>
                <a:cubicBezTo>
                  <a:pt x="193" y="637"/>
                  <a:pt x="193" y="636"/>
                  <a:pt x="192" y="635"/>
                </a:cubicBezTo>
                <a:cubicBezTo>
                  <a:pt x="192" y="635"/>
                  <a:pt x="191" y="635"/>
                  <a:pt x="191" y="635"/>
                </a:cubicBezTo>
                <a:lnTo>
                  <a:pt x="190" y="635"/>
                </a:lnTo>
                <a:cubicBezTo>
                  <a:pt x="188" y="634"/>
                  <a:pt x="187" y="637"/>
                  <a:pt x="186" y="643"/>
                </a:cubicBezTo>
                <a:cubicBezTo>
                  <a:pt x="186" y="644"/>
                  <a:pt x="187" y="645"/>
                  <a:pt x="188" y="645"/>
                </a:cubicBezTo>
                <a:lnTo>
                  <a:pt x="188" y="645"/>
                </a:lnTo>
                <a:close/>
                <a:moveTo>
                  <a:pt x="158" y="596"/>
                </a:moveTo>
                <a:lnTo>
                  <a:pt x="158" y="596"/>
                </a:lnTo>
                <a:cubicBezTo>
                  <a:pt x="158" y="596"/>
                  <a:pt x="158" y="596"/>
                  <a:pt x="158" y="595"/>
                </a:cubicBezTo>
                <a:cubicBezTo>
                  <a:pt x="157" y="593"/>
                  <a:pt x="156" y="591"/>
                  <a:pt x="154" y="591"/>
                </a:cubicBezTo>
                <a:cubicBezTo>
                  <a:pt x="153" y="591"/>
                  <a:pt x="149" y="596"/>
                  <a:pt x="144" y="607"/>
                </a:cubicBezTo>
                <a:cubicBezTo>
                  <a:pt x="139" y="617"/>
                  <a:pt x="136" y="623"/>
                  <a:pt x="136" y="627"/>
                </a:cubicBezTo>
                <a:cubicBezTo>
                  <a:pt x="136" y="628"/>
                  <a:pt x="136" y="630"/>
                  <a:pt x="137" y="633"/>
                </a:cubicBezTo>
                <a:cubicBezTo>
                  <a:pt x="137" y="636"/>
                  <a:pt x="138" y="638"/>
                  <a:pt x="139" y="639"/>
                </a:cubicBezTo>
                <a:cubicBezTo>
                  <a:pt x="139" y="638"/>
                  <a:pt x="141" y="634"/>
                  <a:pt x="142" y="630"/>
                </a:cubicBezTo>
                <a:lnTo>
                  <a:pt x="145" y="630"/>
                </a:lnTo>
                <a:cubicBezTo>
                  <a:pt x="146" y="631"/>
                  <a:pt x="149" y="632"/>
                  <a:pt x="152" y="634"/>
                </a:cubicBezTo>
                <a:cubicBezTo>
                  <a:pt x="155" y="634"/>
                  <a:pt x="156" y="634"/>
                  <a:pt x="158" y="632"/>
                </a:cubicBezTo>
                <a:cubicBezTo>
                  <a:pt x="161" y="631"/>
                  <a:pt x="162" y="630"/>
                  <a:pt x="162" y="628"/>
                </a:cubicBezTo>
                <a:cubicBezTo>
                  <a:pt x="162" y="626"/>
                  <a:pt x="162" y="622"/>
                  <a:pt x="161" y="613"/>
                </a:cubicBezTo>
                <a:cubicBezTo>
                  <a:pt x="160" y="606"/>
                  <a:pt x="159" y="601"/>
                  <a:pt x="159" y="598"/>
                </a:cubicBezTo>
                <a:lnTo>
                  <a:pt x="159" y="598"/>
                </a:lnTo>
                <a:cubicBezTo>
                  <a:pt x="159" y="597"/>
                  <a:pt x="158" y="597"/>
                  <a:pt x="158" y="596"/>
                </a:cubicBezTo>
                <a:lnTo>
                  <a:pt x="158" y="596"/>
                </a:lnTo>
                <a:close/>
                <a:moveTo>
                  <a:pt x="152" y="657"/>
                </a:moveTo>
                <a:lnTo>
                  <a:pt x="152" y="657"/>
                </a:lnTo>
                <a:cubicBezTo>
                  <a:pt x="152" y="658"/>
                  <a:pt x="151" y="660"/>
                  <a:pt x="151" y="661"/>
                </a:cubicBezTo>
                <a:cubicBezTo>
                  <a:pt x="150" y="665"/>
                  <a:pt x="151" y="668"/>
                  <a:pt x="152" y="671"/>
                </a:cubicBezTo>
                <a:cubicBezTo>
                  <a:pt x="153" y="674"/>
                  <a:pt x="154" y="676"/>
                  <a:pt x="156" y="678"/>
                </a:cubicBezTo>
                <a:cubicBezTo>
                  <a:pt x="158" y="681"/>
                  <a:pt x="161" y="685"/>
                  <a:pt x="164" y="689"/>
                </a:cubicBezTo>
                <a:cubicBezTo>
                  <a:pt x="167" y="688"/>
                  <a:pt x="169" y="686"/>
                  <a:pt x="169" y="684"/>
                </a:cubicBezTo>
                <a:cubicBezTo>
                  <a:pt x="169" y="682"/>
                  <a:pt x="168" y="679"/>
                  <a:pt x="165" y="676"/>
                </a:cubicBezTo>
                <a:cubicBezTo>
                  <a:pt x="164" y="673"/>
                  <a:pt x="162" y="672"/>
                  <a:pt x="161" y="671"/>
                </a:cubicBezTo>
                <a:cubicBezTo>
                  <a:pt x="160" y="670"/>
                  <a:pt x="159" y="668"/>
                  <a:pt x="159" y="664"/>
                </a:cubicBezTo>
                <a:cubicBezTo>
                  <a:pt x="158" y="660"/>
                  <a:pt x="157" y="658"/>
                  <a:pt x="155" y="658"/>
                </a:cubicBezTo>
                <a:lnTo>
                  <a:pt x="152" y="657"/>
                </a:lnTo>
                <a:lnTo>
                  <a:pt x="152" y="657"/>
                </a:lnTo>
                <a:close/>
                <a:moveTo>
                  <a:pt x="197" y="784"/>
                </a:moveTo>
                <a:lnTo>
                  <a:pt x="197" y="784"/>
                </a:lnTo>
                <a:cubicBezTo>
                  <a:pt x="194" y="779"/>
                  <a:pt x="191" y="776"/>
                  <a:pt x="187" y="776"/>
                </a:cubicBezTo>
                <a:cubicBezTo>
                  <a:pt x="181" y="775"/>
                  <a:pt x="177" y="773"/>
                  <a:pt x="174" y="769"/>
                </a:cubicBezTo>
                <a:cubicBezTo>
                  <a:pt x="171" y="764"/>
                  <a:pt x="168" y="761"/>
                  <a:pt x="167" y="759"/>
                </a:cubicBezTo>
                <a:cubicBezTo>
                  <a:pt x="165" y="760"/>
                  <a:pt x="162" y="762"/>
                  <a:pt x="158" y="764"/>
                </a:cubicBezTo>
                <a:cubicBezTo>
                  <a:pt x="156" y="766"/>
                  <a:pt x="154" y="769"/>
                  <a:pt x="154" y="773"/>
                </a:cubicBezTo>
                <a:cubicBezTo>
                  <a:pt x="153" y="777"/>
                  <a:pt x="158" y="784"/>
                  <a:pt x="167" y="794"/>
                </a:cubicBezTo>
                <a:cubicBezTo>
                  <a:pt x="176" y="803"/>
                  <a:pt x="182" y="808"/>
                  <a:pt x="185" y="808"/>
                </a:cubicBezTo>
                <a:cubicBezTo>
                  <a:pt x="188" y="808"/>
                  <a:pt x="190" y="804"/>
                  <a:pt x="190" y="794"/>
                </a:cubicBezTo>
                <a:cubicBezTo>
                  <a:pt x="191" y="793"/>
                  <a:pt x="194" y="793"/>
                  <a:pt x="198" y="794"/>
                </a:cubicBezTo>
                <a:cubicBezTo>
                  <a:pt x="201" y="795"/>
                  <a:pt x="204" y="794"/>
                  <a:pt x="206" y="793"/>
                </a:cubicBezTo>
                <a:cubicBezTo>
                  <a:pt x="203" y="791"/>
                  <a:pt x="200" y="788"/>
                  <a:pt x="197" y="784"/>
                </a:cubicBezTo>
                <a:lnTo>
                  <a:pt x="197" y="784"/>
                </a:lnTo>
                <a:close/>
                <a:moveTo>
                  <a:pt x="693" y="232"/>
                </a:moveTo>
                <a:lnTo>
                  <a:pt x="693" y="232"/>
                </a:lnTo>
                <a:cubicBezTo>
                  <a:pt x="698" y="230"/>
                  <a:pt x="699" y="228"/>
                  <a:pt x="697" y="226"/>
                </a:cubicBezTo>
                <a:cubicBezTo>
                  <a:pt x="697" y="223"/>
                  <a:pt x="697" y="220"/>
                  <a:pt x="695" y="217"/>
                </a:cubicBezTo>
                <a:cubicBezTo>
                  <a:pt x="695" y="215"/>
                  <a:pt x="694" y="212"/>
                  <a:pt x="693" y="208"/>
                </a:cubicBezTo>
                <a:cubicBezTo>
                  <a:pt x="692" y="204"/>
                  <a:pt x="691" y="202"/>
                  <a:pt x="690" y="200"/>
                </a:cubicBezTo>
                <a:cubicBezTo>
                  <a:pt x="687" y="198"/>
                  <a:pt x="684" y="197"/>
                  <a:pt x="678" y="196"/>
                </a:cubicBezTo>
                <a:cubicBezTo>
                  <a:pt x="675" y="196"/>
                  <a:pt x="672" y="199"/>
                  <a:pt x="668" y="205"/>
                </a:cubicBezTo>
                <a:cubicBezTo>
                  <a:pt x="665" y="210"/>
                  <a:pt x="663" y="213"/>
                  <a:pt x="663" y="215"/>
                </a:cubicBezTo>
                <a:cubicBezTo>
                  <a:pt x="662" y="221"/>
                  <a:pt x="665" y="226"/>
                  <a:pt x="671" y="229"/>
                </a:cubicBezTo>
                <a:cubicBezTo>
                  <a:pt x="678" y="232"/>
                  <a:pt x="683" y="235"/>
                  <a:pt x="685" y="238"/>
                </a:cubicBezTo>
                <a:cubicBezTo>
                  <a:pt x="687" y="236"/>
                  <a:pt x="690" y="234"/>
                  <a:pt x="693" y="232"/>
                </a:cubicBezTo>
                <a:lnTo>
                  <a:pt x="693" y="232"/>
                </a:lnTo>
                <a:close/>
                <a:moveTo>
                  <a:pt x="602" y="505"/>
                </a:moveTo>
                <a:lnTo>
                  <a:pt x="602" y="505"/>
                </a:lnTo>
                <a:cubicBezTo>
                  <a:pt x="605" y="503"/>
                  <a:pt x="608" y="497"/>
                  <a:pt x="612" y="486"/>
                </a:cubicBezTo>
                <a:cubicBezTo>
                  <a:pt x="608" y="483"/>
                  <a:pt x="606" y="481"/>
                  <a:pt x="607" y="478"/>
                </a:cubicBezTo>
                <a:lnTo>
                  <a:pt x="606" y="478"/>
                </a:lnTo>
                <a:cubicBezTo>
                  <a:pt x="606" y="480"/>
                  <a:pt x="605" y="483"/>
                  <a:pt x="603" y="487"/>
                </a:cubicBezTo>
                <a:cubicBezTo>
                  <a:pt x="601" y="491"/>
                  <a:pt x="600" y="494"/>
                  <a:pt x="600" y="496"/>
                </a:cubicBezTo>
                <a:cubicBezTo>
                  <a:pt x="599" y="499"/>
                  <a:pt x="599" y="501"/>
                  <a:pt x="599" y="501"/>
                </a:cubicBezTo>
                <a:cubicBezTo>
                  <a:pt x="600" y="502"/>
                  <a:pt x="600" y="503"/>
                  <a:pt x="602" y="505"/>
                </a:cubicBezTo>
                <a:lnTo>
                  <a:pt x="602" y="505"/>
                </a:lnTo>
                <a:close/>
                <a:moveTo>
                  <a:pt x="541" y="512"/>
                </a:moveTo>
                <a:lnTo>
                  <a:pt x="541" y="512"/>
                </a:lnTo>
                <a:cubicBezTo>
                  <a:pt x="542" y="512"/>
                  <a:pt x="544" y="512"/>
                  <a:pt x="545" y="510"/>
                </a:cubicBezTo>
                <a:cubicBezTo>
                  <a:pt x="547" y="508"/>
                  <a:pt x="548" y="507"/>
                  <a:pt x="547" y="504"/>
                </a:cubicBezTo>
                <a:cubicBezTo>
                  <a:pt x="546" y="502"/>
                  <a:pt x="544" y="500"/>
                  <a:pt x="542" y="500"/>
                </a:cubicBezTo>
                <a:cubicBezTo>
                  <a:pt x="540" y="500"/>
                  <a:pt x="539" y="500"/>
                  <a:pt x="537" y="502"/>
                </a:cubicBezTo>
                <a:cubicBezTo>
                  <a:pt x="535" y="503"/>
                  <a:pt x="535" y="505"/>
                  <a:pt x="534" y="507"/>
                </a:cubicBezTo>
                <a:cubicBezTo>
                  <a:pt x="534" y="508"/>
                  <a:pt x="535" y="509"/>
                  <a:pt x="537" y="511"/>
                </a:cubicBezTo>
                <a:cubicBezTo>
                  <a:pt x="538" y="511"/>
                  <a:pt x="539" y="512"/>
                  <a:pt x="541" y="512"/>
                </a:cubicBezTo>
                <a:lnTo>
                  <a:pt x="541" y="512"/>
                </a:lnTo>
                <a:close/>
                <a:moveTo>
                  <a:pt x="492" y="516"/>
                </a:moveTo>
                <a:lnTo>
                  <a:pt x="492" y="516"/>
                </a:lnTo>
                <a:cubicBezTo>
                  <a:pt x="491" y="517"/>
                  <a:pt x="490" y="517"/>
                  <a:pt x="488" y="516"/>
                </a:cubicBezTo>
                <a:cubicBezTo>
                  <a:pt x="488" y="517"/>
                  <a:pt x="488" y="518"/>
                  <a:pt x="487" y="519"/>
                </a:cubicBezTo>
                <a:cubicBezTo>
                  <a:pt x="487" y="520"/>
                  <a:pt x="488" y="521"/>
                  <a:pt x="488" y="522"/>
                </a:cubicBezTo>
                <a:cubicBezTo>
                  <a:pt x="488" y="524"/>
                  <a:pt x="490" y="525"/>
                  <a:pt x="494" y="525"/>
                </a:cubicBezTo>
                <a:cubicBezTo>
                  <a:pt x="495" y="525"/>
                  <a:pt x="496" y="525"/>
                  <a:pt x="496" y="523"/>
                </a:cubicBezTo>
                <a:cubicBezTo>
                  <a:pt x="496" y="523"/>
                  <a:pt x="496" y="522"/>
                  <a:pt x="494" y="520"/>
                </a:cubicBezTo>
                <a:cubicBezTo>
                  <a:pt x="493" y="519"/>
                  <a:pt x="493" y="518"/>
                  <a:pt x="493" y="517"/>
                </a:cubicBezTo>
                <a:lnTo>
                  <a:pt x="492" y="516"/>
                </a:lnTo>
                <a:lnTo>
                  <a:pt x="492" y="516"/>
                </a:lnTo>
                <a:close/>
                <a:moveTo>
                  <a:pt x="714" y="712"/>
                </a:moveTo>
                <a:lnTo>
                  <a:pt x="714" y="712"/>
                </a:lnTo>
                <a:cubicBezTo>
                  <a:pt x="713" y="711"/>
                  <a:pt x="713" y="710"/>
                  <a:pt x="713" y="709"/>
                </a:cubicBezTo>
                <a:cubicBezTo>
                  <a:pt x="715" y="707"/>
                  <a:pt x="716" y="706"/>
                  <a:pt x="716" y="705"/>
                </a:cubicBezTo>
                <a:cubicBezTo>
                  <a:pt x="719" y="702"/>
                  <a:pt x="721" y="700"/>
                  <a:pt x="721" y="698"/>
                </a:cubicBezTo>
                <a:cubicBezTo>
                  <a:pt x="721" y="694"/>
                  <a:pt x="721" y="690"/>
                  <a:pt x="720" y="687"/>
                </a:cubicBezTo>
                <a:cubicBezTo>
                  <a:pt x="720" y="682"/>
                  <a:pt x="717" y="679"/>
                  <a:pt x="715" y="679"/>
                </a:cubicBezTo>
                <a:cubicBezTo>
                  <a:pt x="710" y="680"/>
                  <a:pt x="707" y="680"/>
                  <a:pt x="705" y="680"/>
                </a:cubicBezTo>
                <a:cubicBezTo>
                  <a:pt x="704" y="680"/>
                  <a:pt x="702" y="679"/>
                  <a:pt x="700" y="678"/>
                </a:cubicBezTo>
                <a:cubicBezTo>
                  <a:pt x="697" y="677"/>
                  <a:pt x="695" y="677"/>
                  <a:pt x="694" y="676"/>
                </a:cubicBezTo>
                <a:cubicBezTo>
                  <a:pt x="690" y="677"/>
                  <a:pt x="687" y="677"/>
                  <a:pt x="685" y="677"/>
                </a:cubicBezTo>
                <a:cubicBezTo>
                  <a:pt x="681" y="677"/>
                  <a:pt x="678" y="674"/>
                  <a:pt x="675" y="669"/>
                </a:cubicBezTo>
                <a:cubicBezTo>
                  <a:pt x="672" y="662"/>
                  <a:pt x="670" y="658"/>
                  <a:pt x="669" y="655"/>
                </a:cubicBezTo>
                <a:cubicBezTo>
                  <a:pt x="666" y="650"/>
                  <a:pt x="663" y="647"/>
                  <a:pt x="661" y="644"/>
                </a:cubicBezTo>
                <a:cubicBezTo>
                  <a:pt x="658" y="639"/>
                  <a:pt x="657" y="635"/>
                  <a:pt x="658" y="630"/>
                </a:cubicBezTo>
                <a:cubicBezTo>
                  <a:pt x="659" y="624"/>
                  <a:pt x="659" y="620"/>
                  <a:pt x="659" y="617"/>
                </a:cubicBezTo>
                <a:cubicBezTo>
                  <a:pt x="659" y="612"/>
                  <a:pt x="658" y="608"/>
                  <a:pt x="654" y="605"/>
                </a:cubicBezTo>
                <a:cubicBezTo>
                  <a:pt x="650" y="601"/>
                  <a:pt x="647" y="598"/>
                  <a:pt x="645" y="595"/>
                </a:cubicBezTo>
                <a:cubicBezTo>
                  <a:pt x="644" y="594"/>
                  <a:pt x="643" y="592"/>
                  <a:pt x="641" y="589"/>
                </a:cubicBezTo>
                <a:cubicBezTo>
                  <a:pt x="641" y="588"/>
                  <a:pt x="639" y="587"/>
                  <a:pt x="636" y="587"/>
                </a:cubicBezTo>
                <a:cubicBezTo>
                  <a:pt x="632" y="586"/>
                  <a:pt x="628" y="587"/>
                  <a:pt x="624" y="588"/>
                </a:cubicBezTo>
                <a:cubicBezTo>
                  <a:pt x="620" y="590"/>
                  <a:pt x="617" y="591"/>
                  <a:pt x="615" y="591"/>
                </a:cubicBezTo>
                <a:cubicBezTo>
                  <a:pt x="606" y="590"/>
                  <a:pt x="599" y="588"/>
                  <a:pt x="596" y="584"/>
                </a:cubicBezTo>
                <a:cubicBezTo>
                  <a:pt x="592" y="581"/>
                  <a:pt x="588" y="579"/>
                  <a:pt x="584" y="578"/>
                </a:cubicBezTo>
                <a:cubicBezTo>
                  <a:pt x="579" y="579"/>
                  <a:pt x="576" y="579"/>
                  <a:pt x="574" y="579"/>
                </a:cubicBezTo>
                <a:cubicBezTo>
                  <a:pt x="569" y="578"/>
                  <a:pt x="562" y="573"/>
                  <a:pt x="553" y="564"/>
                </a:cubicBezTo>
                <a:cubicBezTo>
                  <a:pt x="547" y="556"/>
                  <a:pt x="542" y="549"/>
                  <a:pt x="538" y="544"/>
                </a:cubicBezTo>
                <a:cubicBezTo>
                  <a:pt x="538" y="543"/>
                  <a:pt x="538" y="543"/>
                  <a:pt x="537" y="543"/>
                </a:cubicBezTo>
                <a:cubicBezTo>
                  <a:pt x="535" y="542"/>
                  <a:pt x="532" y="540"/>
                  <a:pt x="529" y="537"/>
                </a:cubicBezTo>
                <a:cubicBezTo>
                  <a:pt x="527" y="535"/>
                  <a:pt x="524" y="533"/>
                  <a:pt x="521" y="533"/>
                </a:cubicBezTo>
                <a:cubicBezTo>
                  <a:pt x="519" y="533"/>
                  <a:pt x="514" y="534"/>
                  <a:pt x="508" y="536"/>
                </a:cubicBezTo>
                <a:cubicBezTo>
                  <a:pt x="500" y="538"/>
                  <a:pt x="497" y="541"/>
                  <a:pt x="495" y="543"/>
                </a:cubicBezTo>
                <a:cubicBezTo>
                  <a:pt x="494" y="545"/>
                  <a:pt x="491" y="549"/>
                  <a:pt x="488" y="552"/>
                </a:cubicBezTo>
                <a:cubicBezTo>
                  <a:pt x="488" y="552"/>
                  <a:pt x="488" y="552"/>
                  <a:pt x="488" y="553"/>
                </a:cubicBezTo>
                <a:cubicBezTo>
                  <a:pt x="484" y="556"/>
                  <a:pt x="481" y="560"/>
                  <a:pt x="480" y="563"/>
                </a:cubicBezTo>
                <a:lnTo>
                  <a:pt x="487" y="564"/>
                </a:lnTo>
                <a:cubicBezTo>
                  <a:pt x="489" y="564"/>
                  <a:pt x="491" y="565"/>
                  <a:pt x="492" y="567"/>
                </a:cubicBezTo>
                <a:cubicBezTo>
                  <a:pt x="494" y="570"/>
                  <a:pt x="495" y="571"/>
                  <a:pt x="495" y="571"/>
                </a:cubicBezTo>
                <a:cubicBezTo>
                  <a:pt x="497" y="571"/>
                  <a:pt x="498" y="570"/>
                  <a:pt x="499" y="569"/>
                </a:cubicBezTo>
                <a:cubicBezTo>
                  <a:pt x="501" y="568"/>
                  <a:pt x="502" y="567"/>
                  <a:pt x="503" y="568"/>
                </a:cubicBezTo>
                <a:cubicBezTo>
                  <a:pt x="509" y="568"/>
                  <a:pt x="518" y="574"/>
                  <a:pt x="531" y="585"/>
                </a:cubicBezTo>
                <a:cubicBezTo>
                  <a:pt x="540" y="593"/>
                  <a:pt x="548" y="600"/>
                  <a:pt x="553" y="606"/>
                </a:cubicBezTo>
                <a:cubicBezTo>
                  <a:pt x="555" y="608"/>
                  <a:pt x="560" y="610"/>
                  <a:pt x="567" y="614"/>
                </a:cubicBezTo>
                <a:cubicBezTo>
                  <a:pt x="573" y="616"/>
                  <a:pt x="576" y="620"/>
                  <a:pt x="577" y="624"/>
                </a:cubicBezTo>
                <a:cubicBezTo>
                  <a:pt x="578" y="631"/>
                  <a:pt x="579" y="636"/>
                  <a:pt x="581" y="639"/>
                </a:cubicBezTo>
                <a:cubicBezTo>
                  <a:pt x="581" y="640"/>
                  <a:pt x="582" y="640"/>
                  <a:pt x="582" y="641"/>
                </a:cubicBezTo>
                <a:cubicBezTo>
                  <a:pt x="584" y="642"/>
                  <a:pt x="589" y="643"/>
                  <a:pt x="597" y="644"/>
                </a:cubicBezTo>
                <a:cubicBezTo>
                  <a:pt x="601" y="645"/>
                  <a:pt x="613" y="643"/>
                  <a:pt x="634" y="639"/>
                </a:cubicBezTo>
                <a:cubicBezTo>
                  <a:pt x="635" y="639"/>
                  <a:pt x="636" y="642"/>
                  <a:pt x="639" y="645"/>
                </a:cubicBezTo>
                <a:cubicBezTo>
                  <a:pt x="641" y="649"/>
                  <a:pt x="643" y="651"/>
                  <a:pt x="644" y="652"/>
                </a:cubicBezTo>
                <a:cubicBezTo>
                  <a:pt x="647" y="652"/>
                  <a:pt x="649" y="655"/>
                  <a:pt x="649" y="659"/>
                </a:cubicBezTo>
                <a:cubicBezTo>
                  <a:pt x="650" y="663"/>
                  <a:pt x="652" y="664"/>
                  <a:pt x="655" y="663"/>
                </a:cubicBezTo>
                <a:cubicBezTo>
                  <a:pt x="654" y="666"/>
                  <a:pt x="655" y="668"/>
                  <a:pt x="658" y="670"/>
                </a:cubicBezTo>
                <a:cubicBezTo>
                  <a:pt x="662" y="673"/>
                  <a:pt x="664" y="675"/>
                  <a:pt x="664" y="676"/>
                </a:cubicBezTo>
                <a:cubicBezTo>
                  <a:pt x="665" y="681"/>
                  <a:pt x="666" y="684"/>
                  <a:pt x="666" y="685"/>
                </a:cubicBezTo>
                <a:cubicBezTo>
                  <a:pt x="667" y="688"/>
                  <a:pt x="668" y="689"/>
                  <a:pt x="671" y="690"/>
                </a:cubicBezTo>
                <a:cubicBezTo>
                  <a:pt x="675" y="690"/>
                  <a:pt x="679" y="694"/>
                  <a:pt x="682" y="699"/>
                </a:cubicBezTo>
                <a:cubicBezTo>
                  <a:pt x="685" y="706"/>
                  <a:pt x="688" y="709"/>
                  <a:pt x="691" y="711"/>
                </a:cubicBezTo>
                <a:cubicBezTo>
                  <a:pt x="692" y="711"/>
                  <a:pt x="692" y="709"/>
                  <a:pt x="694" y="707"/>
                </a:cubicBezTo>
                <a:cubicBezTo>
                  <a:pt x="696" y="705"/>
                  <a:pt x="697" y="704"/>
                  <a:pt x="698" y="704"/>
                </a:cubicBezTo>
                <a:cubicBezTo>
                  <a:pt x="703" y="704"/>
                  <a:pt x="706" y="706"/>
                  <a:pt x="708" y="708"/>
                </a:cubicBezTo>
                <a:cubicBezTo>
                  <a:pt x="710" y="711"/>
                  <a:pt x="711" y="712"/>
                  <a:pt x="712" y="712"/>
                </a:cubicBezTo>
                <a:cubicBezTo>
                  <a:pt x="713" y="712"/>
                  <a:pt x="713" y="712"/>
                  <a:pt x="714" y="712"/>
                </a:cubicBezTo>
                <a:lnTo>
                  <a:pt x="714" y="712"/>
                </a:lnTo>
                <a:close/>
                <a:moveTo>
                  <a:pt x="473" y="562"/>
                </a:moveTo>
                <a:lnTo>
                  <a:pt x="473" y="562"/>
                </a:lnTo>
                <a:cubicBezTo>
                  <a:pt x="473" y="562"/>
                  <a:pt x="472" y="562"/>
                  <a:pt x="472" y="562"/>
                </a:cubicBezTo>
                <a:cubicBezTo>
                  <a:pt x="472" y="562"/>
                  <a:pt x="472" y="562"/>
                  <a:pt x="472" y="563"/>
                </a:cubicBezTo>
                <a:cubicBezTo>
                  <a:pt x="471" y="563"/>
                  <a:pt x="471" y="563"/>
                  <a:pt x="470" y="563"/>
                </a:cubicBezTo>
                <a:cubicBezTo>
                  <a:pt x="469" y="563"/>
                  <a:pt x="468" y="564"/>
                  <a:pt x="466" y="565"/>
                </a:cubicBezTo>
                <a:cubicBezTo>
                  <a:pt x="463" y="567"/>
                  <a:pt x="462" y="569"/>
                  <a:pt x="461" y="571"/>
                </a:cubicBezTo>
                <a:cubicBezTo>
                  <a:pt x="461" y="573"/>
                  <a:pt x="463" y="574"/>
                  <a:pt x="468" y="574"/>
                </a:cubicBezTo>
                <a:cubicBezTo>
                  <a:pt x="469" y="574"/>
                  <a:pt x="471" y="574"/>
                  <a:pt x="474" y="573"/>
                </a:cubicBezTo>
                <a:cubicBezTo>
                  <a:pt x="476" y="572"/>
                  <a:pt x="477" y="572"/>
                  <a:pt x="477" y="571"/>
                </a:cubicBezTo>
                <a:cubicBezTo>
                  <a:pt x="478" y="568"/>
                  <a:pt x="477" y="566"/>
                  <a:pt x="477" y="565"/>
                </a:cubicBezTo>
                <a:cubicBezTo>
                  <a:pt x="476" y="563"/>
                  <a:pt x="475" y="562"/>
                  <a:pt x="473" y="562"/>
                </a:cubicBezTo>
                <a:lnTo>
                  <a:pt x="473" y="562"/>
                </a:lnTo>
                <a:close/>
                <a:moveTo>
                  <a:pt x="576" y="519"/>
                </a:moveTo>
                <a:lnTo>
                  <a:pt x="576" y="519"/>
                </a:lnTo>
                <a:cubicBezTo>
                  <a:pt x="578" y="520"/>
                  <a:pt x="579" y="520"/>
                  <a:pt x="580" y="520"/>
                </a:cubicBezTo>
                <a:cubicBezTo>
                  <a:pt x="581" y="519"/>
                  <a:pt x="582" y="519"/>
                  <a:pt x="583" y="519"/>
                </a:cubicBezTo>
                <a:cubicBezTo>
                  <a:pt x="585" y="518"/>
                  <a:pt x="586" y="516"/>
                  <a:pt x="586" y="514"/>
                </a:cubicBezTo>
                <a:cubicBezTo>
                  <a:pt x="586" y="511"/>
                  <a:pt x="584" y="508"/>
                  <a:pt x="579" y="506"/>
                </a:cubicBezTo>
                <a:cubicBezTo>
                  <a:pt x="573" y="504"/>
                  <a:pt x="569" y="502"/>
                  <a:pt x="568" y="502"/>
                </a:cubicBezTo>
                <a:lnTo>
                  <a:pt x="563" y="501"/>
                </a:lnTo>
                <a:lnTo>
                  <a:pt x="562" y="502"/>
                </a:lnTo>
                <a:cubicBezTo>
                  <a:pt x="562" y="504"/>
                  <a:pt x="564" y="507"/>
                  <a:pt x="568" y="512"/>
                </a:cubicBezTo>
                <a:cubicBezTo>
                  <a:pt x="572" y="517"/>
                  <a:pt x="575" y="519"/>
                  <a:pt x="576" y="519"/>
                </a:cubicBezTo>
                <a:lnTo>
                  <a:pt x="576" y="519"/>
                </a:lnTo>
                <a:close/>
                <a:moveTo>
                  <a:pt x="810" y="255"/>
                </a:moveTo>
                <a:lnTo>
                  <a:pt x="810" y="255"/>
                </a:lnTo>
                <a:cubicBezTo>
                  <a:pt x="821" y="247"/>
                  <a:pt x="826" y="243"/>
                  <a:pt x="826" y="242"/>
                </a:cubicBezTo>
                <a:cubicBezTo>
                  <a:pt x="826" y="240"/>
                  <a:pt x="825" y="237"/>
                  <a:pt x="822" y="236"/>
                </a:cubicBezTo>
                <a:cubicBezTo>
                  <a:pt x="819" y="234"/>
                  <a:pt x="816" y="233"/>
                  <a:pt x="813" y="233"/>
                </a:cubicBezTo>
                <a:cubicBezTo>
                  <a:pt x="810" y="233"/>
                  <a:pt x="806" y="233"/>
                  <a:pt x="802" y="235"/>
                </a:cubicBezTo>
                <a:cubicBezTo>
                  <a:pt x="797" y="237"/>
                  <a:pt x="794" y="239"/>
                  <a:pt x="793" y="241"/>
                </a:cubicBezTo>
                <a:cubicBezTo>
                  <a:pt x="797" y="243"/>
                  <a:pt x="800" y="246"/>
                  <a:pt x="803" y="250"/>
                </a:cubicBezTo>
                <a:cubicBezTo>
                  <a:pt x="805" y="253"/>
                  <a:pt x="808" y="254"/>
                  <a:pt x="810" y="255"/>
                </a:cubicBezTo>
                <a:lnTo>
                  <a:pt x="810" y="255"/>
                </a:lnTo>
                <a:close/>
                <a:moveTo>
                  <a:pt x="766" y="362"/>
                </a:moveTo>
                <a:lnTo>
                  <a:pt x="766" y="362"/>
                </a:lnTo>
                <a:cubicBezTo>
                  <a:pt x="767" y="363"/>
                  <a:pt x="768" y="364"/>
                  <a:pt x="769" y="365"/>
                </a:cubicBezTo>
                <a:cubicBezTo>
                  <a:pt x="771" y="365"/>
                  <a:pt x="773" y="364"/>
                  <a:pt x="776" y="362"/>
                </a:cubicBezTo>
                <a:cubicBezTo>
                  <a:pt x="775" y="361"/>
                  <a:pt x="774" y="361"/>
                  <a:pt x="773" y="360"/>
                </a:cubicBezTo>
                <a:cubicBezTo>
                  <a:pt x="771" y="359"/>
                  <a:pt x="770" y="358"/>
                  <a:pt x="770" y="357"/>
                </a:cubicBezTo>
                <a:cubicBezTo>
                  <a:pt x="771" y="356"/>
                  <a:pt x="771" y="354"/>
                  <a:pt x="773" y="352"/>
                </a:cubicBezTo>
                <a:cubicBezTo>
                  <a:pt x="775" y="350"/>
                  <a:pt x="776" y="350"/>
                  <a:pt x="777" y="350"/>
                </a:cubicBezTo>
                <a:cubicBezTo>
                  <a:pt x="779" y="350"/>
                  <a:pt x="780" y="352"/>
                  <a:pt x="780" y="356"/>
                </a:cubicBezTo>
                <a:cubicBezTo>
                  <a:pt x="781" y="359"/>
                  <a:pt x="783" y="361"/>
                  <a:pt x="787" y="362"/>
                </a:cubicBezTo>
                <a:cubicBezTo>
                  <a:pt x="791" y="362"/>
                  <a:pt x="793" y="361"/>
                  <a:pt x="793" y="357"/>
                </a:cubicBezTo>
                <a:cubicBezTo>
                  <a:pt x="794" y="354"/>
                  <a:pt x="792" y="352"/>
                  <a:pt x="789" y="352"/>
                </a:cubicBezTo>
                <a:cubicBezTo>
                  <a:pt x="792" y="347"/>
                  <a:pt x="795" y="344"/>
                  <a:pt x="797" y="342"/>
                </a:cubicBezTo>
                <a:cubicBezTo>
                  <a:pt x="798" y="340"/>
                  <a:pt x="798" y="338"/>
                  <a:pt x="799" y="335"/>
                </a:cubicBezTo>
                <a:cubicBezTo>
                  <a:pt x="800" y="331"/>
                  <a:pt x="800" y="329"/>
                  <a:pt x="800" y="327"/>
                </a:cubicBezTo>
                <a:cubicBezTo>
                  <a:pt x="800" y="327"/>
                  <a:pt x="800" y="326"/>
                  <a:pt x="798" y="326"/>
                </a:cubicBezTo>
                <a:cubicBezTo>
                  <a:pt x="796" y="326"/>
                  <a:pt x="793" y="328"/>
                  <a:pt x="790" y="332"/>
                </a:cubicBezTo>
                <a:cubicBezTo>
                  <a:pt x="787" y="337"/>
                  <a:pt x="784" y="339"/>
                  <a:pt x="782" y="339"/>
                </a:cubicBezTo>
                <a:cubicBezTo>
                  <a:pt x="781" y="339"/>
                  <a:pt x="780" y="338"/>
                  <a:pt x="779" y="335"/>
                </a:cubicBezTo>
                <a:cubicBezTo>
                  <a:pt x="778" y="333"/>
                  <a:pt x="776" y="331"/>
                  <a:pt x="775" y="331"/>
                </a:cubicBezTo>
                <a:cubicBezTo>
                  <a:pt x="769" y="332"/>
                  <a:pt x="764" y="332"/>
                  <a:pt x="760" y="332"/>
                </a:cubicBezTo>
                <a:cubicBezTo>
                  <a:pt x="755" y="331"/>
                  <a:pt x="753" y="331"/>
                  <a:pt x="751" y="331"/>
                </a:cubicBezTo>
                <a:cubicBezTo>
                  <a:pt x="750" y="331"/>
                  <a:pt x="749" y="334"/>
                  <a:pt x="748" y="338"/>
                </a:cubicBezTo>
                <a:cubicBezTo>
                  <a:pt x="748" y="340"/>
                  <a:pt x="748" y="342"/>
                  <a:pt x="749" y="344"/>
                </a:cubicBezTo>
                <a:cubicBezTo>
                  <a:pt x="750" y="346"/>
                  <a:pt x="751" y="348"/>
                  <a:pt x="751" y="350"/>
                </a:cubicBezTo>
                <a:cubicBezTo>
                  <a:pt x="751" y="351"/>
                  <a:pt x="751" y="353"/>
                  <a:pt x="750" y="357"/>
                </a:cubicBezTo>
                <a:cubicBezTo>
                  <a:pt x="750" y="361"/>
                  <a:pt x="751" y="363"/>
                  <a:pt x="753" y="363"/>
                </a:cubicBezTo>
                <a:cubicBezTo>
                  <a:pt x="753" y="363"/>
                  <a:pt x="756" y="362"/>
                  <a:pt x="762" y="359"/>
                </a:cubicBezTo>
                <a:cubicBezTo>
                  <a:pt x="764" y="359"/>
                  <a:pt x="766" y="360"/>
                  <a:pt x="766" y="362"/>
                </a:cubicBezTo>
                <a:lnTo>
                  <a:pt x="766" y="362"/>
                </a:lnTo>
                <a:close/>
                <a:moveTo>
                  <a:pt x="757" y="417"/>
                </a:moveTo>
                <a:lnTo>
                  <a:pt x="757" y="417"/>
                </a:lnTo>
                <a:cubicBezTo>
                  <a:pt x="757" y="416"/>
                  <a:pt x="756" y="416"/>
                  <a:pt x="756" y="415"/>
                </a:cubicBezTo>
                <a:cubicBezTo>
                  <a:pt x="755" y="414"/>
                  <a:pt x="754" y="414"/>
                  <a:pt x="753" y="414"/>
                </a:cubicBezTo>
                <a:cubicBezTo>
                  <a:pt x="751" y="413"/>
                  <a:pt x="750" y="414"/>
                  <a:pt x="748" y="415"/>
                </a:cubicBezTo>
                <a:cubicBezTo>
                  <a:pt x="746" y="416"/>
                  <a:pt x="746" y="417"/>
                  <a:pt x="745" y="419"/>
                </a:cubicBezTo>
                <a:cubicBezTo>
                  <a:pt x="745" y="422"/>
                  <a:pt x="747" y="425"/>
                  <a:pt x="751" y="430"/>
                </a:cubicBezTo>
                <a:cubicBezTo>
                  <a:pt x="753" y="430"/>
                  <a:pt x="754" y="428"/>
                  <a:pt x="755" y="424"/>
                </a:cubicBezTo>
                <a:cubicBezTo>
                  <a:pt x="755" y="421"/>
                  <a:pt x="756" y="419"/>
                  <a:pt x="757" y="418"/>
                </a:cubicBezTo>
                <a:cubicBezTo>
                  <a:pt x="757" y="418"/>
                  <a:pt x="757" y="417"/>
                  <a:pt x="757" y="417"/>
                </a:cubicBezTo>
                <a:lnTo>
                  <a:pt x="757" y="417"/>
                </a:lnTo>
                <a:close/>
                <a:moveTo>
                  <a:pt x="695" y="545"/>
                </a:moveTo>
                <a:lnTo>
                  <a:pt x="695" y="545"/>
                </a:lnTo>
                <a:cubicBezTo>
                  <a:pt x="699" y="548"/>
                  <a:pt x="702" y="552"/>
                  <a:pt x="703" y="556"/>
                </a:cubicBezTo>
                <a:cubicBezTo>
                  <a:pt x="705" y="560"/>
                  <a:pt x="706" y="562"/>
                  <a:pt x="706" y="562"/>
                </a:cubicBezTo>
                <a:cubicBezTo>
                  <a:pt x="708" y="562"/>
                  <a:pt x="712" y="562"/>
                  <a:pt x="716" y="561"/>
                </a:cubicBezTo>
                <a:cubicBezTo>
                  <a:pt x="718" y="561"/>
                  <a:pt x="719" y="559"/>
                  <a:pt x="719" y="554"/>
                </a:cubicBezTo>
                <a:cubicBezTo>
                  <a:pt x="719" y="553"/>
                  <a:pt x="717" y="551"/>
                  <a:pt x="714" y="548"/>
                </a:cubicBezTo>
                <a:cubicBezTo>
                  <a:pt x="711" y="546"/>
                  <a:pt x="709" y="545"/>
                  <a:pt x="707" y="545"/>
                </a:cubicBezTo>
                <a:cubicBezTo>
                  <a:pt x="705" y="544"/>
                  <a:pt x="703" y="542"/>
                  <a:pt x="702" y="540"/>
                </a:cubicBezTo>
                <a:cubicBezTo>
                  <a:pt x="702" y="536"/>
                  <a:pt x="702" y="534"/>
                  <a:pt x="702" y="531"/>
                </a:cubicBezTo>
                <a:cubicBezTo>
                  <a:pt x="701" y="531"/>
                  <a:pt x="702" y="531"/>
                  <a:pt x="702" y="531"/>
                </a:cubicBezTo>
                <a:lnTo>
                  <a:pt x="701" y="531"/>
                </a:lnTo>
                <a:cubicBezTo>
                  <a:pt x="701" y="530"/>
                  <a:pt x="700" y="530"/>
                  <a:pt x="700" y="530"/>
                </a:cubicBezTo>
                <a:cubicBezTo>
                  <a:pt x="697" y="529"/>
                  <a:pt x="693" y="528"/>
                  <a:pt x="689" y="528"/>
                </a:cubicBezTo>
                <a:cubicBezTo>
                  <a:pt x="685" y="527"/>
                  <a:pt x="683" y="528"/>
                  <a:pt x="683" y="530"/>
                </a:cubicBezTo>
                <a:cubicBezTo>
                  <a:pt x="683" y="534"/>
                  <a:pt x="683" y="538"/>
                  <a:pt x="685" y="539"/>
                </a:cubicBezTo>
                <a:cubicBezTo>
                  <a:pt x="686" y="540"/>
                  <a:pt x="689" y="542"/>
                  <a:pt x="695" y="545"/>
                </a:cubicBezTo>
                <a:lnTo>
                  <a:pt x="695" y="545"/>
                </a:lnTo>
                <a:close/>
                <a:moveTo>
                  <a:pt x="871" y="457"/>
                </a:moveTo>
                <a:lnTo>
                  <a:pt x="871" y="457"/>
                </a:lnTo>
                <a:cubicBezTo>
                  <a:pt x="871" y="463"/>
                  <a:pt x="874" y="468"/>
                  <a:pt x="882" y="473"/>
                </a:cubicBezTo>
                <a:cubicBezTo>
                  <a:pt x="889" y="477"/>
                  <a:pt x="894" y="479"/>
                  <a:pt x="900" y="480"/>
                </a:cubicBezTo>
                <a:cubicBezTo>
                  <a:pt x="904" y="480"/>
                  <a:pt x="908" y="479"/>
                  <a:pt x="910" y="477"/>
                </a:cubicBezTo>
                <a:cubicBezTo>
                  <a:pt x="913" y="475"/>
                  <a:pt x="915" y="472"/>
                  <a:pt x="916" y="468"/>
                </a:cubicBezTo>
                <a:cubicBezTo>
                  <a:pt x="918" y="463"/>
                  <a:pt x="918" y="460"/>
                  <a:pt x="919" y="459"/>
                </a:cubicBezTo>
                <a:cubicBezTo>
                  <a:pt x="920" y="456"/>
                  <a:pt x="923" y="455"/>
                  <a:pt x="926" y="455"/>
                </a:cubicBezTo>
                <a:cubicBezTo>
                  <a:pt x="927" y="455"/>
                  <a:pt x="929" y="456"/>
                  <a:pt x="931" y="457"/>
                </a:cubicBezTo>
                <a:cubicBezTo>
                  <a:pt x="933" y="459"/>
                  <a:pt x="935" y="460"/>
                  <a:pt x="936" y="460"/>
                </a:cubicBezTo>
                <a:cubicBezTo>
                  <a:pt x="935" y="462"/>
                  <a:pt x="931" y="465"/>
                  <a:pt x="924" y="469"/>
                </a:cubicBezTo>
                <a:cubicBezTo>
                  <a:pt x="919" y="472"/>
                  <a:pt x="916" y="476"/>
                  <a:pt x="916" y="482"/>
                </a:cubicBezTo>
                <a:cubicBezTo>
                  <a:pt x="915" y="486"/>
                  <a:pt x="918" y="489"/>
                  <a:pt x="923" y="490"/>
                </a:cubicBezTo>
                <a:cubicBezTo>
                  <a:pt x="927" y="490"/>
                  <a:pt x="931" y="491"/>
                  <a:pt x="937" y="490"/>
                </a:cubicBezTo>
                <a:cubicBezTo>
                  <a:pt x="942" y="491"/>
                  <a:pt x="951" y="493"/>
                  <a:pt x="965" y="497"/>
                </a:cubicBezTo>
                <a:cubicBezTo>
                  <a:pt x="969" y="497"/>
                  <a:pt x="975" y="491"/>
                  <a:pt x="984" y="478"/>
                </a:cubicBezTo>
                <a:lnTo>
                  <a:pt x="984" y="475"/>
                </a:lnTo>
                <a:cubicBezTo>
                  <a:pt x="981" y="477"/>
                  <a:pt x="976" y="479"/>
                  <a:pt x="969" y="481"/>
                </a:cubicBezTo>
                <a:cubicBezTo>
                  <a:pt x="967" y="478"/>
                  <a:pt x="963" y="476"/>
                  <a:pt x="957" y="474"/>
                </a:cubicBezTo>
                <a:cubicBezTo>
                  <a:pt x="959" y="474"/>
                  <a:pt x="965" y="471"/>
                  <a:pt x="973" y="468"/>
                </a:cubicBezTo>
                <a:cubicBezTo>
                  <a:pt x="971" y="466"/>
                  <a:pt x="967" y="461"/>
                  <a:pt x="960" y="453"/>
                </a:cubicBezTo>
                <a:cubicBezTo>
                  <a:pt x="954" y="446"/>
                  <a:pt x="950" y="442"/>
                  <a:pt x="951" y="441"/>
                </a:cubicBezTo>
                <a:cubicBezTo>
                  <a:pt x="949" y="440"/>
                  <a:pt x="949" y="439"/>
                  <a:pt x="948" y="439"/>
                </a:cubicBezTo>
                <a:cubicBezTo>
                  <a:pt x="946" y="437"/>
                  <a:pt x="946" y="436"/>
                  <a:pt x="946" y="434"/>
                </a:cubicBezTo>
                <a:cubicBezTo>
                  <a:pt x="947" y="432"/>
                  <a:pt x="948" y="430"/>
                  <a:pt x="948" y="429"/>
                </a:cubicBezTo>
                <a:cubicBezTo>
                  <a:pt x="948" y="427"/>
                  <a:pt x="947" y="426"/>
                  <a:pt x="945" y="424"/>
                </a:cubicBezTo>
                <a:cubicBezTo>
                  <a:pt x="943" y="423"/>
                  <a:pt x="942" y="422"/>
                  <a:pt x="940" y="422"/>
                </a:cubicBezTo>
                <a:cubicBezTo>
                  <a:pt x="939" y="422"/>
                  <a:pt x="937" y="423"/>
                  <a:pt x="934" y="424"/>
                </a:cubicBezTo>
                <a:cubicBezTo>
                  <a:pt x="931" y="426"/>
                  <a:pt x="929" y="427"/>
                  <a:pt x="927" y="427"/>
                </a:cubicBezTo>
                <a:cubicBezTo>
                  <a:pt x="927" y="427"/>
                  <a:pt x="926" y="426"/>
                  <a:pt x="925" y="425"/>
                </a:cubicBezTo>
                <a:cubicBezTo>
                  <a:pt x="924" y="424"/>
                  <a:pt x="923" y="424"/>
                  <a:pt x="922" y="424"/>
                </a:cubicBezTo>
                <a:cubicBezTo>
                  <a:pt x="917" y="423"/>
                  <a:pt x="913" y="426"/>
                  <a:pt x="909" y="431"/>
                </a:cubicBezTo>
                <a:cubicBezTo>
                  <a:pt x="902" y="439"/>
                  <a:pt x="898" y="443"/>
                  <a:pt x="898" y="444"/>
                </a:cubicBezTo>
                <a:cubicBezTo>
                  <a:pt x="896" y="445"/>
                  <a:pt x="891" y="447"/>
                  <a:pt x="882" y="448"/>
                </a:cubicBezTo>
                <a:cubicBezTo>
                  <a:pt x="875" y="450"/>
                  <a:pt x="872" y="453"/>
                  <a:pt x="871" y="457"/>
                </a:cubicBezTo>
                <a:lnTo>
                  <a:pt x="871" y="457"/>
                </a:lnTo>
                <a:close/>
                <a:moveTo>
                  <a:pt x="850" y="591"/>
                </a:moveTo>
                <a:lnTo>
                  <a:pt x="850" y="591"/>
                </a:lnTo>
                <a:cubicBezTo>
                  <a:pt x="851" y="591"/>
                  <a:pt x="852" y="591"/>
                  <a:pt x="854" y="589"/>
                </a:cubicBezTo>
                <a:cubicBezTo>
                  <a:pt x="856" y="587"/>
                  <a:pt x="857" y="585"/>
                  <a:pt x="857" y="585"/>
                </a:cubicBezTo>
                <a:cubicBezTo>
                  <a:pt x="857" y="585"/>
                  <a:pt x="857" y="584"/>
                  <a:pt x="857" y="584"/>
                </a:cubicBezTo>
                <a:cubicBezTo>
                  <a:pt x="857" y="583"/>
                  <a:pt x="856" y="583"/>
                  <a:pt x="856" y="582"/>
                </a:cubicBezTo>
                <a:cubicBezTo>
                  <a:pt x="856" y="582"/>
                  <a:pt x="855" y="582"/>
                  <a:pt x="856" y="581"/>
                </a:cubicBezTo>
                <a:cubicBezTo>
                  <a:pt x="854" y="580"/>
                  <a:pt x="853" y="579"/>
                  <a:pt x="851" y="579"/>
                </a:cubicBezTo>
                <a:cubicBezTo>
                  <a:pt x="847" y="578"/>
                  <a:pt x="845" y="580"/>
                  <a:pt x="845" y="583"/>
                </a:cubicBezTo>
                <a:cubicBezTo>
                  <a:pt x="845" y="585"/>
                  <a:pt x="845" y="587"/>
                  <a:pt x="846" y="589"/>
                </a:cubicBezTo>
                <a:cubicBezTo>
                  <a:pt x="848" y="590"/>
                  <a:pt x="849" y="591"/>
                  <a:pt x="850" y="591"/>
                </a:cubicBezTo>
                <a:lnTo>
                  <a:pt x="850" y="591"/>
                </a:lnTo>
                <a:close/>
                <a:moveTo>
                  <a:pt x="931" y="585"/>
                </a:moveTo>
                <a:lnTo>
                  <a:pt x="931" y="585"/>
                </a:lnTo>
                <a:cubicBezTo>
                  <a:pt x="930" y="581"/>
                  <a:pt x="926" y="577"/>
                  <a:pt x="919" y="573"/>
                </a:cubicBezTo>
                <a:lnTo>
                  <a:pt x="909" y="568"/>
                </a:lnTo>
                <a:cubicBezTo>
                  <a:pt x="905" y="568"/>
                  <a:pt x="901" y="569"/>
                  <a:pt x="896" y="571"/>
                </a:cubicBezTo>
                <a:cubicBezTo>
                  <a:pt x="890" y="573"/>
                  <a:pt x="887" y="576"/>
                  <a:pt x="887" y="579"/>
                </a:cubicBezTo>
                <a:cubicBezTo>
                  <a:pt x="886" y="583"/>
                  <a:pt x="888" y="586"/>
                  <a:pt x="892" y="589"/>
                </a:cubicBezTo>
                <a:cubicBezTo>
                  <a:pt x="896" y="592"/>
                  <a:pt x="898" y="595"/>
                  <a:pt x="898" y="597"/>
                </a:cubicBezTo>
                <a:cubicBezTo>
                  <a:pt x="899" y="597"/>
                  <a:pt x="901" y="597"/>
                  <a:pt x="903" y="596"/>
                </a:cubicBezTo>
                <a:cubicBezTo>
                  <a:pt x="903" y="598"/>
                  <a:pt x="904" y="601"/>
                  <a:pt x="907" y="605"/>
                </a:cubicBezTo>
                <a:cubicBezTo>
                  <a:pt x="909" y="606"/>
                  <a:pt x="911" y="609"/>
                  <a:pt x="914" y="612"/>
                </a:cubicBezTo>
                <a:cubicBezTo>
                  <a:pt x="912" y="614"/>
                  <a:pt x="909" y="617"/>
                  <a:pt x="906" y="622"/>
                </a:cubicBezTo>
                <a:cubicBezTo>
                  <a:pt x="903" y="628"/>
                  <a:pt x="901" y="632"/>
                  <a:pt x="901" y="635"/>
                </a:cubicBezTo>
                <a:cubicBezTo>
                  <a:pt x="900" y="638"/>
                  <a:pt x="903" y="642"/>
                  <a:pt x="909" y="644"/>
                </a:cubicBezTo>
                <a:cubicBezTo>
                  <a:pt x="913" y="646"/>
                  <a:pt x="917" y="647"/>
                  <a:pt x="921" y="647"/>
                </a:cubicBezTo>
                <a:cubicBezTo>
                  <a:pt x="921" y="647"/>
                  <a:pt x="920" y="646"/>
                  <a:pt x="920" y="646"/>
                </a:cubicBezTo>
                <a:lnTo>
                  <a:pt x="919" y="646"/>
                </a:lnTo>
                <a:cubicBezTo>
                  <a:pt x="927" y="638"/>
                  <a:pt x="931" y="634"/>
                  <a:pt x="931" y="634"/>
                </a:cubicBezTo>
                <a:cubicBezTo>
                  <a:pt x="929" y="631"/>
                  <a:pt x="929" y="628"/>
                  <a:pt x="929" y="627"/>
                </a:cubicBezTo>
                <a:cubicBezTo>
                  <a:pt x="935" y="617"/>
                  <a:pt x="937" y="612"/>
                  <a:pt x="937" y="612"/>
                </a:cubicBezTo>
                <a:cubicBezTo>
                  <a:pt x="934" y="598"/>
                  <a:pt x="932" y="589"/>
                  <a:pt x="931" y="585"/>
                </a:cubicBezTo>
                <a:lnTo>
                  <a:pt x="931" y="585"/>
                </a:lnTo>
                <a:close/>
                <a:moveTo>
                  <a:pt x="944" y="738"/>
                </a:moveTo>
                <a:lnTo>
                  <a:pt x="944" y="738"/>
                </a:lnTo>
                <a:cubicBezTo>
                  <a:pt x="942" y="739"/>
                  <a:pt x="940" y="741"/>
                  <a:pt x="938" y="745"/>
                </a:cubicBezTo>
                <a:cubicBezTo>
                  <a:pt x="938" y="746"/>
                  <a:pt x="936" y="751"/>
                  <a:pt x="932" y="761"/>
                </a:cubicBezTo>
                <a:cubicBezTo>
                  <a:pt x="931" y="764"/>
                  <a:pt x="933" y="766"/>
                  <a:pt x="937" y="766"/>
                </a:cubicBezTo>
                <a:cubicBezTo>
                  <a:pt x="941" y="766"/>
                  <a:pt x="942" y="765"/>
                  <a:pt x="943" y="762"/>
                </a:cubicBezTo>
                <a:cubicBezTo>
                  <a:pt x="944" y="758"/>
                  <a:pt x="945" y="755"/>
                  <a:pt x="947" y="755"/>
                </a:cubicBezTo>
                <a:cubicBezTo>
                  <a:pt x="954" y="752"/>
                  <a:pt x="959" y="750"/>
                  <a:pt x="960" y="748"/>
                </a:cubicBezTo>
                <a:cubicBezTo>
                  <a:pt x="970" y="738"/>
                  <a:pt x="976" y="730"/>
                  <a:pt x="980" y="724"/>
                </a:cubicBezTo>
                <a:cubicBezTo>
                  <a:pt x="979" y="724"/>
                  <a:pt x="979" y="725"/>
                  <a:pt x="978" y="725"/>
                </a:cubicBezTo>
                <a:cubicBezTo>
                  <a:pt x="978" y="725"/>
                  <a:pt x="977" y="726"/>
                  <a:pt x="977" y="726"/>
                </a:cubicBezTo>
                <a:cubicBezTo>
                  <a:pt x="976" y="726"/>
                  <a:pt x="975" y="727"/>
                  <a:pt x="974" y="728"/>
                </a:cubicBezTo>
                <a:cubicBezTo>
                  <a:pt x="971" y="730"/>
                  <a:pt x="969" y="732"/>
                  <a:pt x="967" y="732"/>
                </a:cubicBezTo>
                <a:cubicBezTo>
                  <a:pt x="962" y="733"/>
                  <a:pt x="957" y="734"/>
                  <a:pt x="951" y="735"/>
                </a:cubicBezTo>
                <a:cubicBezTo>
                  <a:pt x="947" y="736"/>
                  <a:pt x="945" y="737"/>
                  <a:pt x="944" y="738"/>
                </a:cubicBezTo>
                <a:lnTo>
                  <a:pt x="944" y="738"/>
                </a:lnTo>
                <a:close/>
                <a:moveTo>
                  <a:pt x="854" y="792"/>
                </a:moveTo>
                <a:lnTo>
                  <a:pt x="854" y="792"/>
                </a:lnTo>
                <a:cubicBezTo>
                  <a:pt x="855" y="790"/>
                  <a:pt x="854" y="788"/>
                  <a:pt x="853" y="786"/>
                </a:cubicBezTo>
                <a:cubicBezTo>
                  <a:pt x="852" y="785"/>
                  <a:pt x="851" y="784"/>
                  <a:pt x="850" y="784"/>
                </a:cubicBezTo>
                <a:cubicBezTo>
                  <a:pt x="850" y="784"/>
                  <a:pt x="849" y="784"/>
                  <a:pt x="849" y="784"/>
                </a:cubicBezTo>
                <a:cubicBezTo>
                  <a:pt x="845" y="786"/>
                  <a:pt x="843" y="786"/>
                  <a:pt x="842" y="787"/>
                </a:cubicBezTo>
                <a:cubicBezTo>
                  <a:pt x="839" y="787"/>
                  <a:pt x="837" y="788"/>
                  <a:pt x="837" y="790"/>
                </a:cubicBezTo>
                <a:cubicBezTo>
                  <a:pt x="837" y="792"/>
                  <a:pt x="837" y="794"/>
                  <a:pt x="839" y="795"/>
                </a:cubicBezTo>
                <a:cubicBezTo>
                  <a:pt x="841" y="797"/>
                  <a:pt x="842" y="797"/>
                  <a:pt x="844" y="798"/>
                </a:cubicBezTo>
                <a:cubicBezTo>
                  <a:pt x="845" y="798"/>
                  <a:pt x="847" y="797"/>
                  <a:pt x="850" y="796"/>
                </a:cubicBezTo>
                <a:cubicBezTo>
                  <a:pt x="853" y="795"/>
                  <a:pt x="854" y="793"/>
                  <a:pt x="854" y="792"/>
                </a:cubicBezTo>
                <a:lnTo>
                  <a:pt x="854" y="792"/>
                </a:lnTo>
                <a:close/>
                <a:moveTo>
                  <a:pt x="825" y="772"/>
                </a:moveTo>
                <a:lnTo>
                  <a:pt x="825" y="772"/>
                </a:lnTo>
                <a:cubicBezTo>
                  <a:pt x="825" y="771"/>
                  <a:pt x="824" y="768"/>
                  <a:pt x="821" y="765"/>
                </a:cubicBezTo>
                <a:cubicBezTo>
                  <a:pt x="819" y="761"/>
                  <a:pt x="816" y="759"/>
                  <a:pt x="813" y="759"/>
                </a:cubicBezTo>
                <a:cubicBezTo>
                  <a:pt x="809" y="759"/>
                  <a:pt x="803" y="757"/>
                  <a:pt x="793" y="754"/>
                </a:cubicBezTo>
                <a:lnTo>
                  <a:pt x="792" y="753"/>
                </a:lnTo>
                <a:lnTo>
                  <a:pt x="790" y="753"/>
                </a:lnTo>
                <a:cubicBezTo>
                  <a:pt x="789" y="753"/>
                  <a:pt x="788" y="754"/>
                  <a:pt x="787" y="755"/>
                </a:cubicBezTo>
                <a:cubicBezTo>
                  <a:pt x="787" y="755"/>
                  <a:pt x="787" y="755"/>
                  <a:pt x="787" y="756"/>
                </a:cubicBezTo>
                <a:cubicBezTo>
                  <a:pt x="786" y="760"/>
                  <a:pt x="790" y="764"/>
                  <a:pt x="798" y="770"/>
                </a:cubicBezTo>
                <a:cubicBezTo>
                  <a:pt x="805" y="775"/>
                  <a:pt x="812" y="778"/>
                  <a:pt x="817" y="778"/>
                </a:cubicBezTo>
                <a:cubicBezTo>
                  <a:pt x="822" y="779"/>
                  <a:pt x="825" y="777"/>
                  <a:pt x="825" y="772"/>
                </a:cubicBezTo>
                <a:lnTo>
                  <a:pt x="825" y="772"/>
                </a:lnTo>
                <a:close/>
                <a:moveTo>
                  <a:pt x="837" y="873"/>
                </a:moveTo>
                <a:lnTo>
                  <a:pt x="837" y="873"/>
                </a:lnTo>
                <a:cubicBezTo>
                  <a:pt x="837" y="871"/>
                  <a:pt x="838" y="868"/>
                  <a:pt x="838" y="861"/>
                </a:cubicBezTo>
                <a:cubicBezTo>
                  <a:pt x="839" y="854"/>
                  <a:pt x="838" y="849"/>
                  <a:pt x="835" y="848"/>
                </a:cubicBezTo>
                <a:cubicBezTo>
                  <a:pt x="833" y="849"/>
                  <a:pt x="831" y="850"/>
                  <a:pt x="828" y="851"/>
                </a:cubicBezTo>
                <a:cubicBezTo>
                  <a:pt x="825" y="852"/>
                  <a:pt x="824" y="853"/>
                  <a:pt x="823" y="854"/>
                </a:cubicBezTo>
                <a:cubicBezTo>
                  <a:pt x="822" y="856"/>
                  <a:pt x="822" y="858"/>
                  <a:pt x="821" y="861"/>
                </a:cubicBezTo>
                <a:cubicBezTo>
                  <a:pt x="820" y="861"/>
                  <a:pt x="820" y="862"/>
                  <a:pt x="818" y="863"/>
                </a:cubicBezTo>
                <a:cubicBezTo>
                  <a:pt x="817" y="864"/>
                  <a:pt x="817" y="865"/>
                  <a:pt x="817" y="866"/>
                </a:cubicBezTo>
                <a:cubicBezTo>
                  <a:pt x="816" y="868"/>
                  <a:pt x="817" y="869"/>
                  <a:pt x="817" y="870"/>
                </a:cubicBezTo>
                <a:cubicBezTo>
                  <a:pt x="818" y="871"/>
                  <a:pt x="819" y="873"/>
                  <a:pt x="820" y="874"/>
                </a:cubicBezTo>
                <a:cubicBezTo>
                  <a:pt x="822" y="876"/>
                  <a:pt x="825" y="877"/>
                  <a:pt x="827" y="877"/>
                </a:cubicBezTo>
                <a:cubicBezTo>
                  <a:pt x="832" y="878"/>
                  <a:pt x="835" y="876"/>
                  <a:pt x="837" y="873"/>
                </a:cubicBezTo>
                <a:lnTo>
                  <a:pt x="837" y="873"/>
                </a:lnTo>
                <a:close/>
                <a:moveTo>
                  <a:pt x="882" y="871"/>
                </a:moveTo>
                <a:lnTo>
                  <a:pt x="882" y="871"/>
                </a:lnTo>
                <a:cubicBezTo>
                  <a:pt x="884" y="867"/>
                  <a:pt x="885" y="860"/>
                  <a:pt x="886" y="850"/>
                </a:cubicBezTo>
                <a:cubicBezTo>
                  <a:pt x="887" y="847"/>
                  <a:pt x="885" y="844"/>
                  <a:pt x="883" y="842"/>
                </a:cubicBezTo>
                <a:cubicBezTo>
                  <a:pt x="881" y="840"/>
                  <a:pt x="880" y="838"/>
                  <a:pt x="878" y="837"/>
                </a:cubicBezTo>
                <a:cubicBezTo>
                  <a:pt x="877" y="836"/>
                  <a:pt x="877" y="836"/>
                  <a:pt x="876" y="836"/>
                </a:cubicBezTo>
                <a:cubicBezTo>
                  <a:pt x="876" y="835"/>
                  <a:pt x="875" y="835"/>
                  <a:pt x="875" y="835"/>
                </a:cubicBezTo>
                <a:cubicBezTo>
                  <a:pt x="872" y="835"/>
                  <a:pt x="870" y="837"/>
                  <a:pt x="869" y="840"/>
                </a:cubicBezTo>
                <a:cubicBezTo>
                  <a:pt x="867" y="843"/>
                  <a:pt x="866" y="845"/>
                  <a:pt x="864" y="846"/>
                </a:cubicBezTo>
                <a:cubicBezTo>
                  <a:pt x="856" y="850"/>
                  <a:pt x="852" y="854"/>
                  <a:pt x="851" y="858"/>
                </a:cubicBezTo>
                <a:cubicBezTo>
                  <a:pt x="851" y="859"/>
                  <a:pt x="854" y="863"/>
                  <a:pt x="859" y="870"/>
                </a:cubicBezTo>
                <a:cubicBezTo>
                  <a:pt x="860" y="871"/>
                  <a:pt x="861" y="873"/>
                  <a:pt x="862" y="877"/>
                </a:cubicBezTo>
                <a:cubicBezTo>
                  <a:pt x="864" y="880"/>
                  <a:pt x="865" y="882"/>
                  <a:pt x="867" y="883"/>
                </a:cubicBezTo>
                <a:cubicBezTo>
                  <a:pt x="869" y="883"/>
                  <a:pt x="872" y="881"/>
                  <a:pt x="876" y="878"/>
                </a:cubicBezTo>
                <a:cubicBezTo>
                  <a:pt x="880" y="874"/>
                  <a:pt x="882" y="872"/>
                  <a:pt x="882" y="871"/>
                </a:cubicBezTo>
                <a:lnTo>
                  <a:pt x="882" y="871"/>
                </a:lnTo>
                <a:close/>
                <a:moveTo>
                  <a:pt x="921" y="847"/>
                </a:moveTo>
                <a:lnTo>
                  <a:pt x="921" y="847"/>
                </a:lnTo>
                <a:cubicBezTo>
                  <a:pt x="920" y="846"/>
                  <a:pt x="920" y="846"/>
                  <a:pt x="920" y="845"/>
                </a:cubicBezTo>
                <a:lnTo>
                  <a:pt x="920" y="845"/>
                </a:lnTo>
                <a:cubicBezTo>
                  <a:pt x="920" y="845"/>
                  <a:pt x="920" y="845"/>
                  <a:pt x="920" y="845"/>
                </a:cubicBezTo>
                <a:cubicBezTo>
                  <a:pt x="919" y="844"/>
                  <a:pt x="917" y="844"/>
                  <a:pt x="916" y="844"/>
                </a:cubicBezTo>
                <a:cubicBezTo>
                  <a:pt x="914" y="844"/>
                  <a:pt x="913" y="844"/>
                  <a:pt x="912" y="844"/>
                </a:cubicBezTo>
                <a:cubicBezTo>
                  <a:pt x="916" y="846"/>
                  <a:pt x="919" y="848"/>
                  <a:pt x="919" y="848"/>
                </a:cubicBezTo>
                <a:cubicBezTo>
                  <a:pt x="919" y="848"/>
                  <a:pt x="920" y="847"/>
                  <a:pt x="921" y="847"/>
                </a:cubicBezTo>
                <a:lnTo>
                  <a:pt x="921" y="847"/>
                </a:lnTo>
                <a:close/>
                <a:moveTo>
                  <a:pt x="781" y="751"/>
                </a:moveTo>
                <a:lnTo>
                  <a:pt x="781" y="751"/>
                </a:lnTo>
                <a:cubicBezTo>
                  <a:pt x="783" y="747"/>
                  <a:pt x="784" y="744"/>
                  <a:pt x="785" y="741"/>
                </a:cubicBezTo>
                <a:cubicBezTo>
                  <a:pt x="785" y="740"/>
                  <a:pt x="783" y="737"/>
                  <a:pt x="779" y="731"/>
                </a:cubicBezTo>
                <a:cubicBezTo>
                  <a:pt x="776" y="725"/>
                  <a:pt x="775" y="722"/>
                  <a:pt x="777" y="721"/>
                </a:cubicBezTo>
                <a:lnTo>
                  <a:pt x="777" y="717"/>
                </a:lnTo>
                <a:cubicBezTo>
                  <a:pt x="772" y="718"/>
                  <a:pt x="766" y="716"/>
                  <a:pt x="760" y="712"/>
                </a:cubicBezTo>
                <a:cubicBezTo>
                  <a:pt x="755" y="708"/>
                  <a:pt x="752" y="705"/>
                  <a:pt x="750" y="704"/>
                </a:cubicBezTo>
                <a:cubicBezTo>
                  <a:pt x="747" y="703"/>
                  <a:pt x="744" y="703"/>
                  <a:pt x="741" y="705"/>
                </a:cubicBezTo>
                <a:cubicBezTo>
                  <a:pt x="739" y="706"/>
                  <a:pt x="737" y="709"/>
                  <a:pt x="737" y="712"/>
                </a:cubicBezTo>
                <a:cubicBezTo>
                  <a:pt x="736" y="717"/>
                  <a:pt x="739" y="721"/>
                  <a:pt x="744" y="724"/>
                </a:cubicBezTo>
                <a:cubicBezTo>
                  <a:pt x="744" y="724"/>
                  <a:pt x="747" y="725"/>
                  <a:pt x="752" y="726"/>
                </a:cubicBezTo>
                <a:cubicBezTo>
                  <a:pt x="754" y="727"/>
                  <a:pt x="756" y="728"/>
                  <a:pt x="757" y="730"/>
                </a:cubicBezTo>
                <a:cubicBezTo>
                  <a:pt x="758" y="735"/>
                  <a:pt x="766" y="742"/>
                  <a:pt x="778" y="751"/>
                </a:cubicBezTo>
                <a:lnTo>
                  <a:pt x="781" y="751"/>
                </a:lnTo>
                <a:lnTo>
                  <a:pt x="781" y="751"/>
                </a:lnTo>
                <a:close/>
                <a:moveTo>
                  <a:pt x="699" y="766"/>
                </a:moveTo>
                <a:lnTo>
                  <a:pt x="699" y="766"/>
                </a:lnTo>
                <a:cubicBezTo>
                  <a:pt x="699" y="766"/>
                  <a:pt x="698" y="766"/>
                  <a:pt x="698" y="766"/>
                </a:cubicBezTo>
                <a:cubicBezTo>
                  <a:pt x="697" y="766"/>
                  <a:pt x="697" y="765"/>
                  <a:pt x="696" y="765"/>
                </a:cubicBezTo>
                <a:cubicBezTo>
                  <a:pt x="696" y="765"/>
                  <a:pt x="695" y="765"/>
                  <a:pt x="694" y="765"/>
                </a:cubicBezTo>
                <a:cubicBezTo>
                  <a:pt x="692" y="764"/>
                  <a:pt x="691" y="767"/>
                  <a:pt x="689" y="772"/>
                </a:cubicBezTo>
                <a:cubicBezTo>
                  <a:pt x="688" y="774"/>
                  <a:pt x="687" y="777"/>
                  <a:pt x="686" y="779"/>
                </a:cubicBezTo>
                <a:cubicBezTo>
                  <a:pt x="686" y="780"/>
                  <a:pt x="686" y="782"/>
                  <a:pt x="687" y="785"/>
                </a:cubicBezTo>
                <a:cubicBezTo>
                  <a:pt x="688" y="789"/>
                  <a:pt x="689" y="790"/>
                  <a:pt x="690" y="790"/>
                </a:cubicBezTo>
                <a:cubicBezTo>
                  <a:pt x="692" y="790"/>
                  <a:pt x="694" y="788"/>
                  <a:pt x="697" y="782"/>
                </a:cubicBezTo>
                <a:cubicBezTo>
                  <a:pt x="700" y="778"/>
                  <a:pt x="701" y="774"/>
                  <a:pt x="701" y="772"/>
                </a:cubicBezTo>
                <a:cubicBezTo>
                  <a:pt x="701" y="770"/>
                  <a:pt x="701" y="768"/>
                  <a:pt x="700" y="767"/>
                </a:cubicBezTo>
                <a:cubicBezTo>
                  <a:pt x="700" y="767"/>
                  <a:pt x="700" y="767"/>
                  <a:pt x="699" y="766"/>
                </a:cubicBezTo>
                <a:lnTo>
                  <a:pt x="699" y="766"/>
                </a:lnTo>
                <a:close/>
                <a:moveTo>
                  <a:pt x="711" y="824"/>
                </a:moveTo>
                <a:lnTo>
                  <a:pt x="711" y="824"/>
                </a:lnTo>
                <a:cubicBezTo>
                  <a:pt x="713" y="824"/>
                  <a:pt x="714" y="824"/>
                  <a:pt x="714" y="823"/>
                </a:cubicBezTo>
                <a:cubicBezTo>
                  <a:pt x="714" y="822"/>
                  <a:pt x="715" y="821"/>
                  <a:pt x="715" y="819"/>
                </a:cubicBezTo>
                <a:cubicBezTo>
                  <a:pt x="715" y="816"/>
                  <a:pt x="714" y="810"/>
                  <a:pt x="711" y="802"/>
                </a:cubicBezTo>
                <a:cubicBezTo>
                  <a:pt x="710" y="801"/>
                  <a:pt x="709" y="801"/>
                  <a:pt x="707" y="801"/>
                </a:cubicBezTo>
                <a:cubicBezTo>
                  <a:pt x="705" y="800"/>
                  <a:pt x="703" y="803"/>
                  <a:pt x="703" y="807"/>
                </a:cubicBezTo>
                <a:cubicBezTo>
                  <a:pt x="703" y="810"/>
                  <a:pt x="703" y="813"/>
                  <a:pt x="705" y="817"/>
                </a:cubicBezTo>
                <a:cubicBezTo>
                  <a:pt x="706" y="822"/>
                  <a:pt x="708" y="824"/>
                  <a:pt x="711" y="824"/>
                </a:cubicBezTo>
                <a:lnTo>
                  <a:pt x="711" y="824"/>
                </a:lnTo>
                <a:close/>
                <a:moveTo>
                  <a:pt x="779" y="812"/>
                </a:moveTo>
                <a:lnTo>
                  <a:pt x="779" y="812"/>
                </a:lnTo>
                <a:cubicBezTo>
                  <a:pt x="780" y="812"/>
                  <a:pt x="782" y="811"/>
                  <a:pt x="783" y="810"/>
                </a:cubicBezTo>
                <a:cubicBezTo>
                  <a:pt x="784" y="808"/>
                  <a:pt x="785" y="807"/>
                  <a:pt x="785" y="806"/>
                </a:cubicBezTo>
                <a:cubicBezTo>
                  <a:pt x="785" y="805"/>
                  <a:pt x="785" y="804"/>
                  <a:pt x="784" y="801"/>
                </a:cubicBezTo>
                <a:cubicBezTo>
                  <a:pt x="783" y="799"/>
                  <a:pt x="782" y="797"/>
                  <a:pt x="783" y="794"/>
                </a:cubicBezTo>
                <a:cubicBezTo>
                  <a:pt x="783" y="790"/>
                  <a:pt x="782" y="789"/>
                  <a:pt x="779" y="788"/>
                </a:cubicBezTo>
                <a:cubicBezTo>
                  <a:pt x="777" y="789"/>
                  <a:pt x="776" y="789"/>
                  <a:pt x="776" y="789"/>
                </a:cubicBezTo>
                <a:cubicBezTo>
                  <a:pt x="776" y="789"/>
                  <a:pt x="775" y="789"/>
                  <a:pt x="775" y="789"/>
                </a:cubicBezTo>
                <a:cubicBezTo>
                  <a:pt x="775" y="790"/>
                  <a:pt x="775" y="790"/>
                  <a:pt x="777" y="789"/>
                </a:cubicBezTo>
                <a:cubicBezTo>
                  <a:pt x="777" y="792"/>
                  <a:pt x="776" y="794"/>
                  <a:pt x="775" y="797"/>
                </a:cubicBezTo>
                <a:cubicBezTo>
                  <a:pt x="774" y="801"/>
                  <a:pt x="773" y="803"/>
                  <a:pt x="772" y="803"/>
                </a:cubicBezTo>
                <a:cubicBezTo>
                  <a:pt x="773" y="805"/>
                  <a:pt x="774" y="806"/>
                  <a:pt x="775" y="809"/>
                </a:cubicBezTo>
                <a:cubicBezTo>
                  <a:pt x="776" y="811"/>
                  <a:pt x="778" y="812"/>
                  <a:pt x="779" y="812"/>
                </a:cubicBezTo>
                <a:lnTo>
                  <a:pt x="779" y="812"/>
                </a:lnTo>
                <a:close/>
                <a:moveTo>
                  <a:pt x="762" y="900"/>
                </a:moveTo>
                <a:lnTo>
                  <a:pt x="762" y="900"/>
                </a:lnTo>
                <a:cubicBezTo>
                  <a:pt x="765" y="895"/>
                  <a:pt x="767" y="892"/>
                  <a:pt x="767" y="891"/>
                </a:cubicBezTo>
                <a:cubicBezTo>
                  <a:pt x="767" y="889"/>
                  <a:pt x="766" y="887"/>
                  <a:pt x="764" y="885"/>
                </a:cubicBezTo>
                <a:cubicBezTo>
                  <a:pt x="762" y="883"/>
                  <a:pt x="760" y="882"/>
                  <a:pt x="757" y="882"/>
                </a:cubicBezTo>
                <a:cubicBezTo>
                  <a:pt x="755" y="882"/>
                  <a:pt x="754" y="882"/>
                  <a:pt x="753" y="882"/>
                </a:cubicBezTo>
                <a:cubicBezTo>
                  <a:pt x="753" y="883"/>
                  <a:pt x="755" y="887"/>
                  <a:pt x="757" y="892"/>
                </a:cubicBezTo>
                <a:cubicBezTo>
                  <a:pt x="758" y="895"/>
                  <a:pt x="760" y="898"/>
                  <a:pt x="762" y="900"/>
                </a:cubicBezTo>
                <a:lnTo>
                  <a:pt x="762" y="900"/>
                </a:lnTo>
                <a:close/>
                <a:moveTo>
                  <a:pt x="720" y="862"/>
                </a:moveTo>
                <a:lnTo>
                  <a:pt x="720" y="862"/>
                </a:lnTo>
                <a:cubicBezTo>
                  <a:pt x="722" y="863"/>
                  <a:pt x="724" y="864"/>
                  <a:pt x="725" y="864"/>
                </a:cubicBezTo>
                <a:cubicBezTo>
                  <a:pt x="728" y="864"/>
                  <a:pt x="730" y="863"/>
                  <a:pt x="730" y="860"/>
                </a:cubicBezTo>
                <a:cubicBezTo>
                  <a:pt x="730" y="858"/>
                  <a:pt x="729" y="856"/>
                  <a:pt x="727" y="854"/>
                </a:cubicBezTo>
                <a:cubicBezTo>
                  <a:pt x="726" y="853"/>
                  <a:pt x="725" y="853"/>
                  <a:pt x="724" y="852"/>
                </a:cubicBezTo>
                <a:lnTo>
                  <a:pt x="723" y="851"/>
                </a:lnTo>
                <a:lnTo>
                  <a:pt x="723" y="851"/>
                </a:lnTo>
                <a:lnTo>
                  <a:pt x="722" y="851"/>
                </a:lnTo>
                <a:cubicBezTo>
                  <a:pt x="718" y="853"/>
                  <a:pt x="716" y="855"/>
                  <a:pt x="716" y="857"/>
                </a:cubicBezTo>
                <a:cubicBezTo>
                  <a:pt x="716" y="858"/>
                  <a:pt x="717" y="860"/>
                  <a:pt x="720" y="862"/>
                </a:cubicBezTo>
                <a:lnTo>
                  <a:pt x="720" y="862"/>
                </a:lnTo>
                <a:close/>
                <a:moveTo>
                  <a:pt x="743" y="920"/>
                </a:moveTo>
                <a:lnTo>
                  <a:pt x="743" y="920"/>
                </a:lnTo>
                <a:cubicBezTo>
                  <a:pt x="743" y="917"/>
                  <a:pt x="743" y="916"/>
                  <a:pt x="743" y="916"/>
                </a:cubicBezTo>
                <a:cubicBezTo>
                  <a:pt x="743" y="915"/>
                  <a:pt x="742" y="915"/>
                  <a:pt x="741" y="915"/>
                </a:cubicBezTo>
                <a:cubicBezTo>
                  <a:pt x="741" y="915"/>
                  <a:pt x="738" y="915"/>
                  <a:pt x="736" y="916"/>
                </a:cubicBezTo>
                <a:cubicBezTo>
                  <a:pt x="736" y="917"/>
                  <a:pt x="737" y="920"/>
                  <a:pt x="738" y="925"/>
                </a:cubicBezTo>
                <a:cubicBezTo>
                  <a:pt x="741" y="923"/>
                  <a:pt x="742" y="921"/>
                  <a:pt x="743" y="920"/>
                </a:cubicBezTo>
                <a:lnTo>
                  <a:pt x="743" y="920"/>
                </a:lnTo>
                <a:lnTo>
                  <a:pt x="743" y="920"/>
                </a:lnTo>
                <a:close/>
                <a:moveTo>
                  <a:pt x="741" y="933"/>
                </a:moveTo>
                <a:lnTo>
                  <a:pt x="741" y="933"/>
                </a:lnTo>
                <a:cubicBezTo>
                  <a:pt x="740" y="932"/>
                  <a:pt x="739" y="932"/>
                  <a:pt x="739" y="932"/>
                </a:cubicBezTo>
                <a:lnTo>
                  <a:pt x="737" y="932"/>
                </a:lnTo>
                <a:lnTo>
                  <a:pt x="736" y="931"/>
                </a:lnTo>
                <a:cubicBezTo>
                  <a:pt x="735" y="931"/>
                  <a:pt x="734" y="932"/>
                  <a:pt x="734" y="935"/>
                </a:cubicBezTo>
                <a:lnTo>
                  <a:pt x="729" y="936"/>
                </a:lnTo>
                <a:cubicBezTo>
                  <a:pt x="727" y="936"/>
                  <a:pt x="725" y="935"/>
                  <a:pt x="724" y="935"/>
                </a:cubicBezTo>
                <a:cubicBezTo>
                  <a:pt x="723" y="935"/>
                  <a:pt x="722" y="935"/>
                  <a:pt x="722" y="936"/>
                </a:cubicBezTo>
                <a:cubicBezTo>
                  <a:pt x="722" y="937"/>
                  <a:pt x="723" y="937"/>
                  <a:pt x="723" y="938"/>
                </a:cubicBezTo>
                <a:cubicBezTo>
                  <a:pt x="723" y="938"/>
                  <a:pt x="724" y="939"/>
                  <a:pt x="725" y="939"/>
                </a:cubicBezTo>
                <a:cubicBezTo>
                  <a:pt x="728" y="940"/>
                  <a:pt x="729" y="941"/>
                  <a:pt x="729" y="942"/>
                </a:cubicBezTo>
                <a:cubicBezTo>
                  <a:pt x="729" y="943"/>
                  <a:pt x="727" y="944"/>
                  <a:pt x="725" y="943"/>
                </a:cubicBezTo>
                <a:cubicBezTo>
                  <a:pt x="723" y="943"/>
                  <a:pt x="722" y="942"/>
                  <a:pt x="722" y="940"/>
                </a:cubicBezTo>
                <a:cubicBezTo>
                  <a:pt x="722" y="940"/>
                  <a:pt x="721" y="939"/>
                  <a:pt x="721" y="939"/>
                </a:cubicBezTo>
                <a:cubicBezTo>
                  <a:pt x="721" y="938"/>
                  <a:pt x="720" y="937"/>
                  <a:pt x="719" y="937"/>
                </a:cubicBezTo>
                <a:cubicBezTo>
                  <a:pt x="717" y="937"/>
                  <a:pt x="716" y="937"/>
                  <a:pt x="714" y="938"/>
                </a:cubicBezTo>
                <a:cubicBezTo>
                  <a:pt x="712" y="937"/>
                  <a:pt x="711" y="938"/>
                  <a:pt x="711" y="939"/>
                </a:cubicBezTo>
                <a:lnTo>
                  <a:pt x="711" y="947"/>
                </a:lnTo>
                <a:cubicBezTo>
                  <a:pt x="711" y="948"/>
                  <a:pt x="711" y="949"/>
                  <a:pt x="711" y="951"/>
                </a:cubicBezTo>
                <a:cubicBezTo>
                  <a:pt x="711" y="952"/>
                  <a:pt x="712" y="952"/>
                  <a:pt x="714" y="952"/>
                </a:cubicBezTo>
                <a:cubicBezTo>
                  <a:pt x="716" y="952"/>
                  <a:pt x="717" y="952"/>
                  <a:pt x="717" y="952"/>
                </a:cubicBezTo>
                <a:cubicBezTo>
                  <a:pt x="719" y="950"/>
                  <a:pt x="720" y="949"/>
                  <a:pt x="721" y="949"/>
                </a:cubicBezTo>
                <a:cubicBezTo>
                  <a:pt x="722" y="948"/>
                  <a:pt x="724" y="948"/>
                  <a:pt x="728" y="947"/>
                </a:cubicBezTo>
                <a:cubicBezTo>
                  <a:pt x="735" y="945"/>
                  <a:pt x="738" y="944"/>
                  <a:pt x="738" y="941"/>
                </a:cubicBezTo>
                <a:lnTo>
                  <a:pt x="738" y="940"/>
                </a:lnTo>
                <a:lnTo>
                  <a:pt x="739" y="938"/>
                </a:lnTo>
                <a:cubicBezTo>
                  <a:pt x="740" y="936"/>
                  <a:pt x="741" y="934"/>
                  <a:pt x="741" y="933"/>
                </a:cubicBezTo>
                <a:lnTo>
                  <a:pt x="741" y="933"/>
                </a:lnTo>
                <a:close/>
                <a:moveTo>
                  <a:pt x="798" y="946"/>
                </a:moveTo>
                <a:lnTo>
                  <a:pt x="798" y="946"/>
                </a:lnTo>
                <a:cubicBezTo>
                  <a:pt x="797" y="945"/>
                  <a:pt x="797" y="945"/>
                  <a:pt x="797" y="945"/>
                </a:cubicBezTo>
                <a:cubicBezTo>
                  <a:pt x="795" y="944"/>
                  <a:pt x="794" y="944"/>
                  <a:pt x="793" y="944"/>
                </a:cubicBezTo>
                <a:cubicBezTo>
                  <a:pt x="791" y="944"/>
                  <a:pt x="790" y="944"/>
                  <a:pt x="789" y="944"/>
                </a:cubicBezTo>
                <a:cubicBezTo>
                  <a:pt x="792" y="949"/>
                  <a:pt x="796" y="952"/>
                  <a:pt x="801" y="954"/>
                </a:cubicBezTo>
                <a:cubicBezTo>
                  <a:pt x="801" y="953"/>
                  <a:pt x="802" y="953"/>
                  <a:pt x="802" y="952"/>
                </a:cubicBezTo>
                <a:cubicBezTo>
                  <a:pt x="802" y="952"/>
                  <a:pt x="801" y="951"/>
                  <a:pt x="800" y="949"/>
                </a:cubicBezTo>
                <a:cubicBezTo>
                  <a:pt x="800" y="948"/>
                  <a:pt x="799" y="946"/>
                  <a:pt x="798" y="946"/>
                </a:cubicBezTo>
                <a:lnTo>
                  <a:pt x="798" y="946"/>
                </a:lnTo>
                <a:close/>
                <a:moveTo>
                  <a:pt x="751" y="924"/>
                </a:moveTo>
                <a:lnTo>
                  <a:pt x="751" y="924"/>
                </a:lnTo>
                <a:cubicBezTo>
                  <a:pt x="751" y="924"/>
                  <a:pt x="750" y="924"/>
                  <a:pt x="750" y="924"/>
                </a:cubicBezTo>
                <a:cubicBezTo>
                  <a:pt x="750" y="925"/>
                  <a:pt x="750" y="926"/>
                  <a:pt x="750" y="926"/>
                </a:cubicBezTo>
                <a:cubicBezTo>
                  <a:pt x="750" y="927"/>
                  <a:pt x="750" y="927"/>
                  <a:pt x="751" y="928"/>
                </a:cubicBezTo>
                <a:cubicBezTo>
                  <a:pt x="752" y="928"/>
                  <a:pt x="753" y="929"/>
                  <a:pt x="755" y="929"/>
                </a:cubicBezTo>
                <a:cubicBezTo>
                  <a:pt x="755" y="929"/>
                  <a:pt x="755" y="928"/>
                  <a:pt x="755" y="927"/>
                </a:cubicBezTo>
                <a:cubicBezTo>
                  <a:pt x="756" y="926"/>
                  <a:pt x="755" y="924"/>
                  <a:pt x="754" y="924"/>
                </a:cubicBezTo>
                <a:lnTo>
                  <a:pt x="751" y="924"/>
                </a:lnTo>
                <a:lnTo>
                  <a:pt x="751" y="924"/>
                </a:lnTo>
                <a:close/>
                <a:moveTo>
                  <a:pt x="953" y="875"/>
                </a:moveTo>
                <a:lnTo>
                  <a:pt x="953" y="875"/>
                </a:lnTo>
                <a:cubicBezTo>
                  <a:pt x="953" y="874"/>
                  <a:pt x="952" y="874"/>
                  <a:pt x="950" y="874"/>
                </a:cubicBezTo>
                <a:cubicBezTo>
                  <a:pt x="949" y="874"/>
                  <a:pt x="947" y="876"/>
                  <a:pt x="944" y="880"/>
                </a:cubicBezTo>
                <a:cubicBezTo>
                  <a:pt x="939" y="885"/>
                  <a:pt x="933" y="890"/>
                  <a:pt x="926" y="893"/>
                </a:cubicBezTo>
                <a:cubicBezTo>
                  <a:pt x="926" y="893"/>
                  <a:pt x="926" y="894"/>
                  <a:pt x="927" y="895"/>
                </a:cubicBezTo>
                <a:cubicBezTo>
                  <a:pt x="927" y="896"/>
                  <a:pt x="928" y="897"/>
                  <a:pt x="928" y="897"/>
                </a:cubicBezTo>
                <a:cubicBezTo>
                  <a:pt x="927" y="898"/>
                  <a:pt x="924" y="899"/>
                  <a:pt x="921" y="901"/>
                </a:cubicBezTo>
                <a:cubicBezTo>
                  <a:pt x="917" y="903"/>
                  <a:pt x="914" y="904"/>
                  <a:pt x="913" y="905"/>
                </a:cubicBezTo>
                <a:cubicBezTo>
                  <a:pt x="913" y="905"/>
                  <a:pt x="916" y="906"/>
                  <a:pt x="920" y="908"/>
                </a:cubicBezTo>
                <a:cubicBezTo>
                  <a:pt x="922" y="908"/>
                  <a:pt x="925" y="908"/>
                  <a:pt x="928" y="906"/>
                </a:cubicBezTo>
                <a:cubicBezTo>
                  <a:pt x="932" y="904"/>
                  <a:pt x="934" y="901"/>
                  <a:pt x="936" y="896"/>
                </a:cubicBezTo>
                <a:cubicBezTo>
                  <a:pt x="938" y="890"/>
                  <a:pt x="944" y="885"/>
                  <a:pt x="955" y="879"/>
                </a:cubicBezTo>
                <a:cubicBezTo>
                  <a:pt x="955" y="876"/>
                  <a:pt x="954" y="875"/>
                  <a:pt x="953" y="875"/>
                </a:cubicBezTo>
                <a:lnTo>
                  <a:pt x="953" y="875"/>
                </a:lnTo>
                <a:close/>
                <a:moveTo>
                  <a:pt x="894" y="891"/>
                </a:moveTo>
                <a:lnTo>
                  <a:pt x="894" y="891"/>
                </a:lnTo>
                <a:lnTo>
                  <a:pt x="897" y="891"/>
                </a:lnTo>
                <a:cubicBezTo>
                  <a:pt x="897" y="891"/>
                  <a:pt x="899" y="891"/>
                  <a:pt x="901" y="890"/>
                </a:cubicBezTo>
                <a:lnTo>
                  <a:pt x="901" y="889"/>
                </a:lnTo>
                <a:cubicBezTo>
                  <a:pt x="901" y="889"/>
                  <a:pt x="900" y="889"/>
                  <a:pt x="898" y="889"/>
                </a:cubicBezTo>
                <a:cubicBezTo>
                  <a:pt x="896" y="888"/>
                  <a:pt x="895" y="888"/>
                  <a:pt x="894" y="889"/>
                </a:cubicBezTo>
                <a:lnTo>
                  <a:pt x="894" y="891"/>
                </a:lnTo>
                <a:lnTo>
                  <a:pt x="894" y="891"/>
                </a:lnTo>
                <a:close/>
                <a:moveTo>
                  <a:pt x="869" y="901"/>
                </a:moveTo>
                <a:lnTo>
                  <a:pt x="869" y="901"/>
                </a:lnTo>
                <a:cubicBezTo>
                  <a:pt x="871" y="901"/>
                  <a:pt x="873" y="900"/>
                  <a:pt x="873" y="897"/>
                </a:cubicBezTo>
                <a:cubicBezTo>
                  <a:pt x="873" y="897"/>
                  <a:pt x="871" y="896"/>
                  <a:pt x="869" y="895"/>
                </a:cubicBezTo>
                <a:cubicBezTo>
                  <a:pt x="868" y="896"/>
                  <a:pt x="867" y="896"/>
                  <a:pt x="866" y="898"/>
                </a:cubicBezTo>
                <a:cubicBezTo>
                  <a:pt x="867" y="898"/>
                  <a:pt x="868" y="899"/>
                  <a:pt x="869" y="901"/>
                </a:cubicBezTo>
                <a:lnTo>
                  <a:pt x="869" y="901"/>
                </a:lnTo>
                <a:close/>
                <a:moveTo>
                  <a:pt x="811" y="883"/>
                </a:moveTo>
                <a:lnTo>
                  <a:pt x="811" y="883"/>
                </a:lnTo>
                <a:cubicBezTo>
                  <a:pt x="811" y="880"/>
                  <a:pt x="810" y="877"/>
                  <a:pt x="809" y="876"/>
                </a:cubicBezTo>
                <a:cubicBezTo>
                  <a:pt x="808" y="875"/>
                  <a:pt x="808" y="875"/>
                  <a:pt x="808" y="875"/>
                </a:cubicBezTo>
                <a:lnTo>
                  <a:pt x="807" y="874"/>
                </a:lnTo>
                <a:lnTo>
                  <a:pt x="807" y="875"/>
                </a:lnTo>
                <a:cubicBezTo>
                  <a:pt x="805" y="876"/>
                  <a:pt x="804" y="878"/>
                  <a:pt x="804" y="880"/>
                </a:cubicBezTo>
                <a:cubicBezTo>
                  <a:pt x="804" y="882"/>
                  <a:pt x="805" y="883"/>
                  <a:pt x="806" y="884"/>
                </a:cubicBezTo>
                <a:cubicBezTo>
                  <a:pt x="809" y="885"/>
                  <a:pt x="810" y="886"/>
                  <a:pt x="811" y="886"/>
                </a:cubicBezTo>
                <a:lnTo>
                  <a:pt x="811" y="883"/>
                </a:lnTo>
                <a:lnTo>
                  <a:pt x="811" y="883"/>
                </a:lnTo>
                <a:close/>
                <a:moveTo>
                  <a:pt x="822" y="934"/>
                </a:moveTo>
                <a:lnTo>
                  <a:pt x="822" y="934"/>
                </a:lnTo>
                <a:cubicBezTo>
                  <a:pt x="820" y="937"/>
                  <a:pt x="819" y="939"/>
                  <a:pt x="819" y="941"/>
                </a:cubicBezTo>
                <a:cubicBezTo>
                  <a:pt x="818" y="942"/>
                  <a:pt x="819" y="943"/>
                  <a:pt x="819" y="943"/>
                </a:cubicBezTo>
                <a:cubicBezTo>
                  <a:pt x="821" y="943"/>
                  <a:pt x="823" y="942"/>
                  <a:pt x="825" y="939"/>
                </a:cubicBezTo>
                <a:cubicBezTo>
                  <a:pt x="826" y="937"/>
                  <a:pt x="827" y="935"/>
                  <a:pt x="827" y="934"/>
                </a:cubicBezTo>
                <a:cubicBezTo>
                  <a:pt x="827" y="932"/>
                  <a:pt x="827" y="930"/>
                  <a:pt x="827" y="930"/>
                </a:cubicBezTo>
                <a:cubicBezTo>
                  <a:pt x="825" y="930"/>
                  <a:pt x="824" y="932"/>
                  <a:pt x="822" y="934"/>
                </a:cubicBezTo>
                <a:lnTo>
                  <a:pt x="822" y="934"/>
                </a:lnTo>
                <a:close/>
                <a:moveTo>
                  <a:pt x="852" y="914"/>
                </a:moveTo>
                <a:lnTo>
                  <a:pt x="852" y="914"/>
                </a:lnTo>
                <a:cubicBezTo>
                  <a:pt x="851" y="914"/>
                  <a:pt x="851" y="914"/>
                  <a:pt x="850" y="914"/>
                </a:cubicBezTo>
                <a:cubicBezTo>
                  <a:pt x="849" y="914"/>
                  <a:pt x="849" y="914"/>
                  <a:pt x="848" y="915"/>
                </a:cubicBezTo>
                <a:cubicBezTo>
                  <a:pt x="846" y="917"/>
                  <a:pt x="845" y="918"/>
                  <a:pt x="845" y="920"/>
                </a:cubicBezTo>
                <a:cubicBezTo>
                  <a:pt x="845" y="922"/>
                  <a:pt x="849" y="928"/>
                  <a:pt x="859" y="935"/>
                </a:cubicBezTo>
                <a:cubicBezTo>
                  <a:pt x="861" y="934"/>
                  <a:pt x="862" y="932"/>
                  <a:pt x="862" y="929"/>
                </a:cubicBezTo>
                <a:cubicBezTo>
                  <a:pt x="863" y="922"/>
                  <a:pt x="859" y="917"/>
                  <a:pt x="852" y="914"/>
                </a:cubicBezTo>
                <a:lnTo>
                  <a:pt x="852" y="914"/>
                </a:lnTo>
                <a:close/>
                <a:moveTo>
                  <a:pt x="874" y="991"/>
                </a:moveTo>
                <a:lnTo>
                  <a:pt x="874" y="991"/>
                </a:lnTo>
                <a:cubicBezTo>
                  <a:pt x="876" y="991"/>
                  <a:pt x="878" y="992"/>
                  <a:pt x="879" y="992"/>
                </a:cubicBezTo>
                <a:cubicBezTo>
                  <a:pt x="880" y="992"/>
                  <a:pt x="882" y="990"/>
                  <a:pt x="884" y="986"/>
                </a:cubicBezTo>
                <a:cubicBezTo>
                  <a:pt x="885" y="983"/>
                  <a:pt x="883" y="979"/>
                  <a:pt x="880" y="976"/>
                </a:cubicBezTo>
                <a:cubicBezTo>
                  <a:pt x="876" y="973"/>
                  <a:pt x="873" y="970"/>
                  <a:pt x="872" y="969"/>
                </a:cubicBezTo>
                <a:cubicBezTo>
                  <a:pt x="872" y="969"/>
                  <a:pt x="872" y="969"/>
                  <a:pt x="872" y="969"/>
                </a:cubicBezTo>
                <a:cubicBezTo>
                  <a:pt x="871" y="969"/>
                  <a:pt x="870" y="969"/>
                  <a:pt x="870" y="969"/>
                </a:cubicBezTo>
                <a:cubicBezTo>
                  <a:pt x="870" y="970"/>
                  <a:pt x="871" y="972"/>
                  <a:pt x="873" y="975"/>
                </a:cubicBezTo>
                <a:cubicBezTo>
                  <a:pt x="873" y="975"/>
                  <a:pt x="873" y="975"/>
                  <a:pt x="873" y="976"/>
                </a:cubicBezTo>
                <a:cubicBezTo>
                  <a:pt x="875" y="979"/>
                  <a:pt x="876" y="981"/>
                  <a:pt x="876" y="983"/>
                </a:cubicBezTo>
                <a:cubicBezTo>
                  <a:pt x="876" y="983"/>
                  <a:pt x="875" y="984"/>
                  <a:pt x="875" y="985"/>
                </a:cubicBezTo>
                <a:lnTo>
                  <a:pt x="874" y="991"/>
                </a:lnTo>
                <a:lnTo>
                  <a:pt x="874" y="991"/>
                </a:lnTo>
                <a:close/>
                <a:moveTo>
                  <a:pt x="868" y="981"/>
                </a:moveTo>
                <a:lnTo>
                  <a:pt x="868" y="981"/>
                </a:lnTo>
                <a:cubicBezTo>
                  <a:pt x="868" y="981"/>
                  <a:pt x="869" y="980"/>
                  <a:pt x="870" y="979"/>
                </a:cubicBezTo>
                <a:cubicBezTo>
                  <a:pt x="870" y="978"/>
                  <a:pt x="870" y="978"/>
                  <a:pt x="869" y="977"/>
                </a:cubicBezTo>
                <a:cubicBezTo>
                  <a:pt x="869" y="977"/>
                  <a:pt x="868" y="977"/>
                  <a:pt x="867" y="976"/>
                </a:cubicBezTo>
                <a:cubicBezTo>
                  <a:pt x="867" y="976"/>
                  <a:pt x="866" y="976"/>
                  <a:pt x="866" y="977"/>
                </a:cubicBezTo>
                <a:cubicBezTo>
                  <a:pt x="866" y="977"/>
                  <a:pt x="865" y="977"/>
                  <a:pt x="865" y="978"/>
                </a:cubicBezTo>
                <a:cubicBezTo>
                  <a:pt x="865" y="980"/>
                  <a:pt x="866" y="980"/>
                  <a:pt x="868" y="981"/>
                </a:cubicBezTo>
                <a:lnTo>
                  <a:pt x="868" y="981"/>
                </a:lnTo>
                <a:close/>
                <a:moveTo>
                  <a:pt x="929" y="977"/>
                </a:moveTo>
                <a:lnTo>
                  <a:pt x="929" y="977"/>
                </a:lnTo>
                <a:cubicBezTo>
                  <a:pt x="928" y="977"/>
                  <a:pt x="928" y="977"/>
                  <a:pt x="927" y="977"/>
                </a:cubicBezTo>
                <a:lnTo>
                  <a:pt x="926" y="977"/>
                </a:lnTo>
                <a:cubicBezTo>
                  <a:pt x="926" y="977"/>
                  <a:pt x="925" y="977"/>
                  <a:pt x="924" y="978"/>
                </a:cubicBezTo>
                <a:cubicBezTo>
                  <a:pt x="923" y="979"/>
                  <a:pt x="922" y="980"/>
                  <a:pt x="922" y="981"/>
                </a:cubicBezTo>
                <a:lnTo>
                  <a:pt x="922" y="982"/>
                </a:lnTo>
                <a:cubicBezTo>
                  <a:pt x="923" y="982"/>
                  <a:pt x="925" y="982"/>
                  <a:pt x="927" y="983"/>
                </a:cubicBezTo>
                <a:cubicBezTo>
                  <a:pt x="928" y="983"/>
                  <a:pt x="931" y="983"/>
                  <a:pt x="937" y="982"/>
                </a:cubicBezTo>
                <a:cubicBezTo>
                  <a:pt x="937" y="981"/>
                  <a:pt x="936" y="980"/>
                  <a:pt x="933" y="978"/>
                </a:cubicBezTo>
                <a:cubicBezTo>
                  <a:pt x="932" y="978"/>
                  <a:pt x="930" y="977"/>
                  <a:pt x="929" y="977"/>
                </a:cubicBezTo>
                <a:lnTo>
                  <a:pt x="929" y="977"/>
                </a:lnTo>
                <a:close/>
                <a:moveTo>
                  <a:pt x="557" y="740"/>
                </a:moveTo>
                <a:lnTo>
                  <a:pt x="557" y="740"/>
                </a:lnTo>
                <a:cubicBezTo>
                  <a:pt x="559" y="740"/>
                  <a:pt x="562" y="738"/>
                  <a:pt x="566" y="735"/>
                </a:cubicBezTo>
                <a:cubicBezTo>
                  <a:pt x="570" y="732"/>
                  <a:pt x="572" y="729"/>
                  <a:pt x="572" y="726"/>
                </a:cubicBezTo>
                <a:cubicBezTo>
                  <a:pt x="572" y="726"/>
                  <a:pt x="571" y="724"/>
                  <a:pt x="570" y="721"/>
                </a:cubicBezTo>
                <a:cubicBezTo>
                  <a:pt x="566" y="720"/>
                  <a:pt x="563" y="720"/>
                  <a:pt x="563" y="720"/>
                </a:cubicBezTo>
                <a:cubicBezTo>
                  <a:pt x="561" y="720"/>
                  <a:pt x="559" y="720"/>
                  <a:pt x="558" y="721"/>
                </a:cubicBezTo>
                <a:cubicBezTo>
                  <a:pt x="557" y="721"/>
                  <a:pt x="556" y="722"/>
                  <a:pt x="556" y="723"/>
                </a:cubicBezTo>
                <a:cubicBezTo>
                  <a:pt x="555" y="725"/>
                  <a:pt x="555" y="728"/>
                  <a:pt x="555" y="733"/>
                </a:cubicBezTo>
                <a:cubicBezTo>
                  <a:pt x="555" y="734"/>
                  <a:pt x="555" y="735"/>
                  <a:pt x="554" y="737"/>
                </a:cubicBezTo>
                <a:cubicBezTo>
                  <a:pt x="554" y="738"/>
                  <a:pt x="555" y="739"/>
                  <a:pt x="557" y="740"/>
                </a:cubicBezTo>
                <a:lnTo>
                  <a:pt x="557" y="740"/>
                </a:lnTo>
                <a:close/>
                <a:moveTo>
                  <a:pt x="564" y="772"/>
                </a:moveTo>
                <a:lnTo>
                  <a:pt x="564" y="772"/>
                </a:lnTo>
                <a:cubicBezTo>
                  <a:pt x="566" y="774"/>
                  <a:pt x="568" y="776"/>
                  <a:pt x="569" y="777"/>
                </a:cubicBezTo>
                <a:cubicBezTo>
                  <a:pt x="569" y="777"/>
                  <a:pt x="570" y="777"/>
                  <a:pt x="570" y="777"/>
                </a:cubicBezTo>
                <a:cubicBezTo>
                  <a:pt x="573" y="775"/>
                  <a:pt x="574" y="772"/>
                  <a:pt x="575" y="769"/>
                </a:cubicBezTo>
                <a:cubicBezTo>
                  <a:pt x="575" y="763"/>
                  <a:pt x="573" y="760"/>
                  <a:pt x="569" y="760"/>
                </a:cubicBezTo>
                <a:cubicBezTo>
                  <a:pt x="567" y="760"/>
                  <a:pt x="565" y="760"/>
                  <a:pt x="563" y="761"/>
                </a:cubicBezTo>
                <a:cubicBezTo>
                  <a:pt x="561" y="763"/>
                  <a:pt x="560" y="765"/>
                  <a:pt x="560" y="767"/>
                </a:cubicBezTo>
                <a:cubicBezTo>
                  <a:pt x="560" y="768"/>
                  <a:pt x="561" y="770"/>
                  <a:pt x="564" y="772"/>
                </a:cubicBezTo>
                <a:lnTo>
                  <a:pt x="564" y="772"/>
                </a:lnTo>
                <a:close/>
                <a:moveTo>
                  <a:pt x="321" y="961"/>
                </a:moveTo>
                <a:lnTo>
                  <a:pt x="321" y="961"/>
                </a:lnTo>
                <a:lnTo>
                  <a:pt x="321" y="966"/>
                </a:lnTo>
                <a:cubicBezTo>
                  <a:pt x="322" y="966"/>
                  <a:pt x="323" y="966"/>
                  <a:pt x="325" y="965"/>
                </a:cubicBezTo>
                <a:cubicBezTo>
                  <a:pt x="324" y="963"/>
                  <a:pt x="323" y="962"/>
                  <a:pt x="322" y="961"/>
                </a:cubicBezTo>
                <a:cubicBezTo>
                  <a:pt x="322" y="961"/>
                  <a:pt x="321" y="961"/>
                  <a:pt x="321" y="961"/>
                </a:cubicBezTo>
                <a:lnTo>
                  <a:pt x="321" y="961"/>
                </a:lnTo>
                <a:close/>
                <a:moveTo>
                  <a:pt x="582" y="833"/>
                </a:moveTo>
                <a:lnTo>
                  <a:pt x="582" y="833"/>
                </a:lnTo>
                <a:cubicBezTo>
                  <a:pt x="580" y="832"/>
                  <a:pt x="576" y="834"/>
                  <a:pt x="571" y="839"/>
                </a:cubicBezTo>
                <a:cubicBezTo>
                  <a:pt x="568" y="841"/>
                  <a:pt x="565" y="844"/>
                  <a:pt x="562" y="847"/>
                </a:cubicBezTo>
                <a:lnTo>
                  <a:pt x="562" y="848"/>
                </a:lnTo>
                <a:lnTo>
                  <a:pt x="562" y="848"/>
                </a:lnTo>
                <a:cubicBezTo>
                  <a:pt x="566" y="846"/>
                  <a:pt x="574" y="842"/>
                  <a:pt x="584" y="834"/>
                </a:cubicBezTo>
                <a:cubicBezTo>
                  <a:pt x="584" y="833"/>
                  <a:pt x="584" y="833"/>
                  <a:pt x="583" y="833"/>
                </a:cubicBezTo>
                <a:cubicBezTo>
                  <a:pt x="583" y="833"/>
                  <a:pt x="582" y="833"/>
                  <a:pt x="582" y="833"/>
                </a:cubicBezTo>
                <a:lnTo>
                  <a:pt x="582" y="833"/>
                </a:lnTo>
                <a:close/>
                <a:moveTo>
                  <a:pt x="523" y="852"/>
                </a:moveTo>
                <a:lnTo>
                  <a:pt x="523" y="852"/>
                </a:lnTo>
                <a:cubicBezTo>
                  <a:pt x="523" y="852"/>
                  <a:pt x="523" y="852"/>
                  <a:pt x="523" y="851"/>
                </a:cubicBezTo>
                <a:lnTo>
                  <a:pt x="520" y="851"/>
                </a:lnTo>
                <a:cubicBezTo>
                  <a:pt x="521" y="853"/>
                  <a:pt x="521" y="855"/>
                  <a:pt x="521" y="858"/>
                </a:cubicBezTo>
                <a:cubicBezTo>
                  <a:pt x="522" y="861"/>
                  <a:pt x="524" y="862"/>
                  <a:pt x="526" y="862"/>
                </a:cubicBezTo>
                <a:cubicBezTo>
                  <a:pt x="526" y="861"/>
                  <a:pt x="526" y="861"/>
                  <a:pt x="526" y="860"/>
                </a:cubicBezTo>
                <a:cubicBezTo>
                  <a:pt x="527" y="859"/>
                  <a:pt x="526" y="857"/>
                  <a:pt x="525" y="855"/>
                </a:cubicBezTo>
                <a:cubicBezTo>
                  <a:pt x="524" y="854"/>
                  <a:pt x="524" y="853"/>
                  <a:pt x="523" y="852"/>
                </a:cubicBezTo>
                <a:lnTo>
                  <a:pt x="523" y="852"/>
                </a:lnTo>
                <a:close/>
                <a:moveTo>
                  <a:pt x="532" y="1039"/>
                </a:moveTo>
                <a:lnTo>
                  <a:pt x="532" y="1039"/>
                </a:lnTo>
                <a:lnTo>
                  <a:pt x="528" y="1038"/>
                </a:lnTo>
                <a:cubicBezTo>
                  <a:pt x="527" y="1038"/>
                  <a:pt x="526" y="1038"/>
                  <a:pt x="525" y="1038"/>
                </a:cubicBezTo>
                <a:cubicBezTo>
                  <a:pt x="524" y="1038"/>
                  <a:pt x="522" y="1036"/>
                  <a:pt x="519" y="1033"/>
                </a:cubicBezTo>
                <a:cubicBezTo>
                  <a:pt x="516" y="1029"/>
                  <a:pt x="514" y="1027"/>
                  <a:pt x="515" y="1027"/>
                </a:cubicBezTo>
                <a:cubicBezTo>
                  <a:pt x="515" y="1026"/>
                  <a:pt x="515" y="1025"/>
                  <a:pt x="514" y="1024"/>
                </a:cubicBezTo>
                <a:cubicBezTo>
                  <a:pt x="514" y="1024"/>
                  <a:pt x="513" y="1023"/>
                  <a:pt x="513" y="1023"/>
                </a:cubicBezTo>
                <a:cubicBezTo>
                  <a:pt x="512" y="1022"/>
                  <a:pt x="512" y="1021"/>
                  <a:pt x="511" y="1021"/>
                </a:cubicBezTo>
                <a:cubicBezTo>
                  <a:pt x="506" y="1027"/>
                  <a:pt x="504" y="1032"/>
                  <a:pt x="504" y="1035"/>
                </a:cubicBezTo>
                <a:cubicBezTo>
                  <a:pt x="503" y="1037"/>
                  <a:pt x="505" y="1038"/>
                  <a:pt x="508" y="1038"/>
                </a:cubicBezTo>
                <a:lnTo>
                  <a:pt x="509" y="1039"/>
                </a:lnTo>
                <a:cubicBezTo>
                  <a:pt x="509" y="1039"/>
                  <a:pt x="509" y="1040"/>
                  <a:pt x="508" y="1041"/>
                </a:cubicBezTo>
                <a:cubicBezTo>
                  <a:pt x="507" y="1050"/>
                  <a:pt x="512" y="1058"/>
                  <a:pt x="522" y="1064"/>
                </a:cubicBezTo>
                <a:cubicBezTo>
                  <a:pt x="522" y="1063"/>
                  <a:pt x="524" y="1062"/>
                  <a:pt x="526" y="1060"/>
                </a:cubicBezTo>
                <a:cubicBezTo>
                  <a:pt x="529" y="1058"/>
                  <a:pt x="530" y="1057"/>
                  <a:pt x="530" y="1056"/>
                </a:cubicBezTo>
                <a:cubicBezTo>
                  <a:pt x="529" y="1052"/>
                  <a:pt x="528" y="1049"/>
                  <a:pt x="528" y="1048"/>
                </a:cubicBezTo>
                <a:cubicBezTo>
                  <a:pt x="531" y="1043"/>
                  <a:pt x="532" y="1040"/>
                  <a:pt x="532" y="1039"/>
                </a:cubicBezTo>
                <a:lnTo>
                  <a:pt x="532" y="1039"/>
                </a:lnTo>
                <a:close/>
                <a:moveTo>
                  <a:pt x="569" y="1106"/>
                </a:moveTo>
                <a:lnTo>
                  <a:pt x="569" y="1106"/>
                </a:lnTo>
                <a:cubicBezTo>
                  <a:pt x="569" y="1107"/>
                  <a:pt x="568" y="1107"/>
                  <a:pt x="568" y="1107"/>
                </a:cubicBezTo>
                <a:cubicBezTo>
                  <a:pt x="568" y="1110"/>
                  <a:pt x="571" y="1111"/>
                  <a:pt x="575" y="1112"/>
                </a:cubicBezTo>
                <a:lnTo>
                  <a:pt x="580" y="1113"/>
                </a:lnTo>
                <a:cubicBezTo>
                  <a:pt x="580" y="1111"/>
                  <a:pt x="581" y="1111"/>
                  <a:pt x="581" y="1111"/>
                </a:cubicBezTo>
                <a:cubicBezTo>
                  <a:pt x="579" y="1109"/>
                  <a:pt x="578" y="1108"/>
                  <a:pt x="577" y="1107"/>
                </a:cubicBezTo>
                <a:lnTo>
                  <a:pt x="569" y="1106"/>
                </a:lnTo>
                <a:lnTo>
                  <a:pt x="569" y="1106"/>
                </a:lnTo>
                <a:close/>
                <a:moveTo>
                  <a:pt x="711" y="1288"/>
                </a:moveTo>
                <a:lnTo>
                  <a:pt x="711" y="1288"/>
                </a:lnTo>
                <a:lnTo>
                  <a:pt x="705" y="1287"/>
                </a:lnTo>
                <a:cubicBezTo>
                  <a:pt x="704" y="1288"/>
                  <a:pt x="703" y="1288"/>
                  <a:pt x="702" y="1288"/>
                </a:cubicBezTo>
                <a:lnTo>
                  <a:pt x="702" y="1291"/>
                </a:lnTo>
                <a:cubicBezTo>
                  <a:pt x="703" y="1292"/>
                  <a:pt x="706" y="1293"/>
                  <a:pt x="709" y="1293"/>
                </a:cubicBezTo>
                <a:cubicBezTo>
                  <a:pt x="713" y="1293"/>
                  <a:pt x="715" y="1293"/>
                  <a:pt x="716" y="1292"/>
                </a:cubicBezTo>
                <a:cubicBezTo>
                  <a:pt x="717" y="1291"/>
                  <a:pt x="715" y="1290"/>
                  <a:pt x="711" y="1288"/>
                </a:cubicBezTo>
                <a:lnTo>
                  <a:pt x="711" y="1288"/>
                </a:lnTo>
                <a:close/>
                <a:moveTo>
                  <a:pt x="1026" y="711"/>
                </a:moveTo>
                <a:lnTo>
                  <a:pt x="1026" y="711"/>
                </a:lnTo>
                <a:cubicBezTo>
                  <a:pt x="1028" y="712"/>
                  <a:pt x="1032" y="714"/>
                  <a:pt x="1038" y="717"/>
                </a:cubicBezTo>
                <a:cubicBezTo>
                  <a:pt x="1044" y="720"/>
                  <a:pt x="1048" y="722"/>
                  <a:pt x="1049" y="722"/>
                </a:cubicBezTo>
                <a:cubicBezTo>
                  <a:pt x="1049" y="722"/>
                  <a:pt x="1054" y="719"/>
                  <a:pt x="1063" y="715"/>
                </a:cubicBezTo>
                <a:cubicBezTo>
                  <a:pt x="1069" y="711"/>
                  <a:pt x="1074" y="708"/>
                  <a:pt x="1078" y="705"/>
                </a:cubicBezTo>
                <a:cubicBezTo>
                  <a:pt x="1079" y="705"/>
                  <a:pt x="1080" y="704"/>
                  <a:pt x="1080" y="704"/>
                </a:cubicBezTo>
                <a:cubicBezTo>
                  <a:pt x="1079" y="703"/>
                  <a:pt x="1077" y="701"/>
                  <a:pt x="1076" y="698"/>
                </a:cubicBezTo>
                <a:cubicBezTo>
                  <a:pt x="1076" y="697"/>
                  <a:pt x="1074" y="696"/>
                  <a:pt x="1072" y="696"/>
                </a:cubicBezTo>
                <a:cubicBezTo>
                  <a:pt x="1070" y="696"/>
                  <a:pt x="1068" y="696"/>
                  <a:pt x="1065" y="696"/>
                </a:cubicBezTo>
                <a:lnTo>
                  <a:pt x="1061" y="696"/>
                </a:lnTo>
                <a:cubicBezTo>
                  <a:pt x="1061" y="696"/>
                  <a:pt x="1061" y="696"/>
                  <a:pt x="1060" y="697"/>
                </a:cubicBezTo>
                <a:lnTo>
                  <a:pt x="1059" y="697"/>
                </a:lnTo>
                <a:cubicBezTo>
                  <a:pt x="1056" y="697"/>
                  <a:pt x="1055" y="697"/>
                  <a:pt x="1053" y="697"/>
                </a:cubicBezTo>
                <a:cubicBezTo>
                  <a:pt x="1052" y="697"/>
                  <a:pt x="1051" y="697"/>
                  <a:pt x="1049" y="697"/>
                </a:cubicBezTo>
                <a:cubicBezTo>
                  <a:pt x="1044" y="696"/>
                  <a:pt x="1040" y="694"/>
                  <a:pt x="1036" y="694"/>
                </a:cubicBezTo>
                <a:cubicBezTo>
                  <a:pt x="1036" y="694"/>
                  <a:pt x="1035" y="694"/>
                  <a:pt x="1034" y="695"/>
                </a:cubicBezTo>
                <a:cubicBezTo>
                  <a:pt x="1021" y="698"/>
                  <a:pt x="1013" y="703"/>
                  <a:pt x="1011" y="710"/>
                </a:cubicBezTo>
                <a:lnTo>
                  <a:pt x="1010" y="712"/>
                </a:lnTo>
                <a:lnTo>
                  <a:pt x="1016" y="712"/>
                </a:lnTo>
                <a:cubicBezTo>
                  <a:pt x="1020" y="712"/>
                  <a:pt x="1024" y="711"/>
                  <a:pt x="1026" y="711"/>
                </a:cubicBezTo>
                <a:lnTo>
                  <a:pt x="1026" y="711"/>
                </a:lnTo>
                <a:close/>
                <a:moveTo>
                  <a:pt x="1056" y="797"/>
                </a:moveTo>
                <a:lnTo>
                  <a:pt x="1056" y="797"/>
                </a:lnTo>
                <a:cubicBezTo>
                  <a:pt x="1058" y="803"/>
                  <a:pt x="1063" y="807"/>
                  <a:pt x="1070" y="809"/>
                </a:cubicBezTo>
                <a:cubicBezTo>
                  <a:pt x="1068" y="808"/>
                  <a:pt x="1066" y="806"/>
                  <a:pt x="1063" y="802"/>
                </a:cubicBezTo>
                <a:cubicBezTo>
                  <a:pt x="1061" y="800"/>
                  <a:pt x="1059" y="798"/>
                  <a:pt x="1056" y="797"/>
                </a:cubicBezTo>
                <a:lnTo>
                  <a:pt x="1056" y="797"/>
                </a:lnTo>
                <a:close/>
                <a:moveTo>
                  <a:pt x="1093" y="839"/>
                </a:moveTo>
                <a:lnTo>
                  <a:pt x="1093" y="839"/>
                </a:lnTo>
                <a:cubicBezTo>
                  <a:pt x="1093" y="838"/>
                  <a:pt x="1091" y="834"/>
                  <a:pt x="1086" y="826"/>
                </a:cubicBezTo>
                <a:lnTo>
                  <a:pt x="1080" y="828"/>
                </a:lnTo>
                <a:cubicBezTo>
                  <a:pt x="1080" y="828"/>
                  <a:pt x="1079" y="827"/>
                  <a:pt x="1079" y="825"/>
                </a:cubicBezTo>
                <a:cubicBezTo>
                  <a:pt x="1078" y="825"/>
                  <a:pt x="1078" y="825"/>
                  <a:pt x="1077" y="825"/>
                </a:cubicBezTo>
                <a:lnTo>
                  <a:pt x="1077" y="829"/>
                </a:lnTo>
                <a:cubicBezTo>
                  <a:pt x="1079" y="837"/>
                  <a:pt x="1082" y="842"/>
                  <a:pt x="1085" y="844"/>
                </a:cubicBezTo>
                <a:cubicBezTo>
                  <a:pt x="1086" y="844"/>
                  <a:pt x="1086" y="844"/>
                  <a:pt x="1086" y="844"/>
                </a:cubicBezTo>
                <a:cubicBezTo>
                  <a:pt x="1090" y="844"/>
                  <a:pt x="1093" y="843"/>
                  <a:pt x="1093" y="839"/>
                </a:cubicBezTo>
                <a:lnTo>
                  <a:pt x="1093" y="839"/>
                </a:lnTo>
                <a:close/>
                <a:moveTo>
                  <a:pt x="1136" y="846"/>
                </a:moveTo>
                <a:lnTo>
                  <a:pt x="1136" y="846"/>
                </a:lnTo>
                <a:cubicBezTo>
                  <a:pt x="1135" y="845"/>
                  <a:pt x="1133" y="845"/>
                  <a:pt x="1132" y="844"/>
                </a:cubicBezTo>
                <a:cubicBezTo>
                  <a:pt x="1129" y="844"/>
                  <a:pt x="1120" y="848"/>
                  <a:pt x="1107" y="857"/>
                </a:cubicBezTo>
                <a:cubicBezTo>
                  <a:pt x="1105" y="858"/>
                  <a:pt x="1104" y="859"/>
                  <a:pt x="1101" y="860"/>
                </a:cubicBezTo>
                <a:cubicBezTo>
                  <a:pt x="1099" y="861"/>
                  <a:pt x="1098" y="864"/>
                  <a:pt x="1097" y="867"/>
                </a:cubicBezTo>
                <a:cubicBezTo>
                  <a:pt x="1097" y="869"/>
                  <a:pt x="1094" y="870"/>
                  <a:pt x="1091" y="872"/>
                </a:cubicBezTo>
                <a:cubicBezTo>
                  <a:pt x="1087" y="874"/>
                  <a:pt x="1085" y="875"/>
                  <a:pt x="1085" y="875"/>
                </a:cubicBezTo>
                <a:cubicBezTo>
                  <a:pt x="1085" y="877"/>
                  <a:pt x="1086" y="879"/>
                  <a:pt x="1087" y="883"/>
                </a:cubicBezTo>
                <a:cubicBezTo>
                  <a:pt x="1088" y="886"/>
                  <a:pt x="1090" y="888"/>
                  <a:pt x="1091" y="889"/>
                </a:cubicBezTo>
                <a:cubicBezTo>
                  <a:pt x="1090" y="883"/>
                  <a:pt x="1093" y="878"/>
                  <a:pt x="1099" y="876"/>
                </a:cubicBezTo>
                <a:cubicBezTo>
                  <a:pt x="1101" y="875"/>
                  <a:pt x="1103" y="875"/>
                  <a:pt x="1107" y="874"/>
                </a:cubicBezTo>
                <a:cubicBezTo>
                  <a:pt x="1110" y="873"/>
                  <a:pt x="1112" y="872"/>
                  <a:pt x="1113" y="871"/>
                </a:cubicBezTo>
                <a:cubicBezTo>
                  <a:pt x="1123" y="862"/>
                  <a:pt x="1131" y="855"/>
                  <a:pt x="1136" y="850"/>
                </a:cubicBezTo>
                <a:cubicBezTo>
                  <a:pt x="1135" y="850"/>
                  <a:pt x="1135" y="850"/>
                  <a:pt x="1134" y="850"/>
                </a:cubicBezTo>
                <a:cubicBezTo>
                  <a:pt x="1136" y="848"/>
                  <a:pt x="1137" y="847"/>
                  <a:pt x="1136" y="846"/>
                </a:cubicBezTo>
                <a:lnTo>
                  <a:pt x="1136" y="846"/>
                </a:lnTo>
                <a:close/>
                <a:moveTo>
                  <a:pt x="1160" y="934"/>
                </a:moveTo>
                <a:lnTo>
                  <a:pt x="1160" y="934"/>
                </a:lnTo>
                <a:cubicBezTo>
                  <a:pt x="1162" y="934"/>
                  <a:pt x="1163" y="933"/>
                  <a:pt x="1164" y="930"/>
                </a:cubicBezTo>
                <a:cubicBezTo>
                  <a:pt x="1164" y="930"/>
                  <a:pt x="1162" y="929"/>
                  <a:pt x="1159" y="926"/>
                </a:cubicBezTo>
                <a:cubicBezTo>
                  <a:pt x="1157" y="924"/>
                  <a:pt x="1155" y="922"/>
                  <a:pt x="1156" y="920"/>
                </a:cubicBezTo>
                <a:cubicBezTo>
                  <a:pt x="1156" y="919"/>
                  <a:pt x="1155" y="919"/>
                  <a:pt x="1154" y="919"/>
                </a:cubicBezTo>
                <a:cubicBezTo>
                  <a:pt x="1154" y="919"/>
                  <a:pt x="1153" y="918"/>
                  <a:pt x="1152" y="918"/>
                </a:cubicBezTo>
                <a:cubicBezTo>
                  <a:pt x="1152" y="918"/>
                  <a:pt x="1151" y="918"/>
                  <a:pt x="1151" y="918"/>
                </a:cubicBezTo>
                <a:cubicBezTo>
                  <a:pt x="1148" y="918"/>
                  <a:pt x="1146" y="919"/>
                  <a:pt x="1146" y="921"/>
                </a:cubicBezTo>
                <a:cubicBezTo>
                  <a:pt x="1146" y="923"/>
                  <a:pt x="1148" y="925"/>
                  <a:pt x="1154" y="926"/>
                </a:cubicBezTo>
                <a:cubicBezTo>
                  <a:pt x="1156" y="931"/>
                  <a:pt x="1158" y="934"/>
                  <a:pt x="1160" y="934"/>
                </a:cubicBezTo>
                <a:lnTo>
                  <a:pt x="1160" y="934"/>
                </a:lnTo>
                <a:close/>
                <a:moveTo>
                  <a:pt x="994" y="933"/>
                </a:moveTo>
                <a:lnTo>
                  <a:pt x="994" y="933"/>
                </a:lnTo>
                <a:cubicBezTo>
                  <a:pt x="995" y="936"/>
                  <a:pt x="995" y="938"/>
                  <a:pt x="995" y="938"/>
                </a:cubicBezTo>
                <a:cubicBezTo>
                  <a:pt x="996" y="938"/>
                  <a:pt x="997" y="939"/>
                  <a:pt x="999" y="939"/>
                </a:cubicBezTo>
                <a:cubicBezTo>
                  <a:pt x="1005" y="940"/>
                  <a:pt x="1008" y="938"/>
                  <a:pt x="1008" y="935"/>
                </a:cubicBezTo>
                <a:cubicBezTo>
                  <a:pt x="1008" y="934"/>
                  <a:pt x="1008" y="933"/>
                  <a:pt x="1008" y="933"/>
                </a:cubicBezTo>
                <a:cubicBezTo>
                  <a:pt x="1006" y="932"/>
                  <a:pt x="1004" y="932"/>
                  <a:pt x="1002" y="932"/>
                </a:cubicBezTo>
                <a:lnTo>
                  <a:pt x="994" y="933"/>
                </a:lnTo>
                <a:lnTo>
                  <a:pt x="994" y="933"/>
                </a:lnTo>
                <a:close/>
                <a:moveTo>
                  <a:pt x="1151" y="1092"/>
                </a:moveTo>
                <a:lnTo>
                  <a:pt x="1151" y="1092"/>
                </a:lnTo>
                <a:cubicBezTo>
                  <a:pt x="1149" y="1092"/>
                  <a:pt x="1148" y="1089"/>
                  <a:pt x="1148" y="1086"/>
                </a:cubicBezTo>
                <a:cubicBezTo>
                  <a:pt x="1148" y="1084"/>
                  <a:pt x="1150" y="1082"/>
                  <a:pt x="1152" y="1077"/>
                </a:cubicBezTo>
                <a:cubicBezTo>
                  <a:pt x="1155" y="1074"/>
                  <a:pt x="1156" y="1071"/>
                  <a:pt x="1156" y="1069"/>
                </a:cubicBezTo>
                <a:cubicBezTo>
                  <a:pt x="1153" y="1061"/>
                  <a:pt x="1152" y="1056"/>
                  <a:pt x="1150" y="1052"/>
                </a:cubicBezTo>
                <a:cubicBezTo>
                  <a:pt x="1148" y="1054"/>
                  <a:pt x="1146" y="1062"/>
                  <a:pt x="1145" y="1073"/>
                </a:cubicBezTo>
                <a:cubicBezTo>
                  <a:pt x="1144" y="1078"/>
                  <a:pt x="1143" y="1082"/>
                  <a:pt x="1141" y="1085"/>
                </a:cubicBezTo>
                <a:cubicBezTo>
                  <a:pt x="1139" y="1088"/>
                  <a:pt x="1137" y="1091"/>
                  <a:pt x="1137" y="1094"/>
                </a:cubicBezTo>
                <a:cubicBezTo>
                  <a:pt x="1137" y="1100"/>
                  <a:pt x="1138" y="1105"/>
                  <a:pt x="1142" y="1108"/>
                </a:cubicBezTo>
                <a:cubicBezTo>
                  <a:pt x="1145" y="1110"/>
                  <a:pt x="1147" y="1115"/>
                  <a:pt x="1146" y="1122"/>
                </a:cubicBezTo>
                <a:cubicBezTo>
                  <a:pt x="1146" y="1124"/>
                  <a:pt x="1146" y="1125"/>
                  <a:pt x="1147" y="1127"/>
                </a:cubicBezTo>
                <a:cubicBezTo>
                  <a:pt x="1148" y="1130"/>
                  <a:pt x="1149" y="1131"/>
                  <a:pt x="1150" y="1131"/>
                </a:cubicBezTo>
                <a:cubicBezTo>
                  <a:pt x="1151" y="1131"/>
                  <a:pt x="1152" y="1131"/>
                  <a:pt x="1153" y="1130"/>
                </a:cubicBezTo>
                <a:cubicBezTo>
                  <a:pt x="1153" y="1126"/>
                  <a:pt x="1153" y="1124"/>
                  <a:pt x="1153" y="1122"/>
                </a:cubicBezTo>
                <a:cubicBezTo>
                  <a:pt x="1153" y="1119"/>
                  <a:pt x="1154" y="1118"/>
                  <a:pt x="1156" y="1117"/>
                </a:cubicBezTo>
                <a:cubicBezTo>
                  <a:pt x="1159" y="1117"/>
                  <a:pt x="1162" y="1117"/>
                  <a:pt x="1164" y="1116"/>
                </a:cubicBezTo>
                <a:cubicBezTo>
                  <a:pt x="1160" y="1106"/>
                  <a:pt x="1158" y="1100"/>
                  <a:pt x="1158" y="1099"/>
                </a:cubicBezTo>
                <a:cubicBezTo>
                  <a:pt x="1157" y="1095"/>
                  <a:pt x="1155" y="1093"/>
                  <a:pt x="1151" y="1092"/>
                </a:cubicBezTo>
                <a:lnTo>
                  <a:pt x="1151" y="1092"/>
                </a:lnTo>
                <a:close/>
                <a:moveTo>
                  <a:pt x="1282" y="922"/>
                </a:moveTo>
                <a:lnTo>
                  <a:pt x="1282" y="922"/>
                </a:lnTo>
                <a:cubicBezTo>
                  <a:pt x="1283" y="920"/>
                  <a:pt x="1281" y="917"/>
                  <a:pt x="1277" y="914"/>
                </a:cubicBezTo>
                <a:cubicBezTo>
                  <a:pt x="1274" y="910"/>
                  <a:pt x="1273" y="908"/>
                  <a:pt x="1274" y="906"/>
                </a:cubicBezTo>
                <a:cubicBezTo>
                  <a:pt x="1269" y="908"/>
                  <a:pt x="1262" y="912"/>
                  <a:pt x="1255" y="919"/>
                </a:cubicBezTo>
                <a:cubicBezTo>
                  <a:pt x="1244" y="929"/>
                  <a:pt x="1238" y="934"/>
                  <a:pt x="1238" y="934"/>
                </a:cubicBezTo>
                <a:cubicBezTo>
                  <a:pt x="1235" y="936"/>
                  <a:pt x="1233" y="939"/>
                  <a:pt x="1230" y="943"/>
                </a:cubicBezTo>
                <a:cubicBezTo>
                  <a:pt x="1228" y="945"/>
                  <a:pt x="1226" y="948"/>
                  <a:pt x="1223" y="952"/>
                </a:cubicBezTo>
                <a:cubicBezTo>
                  <a:pt x="1215" y="962"/>
                  <a:pt x="1212" y="968"/>
                  <a:pt x="1211" y="971"/>
                </a:cubicBezTo>
                <a:cubicBezTo>
                  <a:pt x="1211" y="971"/>
                  <a:pt x="1213" y="974"/>
                  <a:pt x="1217" y="980"/>
                </a:cubicBezTo>
                <a:cubicBezTo>
                  <a:pt x="1221" y="987"/>
                  <a:pt x="1223" y="992"/>
                  <a:pt x="1222" y="994"/>
                </a:cubicBezTo>
                <a:cubicBezTo>
                  <a:pt x="1222" y="996"/>
                  <a:pt x="1221" y="999"/>
                  <a:pt x="1220" y="1003"/>
                </a:cubicBezTo>
                <a:cubicBezTo>
                  <a:pt x="1219" y="1008"/>
                  <a:pt x="1221" y="1010"/>
                  <a:pt x="1224" y="1010"/>
                </a:cubicBezTo>
                <a:cubicBezTo>
                  <a:pt x="1228" y="1011"/>
                  <a:pt x="1233" y="1008"/>
                  <a:pt x="1239" y="1003"/>
                </a:cubicBezTo>
                <a:cubicBezTo>
                  <a:pt x="1243" y="998"/>
                  <a:pt x="1246" y="994"/>
                  <a:pt x="1247" y="992"/>
                </a:cubicBezTo>
                <a:cubicBezTo>
                  <a:pt x="1250" y="982"/>
                  <a:pt x="1257" y="975"/>
                  <a:pt x="1269" y="972"/>
                </a:cubicBezTo>
                <a:lnTo>
                  <a:pt x="1269" y="970"/>
                </a:lnTo>
                <a:cubicBezTo>
                  <a:pt x="1266" y="969"/>
                  <a:pt x="1265" y="968"/>
                  <a:pt x="1265" y="966"/>
                </a:cubicBezTo>
                <a:cubicBezTo>
                  <a:pt x="1265" y="963"/>
                  <a:pt x="1268" y="955"/>
                  <a:pt x="1274" y="942"/>
                </a:cubicBezTo>
                <a:cubicBezTo>
                  <a:pt x="1280" y="929"/>
                  <a:pt x="1282" y="923"/>
                  <a:pt x="1282" y="922"/>
                </a:cubicBezTo>
                <a:lnTo>
                  <a:pt x="1282" y="922"/>
                </a:lnTo>
                <a:close/>
                <a:moveTo>
                  <a:pt x="1126" y="1130"/>
                </a:moveTo>
                <a:lnTo>
                  <a:pt x="1126" y="1130"/>
                </a:lnTo>
                <a:cubicBezTo>
                  <a:pt x="1124" y="1132"/>
                  <a:pt x="1121" y="1133"/>
                  <a:pt x="1117" y="1136"/>
                </a:cubicBezTo>
                <a:cubicBezTo>
                  <a:pt x="1114" y="1138"/>
                  <a:pt x="1112" y="1140"/>
                  <a:pt x="1112" y="1141"/>
                </a:cubicBezTo>
                <a:cubicBezTo>
                  <a:pt x="1111" y="1144"/>
                  <a:pt x="1113" y="1146"/>
                  <a:pt x="1116" y="1146"/>
                </a:cubicBezTo>
                <a:cubicBezTo>
                  <a:pt x="1118" y="1146"/>
                  <a:pt x="1120" y="1144"/>
                  <a:pt x="1123" y="1140"/>
                </a:cubicBezTo>
                <a:cubicBezTo>
                  <a:pt x="1126" y="1136"/>
                  <a:pt x="1127" y="1133"/>
                  <a:pt x="1128" y="1132"/>
                </a:cubicBezTo>
                <a:cubicBezTo>
                  <a:pt x="1126" y="1131"/>
                  <a:pt x="1126" y="1131"/>
                  <a:pt x="1126" y="1130"/>
                </a:cubicBezTo>
                <a:lnTo>
                  <a:pt x="1126" y="1130"/>
                </a:lnTo>
                <a:close/>
                <a:moveTo>
                  <a:pt x="163" y="730"/>
                </a:moveTo>
                <a:lnTo>
                  <a:pt x="163" y="730"/>
                </a:lnTo>
                <a:cubicBezTo>
                  <a:pt x="165" y="733"/>
                  <a:pt x="168" y="735"/>
                  <a:pt x="169" y="735"/>
                </a:cubicBezTo>
                <a:cubicBezTo>
                  <a:pt x="171" y="735"/>
                  <a:pt x="173" y="732"/>
                  <a:pt x="178" y="725"/>
                </a:cubicBezTo>
                <a:cubicBezTo>
                  <a:pt x="171" y="715"/>
                  <a:pt x="167" y="709"/>
                  <a:pt x="166" y="706"/>
                </a:cubicBezTo>
                <a:cubicBezTo>
                  <a:pt x="165" y="703"/>
                  <a:pt x="162" y="701"/>
                  <a:pt x="157" y="699"/>
                </a:cubicBezTo>
                <a:cubicBezTo>
                  <a:pt x="152" y="697"/>
                  <a:pt x="149" y="696"/>
                  <a:pt x="148" y="694"/>
                </a:cubicBezTo>
                <a:cubicBezTo>
                  <a:pt x="148" y="693"/>
                  <a:pt x="148" y="693"/>
                  <a:pt x="148" y="692"/>
                </a:cubicBezTo>
                <a:cubicBezTo>
                  <a:pt x="150" y="689"/>
                  <a:pt x="150" y="687"/>
                  <a:pt x="150" y="687"/>
                </a:cubicBezTo>
                <a:cubicBezTo>
                  <a:pt x="151" y="683"/>
                  <a:pt x="150" y="679"/>
                  <a:pt x="147" y="673"/>
                </a:cubicBezTo>
                <a:cubicBezTo>
                  <a:pt x="145" y="667"/>
                  <a:pt x="142" y="664"/>
                  <a:pt x="139" y="664"/>
                </a:cubicBezTo>
                <a:cubicBezTo>
                  <a:pt x="138" y="664"/>
                  <a:pt x="137" y="664"/>
                  <a:pt x="137" y="664"/>
                </a:cubicBezTo>
                <a:cubicBezTo>
                  <a:pt x="137" y="665"/>
                  <a:pt x="138" y="668"/>
                  <a:pt x="139" y="672"/>
                </a:cubicBezTo>
                <a:cubicBezTo>
                  <a:pt x="139" y="673"/>
                  <a:pt x="139" y="674"/>
                  <a:pt x="138" y="676"/>
                </a:cubicBezTo>
                <a:cubicBezTo>
                  <a:pt x="138" y="677"/>
                  <a:pt x="138" y="679"/>
                  <a:pt x="139" y="682"/>
                </a:cubicBezTo>
                <a:cubicBezTo>
                  <a:pt x="139" y="685"/>
                  <a:pt x="138" y="687"/>
                  <a:pt x="135" y="687"/>
                </a:cubicBezTo>
                <a:cubicBezTo>
                  <a:pt x="135" y="687"/>
                  <a:pt x="132" y="686"/>
                  <a:pt x="128" y="686"/>
                </a:cubicBezTo>
                <a:cubicBezTo>
                  <a:pt x="120" y="684"/>
                  <a:pt x="116" y="687"/>
                  <a:pt x="115" y="697"/>
                </a:cubicBezTo>
                <a:cubicBezTo>
                  <a:pt x="115" y="698"/>
                  <a:pt x="115" y="700"/>
                  <a:pt x="115" y="702"/>
                </a:cubicBezTo>
                <a:cubicBezTo>
                  <a:pt x="115" y="704"/>
                  <a:pt x="115" y="706"/>
                  <a:pt x="114" y="709"/>
                </a:cubicBezTo>
                <a:cubicBezTo>
                  <a:pt x="113" y="711"/>
                  <a:pt x="114" y="712"/>
                  <a:pt x="115" y="714"/>
                </a:cubicBezTo>
                <a:cubicBezTo>
                  <a:pt x="116" y="715"/>
                  <a:pt x="117" y="716"/>
                  <a:pt x="119" y="716"/>
                </a:cubicBezTo>
                <a:cubicBezTo>
                  <a:pt x="121" y="717"/>
                  <a:pt x="123" y="714"/>
                  <a:pt x="125" y="709"/>
                </a:cubicBezTo>
                <a:cubicBezTo>
                  <a:pt x="126" y="704"/>
                  <a:pt x="127" y="700"/>
                  <a:pt x="128" y="700"/>
                </a:cubicBezTo>
                <a:cubicBezTo>
                  <a:pt x="128" y="700"/>
                  <a:pt x="130" y="705"/>
                  <a:pt x="132" y="714"/>
                </a:cubicBezTo>
                <a:cubicBezTo>
                  <a:pt x="134" y="722"/>
                  <a:pt x="136" y="726"/>
                  <a:pt x="139" y="726"/>
                </a:cubicBezTo>
                <a:cubicBezTo>
                  <a:pt x="141" y="726"/>
                  <a:pt x="143" y="726"/>
                  <a:pt x="146" y="725"/>
                </a:cubicBezTo>
                <a:cubicBezTo>
                  <a:pt x="148" y="724"/>
                  <a:pt x="151" y="724"/>
                  <a:pt x="153" y="724"/>
                </a:cubicBezTo>
                <a:cubicBezTo>
                  <a:pt x="157" y="724"/>
                  <a:pt x="160" y="726"/>
                  <a:pt x="163" y="730"/>
                </a:cubicBezTo>
                <a:lnTo>
                  <a:pt x="163" y="730"/>
                </a:lnTo>
                <a:close/>
                <a:moveTo>
                  <a:pt x="332" y="965"/>
                </a:moveTo>
                <a:lnTo>
                  <a:pt x="332" y="965"/>
                </a:lnTo>
                <a:cubicBezTo>
                  <a:pt x="331" y="965"/>
                  <a:pt x="331" y="965"/>
                  <a:pt x="330" y="965"/>
                </a:cubicBezTo>
                <a:cubicBezTo>
                  <a:pt x="330" y="965"/>
                  <a:pt x="330" y="966"/>
                  <a:pt x="330" y="967"/>
                </a:cubicBezTo>
                <a:cubicBezTo>
                  <a:pt x="330" y="968"/>
                  <a:pt x="330" y="969"/>
                  <a:pt x="332" y="972"/>
                </a:cubicBezTo>
                <a:lnTo>
                  <a:pt x="335" y="972"/>
                </a:lnTo>
                <a:cubicBezTo>
                  <a:pt x="336" y="972"/>
                  <a:pt x="336" y="971"/>
                  <a:pt x="336" y="970"/>
                </a:cubicBezTo>
                <a:cubicBezTo>
                  <a:pt x="335" y="969"/>
                  <a:pt x="334" y="968"/>
                  <a:pt x="334" y="967"/>
                </a:cubicBezTo>
                <a:cubicBezTo>
                  <a:pt x="333" y="966"/>
                  <a:pt x="333" y="966"/>
                  <a:pt x="332" y="965"/>
                </a:cubicBezTo>
                <a:lnTo>
                  <a:pt x="332" y="965"/>
                </a:lnTo>
                <a:close/>
                <a:moveTo>
                  <a:pt x="647" y="733"/>
                </a:moveTo>
                <a:lnTo>
                  <a:pt x="647" y="733"/>
                </a:lnTo>
                <a:lnTo>
                  <a:pt x="641" y="729"/>
                </a:lnTo>
                <a:cubicBezTo>
                  <a:pt x="641" y="728"/>
                  <a:pt x="642" y="727"/>
                  <a:pt x="642" y="726"/>
                </a:cubicBezTo>
                <a:cubicBezTo>
                  <a:pt x="642" y="725"/>
                  <a:pt x="641" y="724"/>
                  <a:pt x="642" y="723"/>
                </a:cubicBezTo>
                <a:cubicBezTo>
                  <a:pt x="641" y="723"/>
                  <a:pt x="641" y="722"/>
                  <a:pt x="641" y="722"/>
                </a:cubicBezTo>
                <a:cubicBezTo>
                  <a:pt x="640" y="721"/>
                  <a:pt x="640" y="720"/>
                  <a:pt x="640" y="719"/>
                </a:cubicBezTo>
                <a:cubicBezTo>
                  <a:pt x="638" y="700"/>
                  <a:pt x="637" y="689"/>
                  <a:pt x="637" y="686"/>
                </a:cubicBezTo>
                <a:cubicBezTo>
                  <a:pt x="638" y="685"/>
                  <a:pt x="638" y="684"/>
                  <a:pt x="640" y="684"/>
                </a:cubicBezTo>
                <a:cubicBezTo>
                  <a:pt x="642" y="685"/>
                  <a:pt x="644" y="684"/>
                  <a:pt x="646" y="683"/>
                </a:cubicBezTo>
                <a:cubicBezTo>
                  <a:pt x="644" y="672"/>
                  <a:pt x="631" y="663"/>
                  <a:pt x="608" y="656"/>
                </a:cubicBezTo>
                <a:cubicBezTo>
                  <a:pt x="602" y="655"/>
                  <a:pt x="598" y="654"/>
                  <a:pt x="595" y="653"/>
                </a:cubicBezTo>
                <a:cubicBezTo>
                  <a:pt x="589" y="651"/>
                  <a:pt x="586" y="649"/>
                  <a:pt x="583" y="647"/>
                </a:cubicBezTo>
                <a:cubicBezTo>
                  <a:pt x="582" y="646"/>
                  <a:pt x="581" y="644"/>
                  <a:pt x="580" y="642"/>
                </a:cubicBezTo>
                <a:cubicBezTo>
                  <a:pt x="580" y="641"/>
                  <a:pt x="580" y="640"/>
                  <a:pt x="579" y="639"/>
                </a:cubicBezTo>
                <a:cubicBezTo>
                  <a:pt x="579" y="638"/>
                  <a:pt x="578" y="637"/>
                  <a:pt x="578" y="636"/>
                </a:cubicBezTo>
                <a:cubicBezTo>
                  <a:pt x="576" y="631"/>
                  <a:pt x="573" y="629"/>
                  <a:pt x="570" y="629"/>
                </a:cubicBezTo>
                <a:cubicBezTo>
                  <a:pt x="567" y="630"/>
                  <a:pt x="565" y="630"/>
                  <a:pt x="563" y="630"/>
                </a:cubicBezTo>
                <a:cubicBezTo>
                  <a:pt x="555" y="628"/>
                  <a:pt x="549" y="627"/>
                  <a:pt x="546" y="626"/>
                </a:cubicBezTo>
                <a:cubicBezTo>
                  <a:pt x="542" y="626"/>
                  <a:pt x="540" y="627"/>
                  <a:pt x="538" y="628"/>
                </a:cubicBezTo>
                <a:lnTo>
                  <a:pt x="535" y="628"/>
                </a:lnTo>
                <a:cubicBezTo>
                  <a:pt x="534" y="618"/>
                  <a:pt x="533" y="612"/>
                  <a:pt x="531" y="609"/>
                </a:cubicBezTo>
                <a:cubicBezTo>
                  <a:pt x="530" y="607"/>
                  <a:pt x="527" y="605"/>
                  <a:pt x="523" y="603"/>
                </a:cubicBezTo>
                <a:cubicBezTo>
                  <a:pt x="519" y="601"/>
                  <a:pt x="516" y="600"/>
                  <a:pt x="515" y="600"/>
                </a:cubicBezTo>
                <a:cubicBezTo>
                  <a:pt x="513" y="600"/>
                  <a:pt x="512" y="600"/>
                  <a:pt x="510" y="602"/>
                </a:cubicBezTo>
                <a:cubicBezTo>
                  <a:pt x="509" y="603"/>
                  <a:pt x="507" y="604"/>
                  <a:pt x="505" y="604"/>
                </a:cubicBezTo>
                <a:cubicBezTo>
                  <a:pt x="501" y="603"/>
                  <a:pt x="497" y="600"/>
                  <a:pt x="493" y="594"/>
                </a:cubicBezTo>
                <a:cubicBezTo>
                  <a:pt x="490" y="588"/>
                  <a:pt x="487" y="585"/>
                  <a:pt x="485" y="585"/>
                </a:cubicBezTo>
                <a:cubicBezTo>
                  <a:pt x="485" y="585"/>
                  <a:pt x="484" y="586"/>
                  <a:pt x="482" y="587"/>
                </a:cubicBezTo>
                <a:cubicBezTo>
                  <a:pt x="481" y="588"/>
                  <a:pt x="480" y="589"/>
                  <a:pt x="479" y="589"/>
                </a:cubicBezTo>
                <a:cubicBezTo>
                  <a:pt x="478" y="589"/>
                  <a:pt x="477" y="588"/>
                  <a:pt x="474" y="586"/>
                </a:cubicBezTo>
                <a:cubicBezTo>
                  <a:pt x="472" y="585"/>
                  <a:pt x="469" y="584"/>
                  <a:pt x="468" y="584"/>
                </a:cubicBezTo>
                <a:cubicBezTo>
                  <a:pt x="463" y="584"/>
                  <a:pt x="460" y="584"/>
                  <a:pt x="457" y="584"/>
                </a:cubicBezTo>
                <a:cubicBezTo>
                  <a:pt x="454" y="584"/>
                  <a:pt x="451" y="583"/>
                  <a:pt x="447" y="580"/>
                </a:cubicBezTo>
                <a:cubicBezTo>
                  <a:pt x="443" y="578"/>
                  <a:pt x="440" y="577"/>
                  <a:pt x="437" y="577"/>
                </a:cubicBezTo>
                <a:cubicBezTo>
                  <a:pt x="432" y="577"/>
                  <a:pt x="428" y="577"/>
                  <a:pt x="427" y="577"/>
                </a:cubicBezTo>
                <a:cubicBezTo>
                  <a:pt x="426" y="576"/>
                  <a:pt x="425" y="576"/>
                  <a:pt x="424" y="576"/>
                </a:cubicBezTo>
                <a:lnTo>
                  <a:pt x="425" y="569"/>
                </a:lnTo>
                <a:cubicBezTo>
                  <a:pt x="426" y="567"/>
                  <a:pt x="427" y="565"/>
                  <a:pt x="428" y="564"/>
                </a:cubicBezTo>
                <a:cubicBezTo>
                  <a:pt x="429" y="563"/>
                  <a:pt x="430" y="562"/>
                  <a:pt x="432" y="563"/>
                </a:cubicBezTo>
                <a:cubicBezTo>
                  <a:pt x="436" y="563"/>
                  <a:pt x="441" y="565"/>
                  <a:pt x="448" y="568"/>
                </a:cubicBezTo>
                <a:cubicBezTo>
                  <a:pt x="450" y="568"/>
                  <a:pt x="455" y="565"/>
                  <a:pt x="462" y="560"/>
                </a:cubicBezTo>
                <a:cubicBezTo>
                  <a:pt x="463" y="559"/>
                  <a:pt x="465" y="558"/>
                  <a:pt x="466" y="556"/>
                </a:cubicBezTo>
                <a:cubicBezTo>
                  <a:pt x="475" y="552"/>
                  <a:pt x="480" y="549"/>
                  <a:pt x="482" y="546"/>
                </a:cubicBezTo>
                <a:cubicBezTo>
                  <a:pt x="483" y="545"/>
                  <a:pt x="483" y="544"/>
                  <a:pt x="483" y="544"/>
                </a:cubicBezTo>
                <a:cubicBezTo>
                  <a:pt x="483" y="542"/>
                  <a:pt x="482" y="540"/>
                  <a:pt x="479" y="539"/>
                </a:cubicBezTo>
                <a:cubicBezTo>
                  <a:pt x="476" y="537"/>
                  <a:pt x="474" y="535"/>
                  <a:pt x="474" y="534"/>
                </a:cubicBezTo>
                <a:cubicBezTo>
                  <a:pt x="477" y="533"/>
                  <a:pt x="478" y="532"/>
                  <a:pt x="478" y="530"/>
                </a:cubicBezTo>
                <a:cubicBezTo>
                  <a:pt x="478" y="529"/>
                  <a:pt x="478" y="527"/>
                  <a:pt x="477" y="525"/>
                </a:cubicBezTo>
                <a:cubicBezTo>
                  <a:pt x="476" y="521"/>
                  <a:pt x="471" y="517"/>
                  <a:pt x="464" y="512"/>
                </a:cubicBezTo>
                <a:cubicBezTo>
                  <a:pt x="458" y="509"/>
                  <a:pt x="455" y="507"/>
                  <a:pt x="453" y="506"/>
                </a:cubicBezTo>
                <a:cubicBezTo>
                  <a:pt x="450" y="504"/>
                  <a:pt x="448" y="502"/>
                  <a:pt x="449" y="501"/>
                </a:cubicBezTo>
                <a:cubicBezTo>
                  <a:pt x="449" y="496"/>
                  <a:pt x="452" y="492"/>
                  <a:pt x="457" y="490"/>
                </a:cubicBezTo>
                <a:cubicBezTo>
                  <a:pt x="462" y="488"/>
                  <a:pt x="465" y="485"/>
                  <a:pt x="465" y="481"/>
                </a:cubicBezTo>
                <a:cubicBezTo>
                  <a:pt x="465" y="479"/>
                  <a:pt x="465" y="478"/>
                  <a:pt x="464" y="477"/>
                </a:cubicBezTo>
                <a:cubicBezTo>
                  <a:pt x="465" y="476"/>
                  <a:pt x="466" y="476"/>
                  <a:pt x="466" y="476"/>
                </a:cubicBezTo>
                <a:cubicBezTo>
                  <a:pt x="469" y="476"/>
                  <a:pt x="473" y="479"/>
                  <a:pt x="480" y="484"/>
                </a:cubicBezTo>
                <a:cubicBezTo>
                  <a:pt x="481" y="485"/>
                  <a:pt x="483" y="484"/>
                  <a:pt x="486" y="484"/>
                </a:cubicBezTo>
                <a:cubicBezTo>
                  <a:pt x="488" y="484"/>
                  <a:pt x="491" y="486"/>
                  <a:pt x="494" y="488"/>
                </a:cubicBezTo>
                <a:cubicBezTo>
                  <a:pt x="496" y="490"/>
                  <a:pt x="498" y="492"/>
                  <a:pt x="501" y="494"/>
                </a:cubicBezTo>
                <a:cubicBezTo>
                  <a:pt x="504" y="496"/>
                  <a:pt x="505" y="499"/>
                  <a:pt x="506" y="503"/>
                </a:cubicBezTo>
                <a:cubicBezTo>
                  <a:pt x="506" y="506"/>
                  <a:pt x="507" y="509"/>
                  <a:pt x="507" y="514"/>
                </a:cubicBezTo>
                <a:cubicBezTo>
                  <a:pt x="508" y="513"/>
                  <a:pt x="510" y="514"/>
                  <a:pt x="513" y="514"/>
                </a:cubicBezTo>
                <a:cubicBezTo>
                  <a:pt x="513" y="514"/>
                  <a:pt x="513" y="514"/>
                  <a:pt x="514" y="514"/>
                </a:cubicBezTo>
                <a:cubicBezTo>
                  <a:pt x="515" y="513"/>
                  <a:pt x="517" y="513"/>
                  <a:pt x="519" y="512"/>
                </a:cubicBezTo>
                <a:cubicBezTo>
                  <a:pt x="523" y="511"/>
                  <a:pt x="524" y="509"/>
                  <a:pt x="524" y="508"/>
                </a:cubicBezTo>
                <a:cubicBezTo>
                  <a:pt x="524" y="507"/>
                  <a:pt x="525" y="507"/>
                  <a:pt x="525" y="506"/>
                </a:cubicBezTo>
                <a:cubicBezTo>
                  <a:pt x="525" y="499"/>
                  <a:pt x="521" y="491"/>
                  <a:pt x="514" y="482"/>
                </a:cubicBezTo>
                <a:cubicBezTo>
                  <a:pt x="505" y="473"/>
                  <a:pt x="499" y="467"/>
                  <a:pt x="497" y="464"/>
                </a:cubicBezTo>
                <a:cubicBezTo>
                  <a:pt x="493" y="459"/>
                  <a:pt x="491" y="456"/>
                  <a:pt x="490" y="454"/>
                </a:cubicBezTo>
                <a:cubicBezTo>
                  <a:pt x="488" y="452"/>
                  <a:pt x="486" y="451"/>
                  <a:pt x="483" y="449"/>
                </a:cubicBezTo>
                <a:lnTo>
                  <a:pt x="478" y="446"/>
                </a:lnTo>
                <a:cubicBezTo>
                  <a:pt x="473" y="443"/>
                  <a:pt x="470" y="441"/>
                  <a:pt x="467" y="440"/>
                </a:cubicBezTo>
                <a:cubicBezTo>
                  <a:pt x="463" y="437"/>
                  <a:pt x="459" y="433"/>
                  <a:pt x="458" y="430"/>
                </a:cubicBezTo>
                <a:cubicBezTo>
                  <a:pt x="455" y="417"/>
                  <a:pt x="451" y="408"/>
                  <a:pt x="448" y="403"/>
                </a:cubicBezTo>
                <a:cubicBezTo>
                  <a:pt x="446" y="400"/>
                  <a:pt x="443" y="397"/>
                  <a:pt x="439" y="393"/>
                </a:cubicBezTo>
                <a:cubicBezTo>
                  <a:pt x="435" y="389"/>
                  <a:pt x="432" y="386"/>
                  <a:pt x="430" y="382"/>
                </a:cubicBezTo>
                <a:cubicBezTo>
                  <a:pt x="410" y="357"/>
                  <a:pt x="401" y="341"/>
                  <a:pt x="402" y="335"/>
                </a:cubicBezTo>
                <a:cubicBezTo>
                  <a:pt x="404" y="332"/>
                  <a:pt x="406" y="330"/>
                  <a:pt x="406" y="328"/>
                </a:cubicBezTo>
                <a:cubicBezTo>
                  <a:pt x="406" y="327"/>
                  <a:pt x="406" y="326"/>
                  <a:pt x="406" y="326"/>
                </a:cubicBezTo>
                <a:cubicBezTo>
                  <a:pt x="405" y="325"/>
                  <a:pt x="405" y="324"/>
                  <a:pt x="405" y="322"/>
                </a:cubicBezTo>
                <a:cubicBezTo>
                  <a:pt x="406" y="320"/>
                  <a:pt x="406" y="316"/>
                  <a:pt x="409" y="312"/>
                </a:cubicBezTo>
                <a:cubicBezTo>
                  <a:pt x="411" y="308"/>
                  <a:pt x="412" y="304"/>
                  <a:pt x="412" y="302"/>
                </a:cubicBezTo>
                <a:cubicBezTo>
                  <a:pt x="412" y="300"/>
                  <a:pt x="411" y="298"/>
                  <a:pt x="409" y="293"/>
                </a:cubicBezTo>
                <a:cubicBezTo>
                  <a:pt x="407" y="291"/>
                  <a:pt x="406" y="289"/>
                  <a:pt x="406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04" y="287"/>
                  <a:pt x="403" y="285"/>
                  <a:pt x="402" y="281"/>
                </a:cubicBezTo>
                <a:cubicBezTo>
                  <a:pt x="402" y="281"/>
                  <a:pt x="403" y="280"/>
                  <a:pt x="404" y="279"/>
                </a:cubicBezTo>
                <a:cubicBezTo>
                  <a:pt x="405" y="278"/>
                  <a:pt x="406" y="278"/>
                  <a:pt x="406" y="278"/>
                </a:cubicBezTo>
                <a:cubicBezTo>
                  <a:pt x="408" y="279"/>
                  <a:pt x="410" y="279"/>
                  <a:pt x="410" y="280"/>
                </a:cubicBezTo>
                <a:cubicBezTo>
                  <a:pt x="411" y="278"/>
                  <a:pt x="412" y="275"/>
                  <a:pt x="412" y="269"/>
                </a:cubicBezTo>
                <a:cubicBezTo>
                  <a:pt x="413" y="269"/>
                  <a:pt x="416" y="270"/>
                  <a:pt x="419" y="272"/>
                </a:cubicBezTo>
                <a:cubicBezTo>
                  <a:pt x="420" y="269"/>
                  <a:pt x="421" y="267"/>
                  <a:pt x="422" y="265"/>
                </a:cubicBezTo>
                <a:lnTo>
                  <a:pt x="422" y="260"/>
                </a:lnTo>
                <a:cubicBezTo>
                  <a:pt x="423" y="260"/>
                  <a:pt x="424" y="260"/>
                  <a:pt x="426" y="260"/>
                </a:cubicBezTo>
                <a:cubicBezTo>
                  <a:pt x="430" y="260"/>
                  <a:pt x="434" y="258"/>
                  <a:pt x="436" y="253"/>
                </a:cubicBezTo>
                <a:cubicBezTo>
                  <a:pt x="438" y="248"/>
                  <a:pt x="440" y="246"/>
                  <a:pt x="442" y="246"/>
                </a:cubicBezTo>
                <a:cubicBezTo>
                  <a:pt x="443" y="246"/>
                  <a:pt x="445" y="248"/>
                  <a:pt x="448" y="252"/>
                </a:cubicBezTo>
                <a:cubicBezTo>
                  <a:pt x="452" y="255"/>
                  <a:pt x="453" y="257"/>
                  <a:pt x="453" y="258"/>
                </a:cubicBezTo>
                <a:cubicBezTo>
                  <a:pt x="453" y="260"/>
                  <a:pt x="450" y="263"/>
                  <a:pt x="445" y="268"/>
                </a:cubicBezTo>
                <a:cubicBezTo>
                  <a:pt x="439" y="273"/>
                  <a:pt x="437" y="277"/>
                  <a:pt x="436" y="277"/>
                </a:cubicBezTo>
                <a:cubicBezTo>
                  <a:pt x="436" y="280"/>
                  <a:pt x="441" y="284"/>
                  <a:pt x="452" y="290"/>
                </a:cubicBezTo>
                <a:cubicBezTo>
                  <a:pt x="453" y="291"/>
                  <a:pt x="455" y="293"/>
                  <a:pt x="458" y="297"/>
                </a:cubicBezTo>
                <a:cubicBezTo>
                  <a:pt x="460" y="300"/>
                  <a:pt x="464" y="302"/>
                  <a:pt x="468" y="303"/>
                </a:cubicBezTo>
                <a:cubicBezTo>
                  <a:pt x="488" y="308"/>
                  <a:pt x="501" y="314"/>
                  <a:pt x="508" y="321"/>
                </a:cubicBezTo>
                <a:lnTo>
                  <a:pt x="508" y="321"/>
                </a:lnTo>
                <a:cubicBezTo>
                  <a:pt x="509" y="315"/>
                  <a:pt x="510" y="311"/>
                  <a:pt x="511" y="309"/>
                </a:cubicBezTo>
                <a:cubicBezTo>
                  <a:pt x="513" y="306"/>
                  <a:pt x="517" y="305"/>
                  <a:pt x="522" y="305"/>
                </a:cubicBezTo>
                <a:cubicBezTo>
                  <a:pt x="529" y="306"/>
                  <a:pt x="538" y="308"/>
                  <a:pt x="548" y="312"/>
                </a:cubicBezTo>
                <a:cubicBezTo>
                  <a:pt x="552" y="313"/>
                  <a:pt x="557" y="318"/>
                  <a:pt x="563" y="326"/>
                </a:cubicBezTo>
                <a:cubicBezTo>
                  <a:pt x="565" y="328"/>
                  <a:pt x="569" y="334"/>
                  <a:pt x="577" y="344"/>
                </a:cubicBezTo>
                <a:cubicBezTo>
                  <a:pt x="584" y="354"/>
                  <a:pt x="590" y="359"/>
                  <a:pt x="594" y="360"/>
                </a:cubicBezTo>
                <a:cubicBezTo>
                  <a:pt x="596" y="360"/>
                  <a:pt x="598" y="358"/>
                  <a:pt x="600" y="355"/>
                </a:cubicBezTo>
                <a:cubicBezTo>
                  <a:pt x="603" y="351"/>
                  <a:pt x="604" y="348"/>
                  <a:pt x="604" y="344"/>
                </a:cubicBezTo>
                <a:cubicBezTo>
                  <a:pt x="605" y="342"/>
                  <a:pt x="603" y="339"/>
                  <a:pt x="600" y="335"/>
                </a:cubicBezTo>
                <a:cubicBezTo>
                  <a:pt x="597" y="332"/>
                  <a:pt x="596" y="330"/>
                  <a:pt x="596" y="329"/>
                </a:cubicBezTo>
                <a:cubicBezTo>
                  <a:pt x="598" y="328"/>
                  <a:pt x="599" y="326"/>
                  <a:pt x="598" y="325"/>
                </a:cubicBezTo>
                <a:cubicBezTo>
                  <a:pt x="586" y="321"/>
                  <a:pt x="578" y="318"/>
                  <a:pt x="574" y="316"/>
                </a:cubicBezTo>
                <a:cubicBezTo>
                  <a:pt x="563" y="310"/>
                  <a:pt x="557" y="303"/>
                  <a:pt x="558" y="297"/>
                </a:cubicBezTo>
                <a:cubicBezTo>
                  <a:pt x="558" y="294"/>
                  <a:pt x="561" y="291"/>
                  <a:pt x="568" y="288"/>
                </a:cubicBezTo>
                <a:cubicBezTo>
                  <a:pt x="574" y="284"/>
                  <a:pt x="578" y="283"/>
                  <a:pt x="581" y="283"/>
                </a:cubicBezTo>
                <a:cubicBezTo>
                  <a:pt x="587" y="284"/>
                  <a:pt x="589" y="285"/>
                  <a:pt x="590" y="286"/>
                </a:cubicBezTo>
                <a:cubicBezTo>
                  <a:pt x="592" y="288"/>
                  <a:pt x="595" y="290"/>
                  <a:pt x="598" y="292"/>
                </a:cubicBezTo>
                <a:cubicBezTo>
                  <a:pt x="600" y="293"/>
                  <a:pt x="604" y="294"/>
                  <a:pt x="610" y="294"/>
                </a:cubicBezTo>
                <a:cubicBezTo>
                  <a:pt x="615" y="295"/>
                  <a:pt x="618" y="296"/>
                  <a:pt x="619" y="297"/>
                </a:cubicBezTo>
                <a:cubicBezTo>
                  <a:pt x="627" y="305"/>
                  <a:pt x="631" y="309"/>
                  <a:pt x="632" y="310"/>
                </a:cubicBezTo>
                <a:cubicBezTo>
                  <a:pt x="636" y="317"/>
                  <a:pt x="641" y="321"/>
                  <a:pt x="645" y="321"/>
                </a:cubicBezTo>
                <a:cubicBezTo>
                  <a:pt x="646" y="321"/>
                  <a:pt x="648" y="321"/>
                  <a:pt x="651" y="320"/>
                </a:cubicBezTo>
                <a:cubicBezTo>
                  <a:pt x="653" y="319"/>
                  <a:pt x="655" y="318"/>
                  <a:pt x="655" y="317"/>
                </a:cubicBezTo>
                <a:cubicBezTo>
                  <a:pt x="655" y="315"/>
                  <a:pt x="651" y="310"/>
                  <a:pt x="643" y="302"/>
                </a:cubicBezTo>
                <a:cubicBezTo>
                  <a:pt x="637" y="296"/>
                  <a:pt x="632" y="292"/>
                  <a:pt x="629" y="289"/>
                </a:cubicBezTo>
                <a:cubicBezTo>
                  <a:pt x="624" y="285"/>
                  <a:pt x="618" y="283"/>
                  <a:pt x="612" y="282"/>
                </a:cubicBezTo>
                <a:cubicBezTo>
                  <a:pt x="610" y="282"/>
                  <a:pt x="607" y="280"/>
                  <a:pt x="604" y="278"/>
                </a:cubicBezTo>
                <a:cubicBezTo>
                  <a:pt x="602" y="275"/>
                  <a:pt x="599" y="274"/>
                  <a:pt x="596" y="274"/>
                </a:cubicBezTo>
                <a:cubicBezTo>
                  <a:pt x="594" y="274"/>
                  <a:pt x="592" y="274"/>
                  <a:pt x="592" y="275"/>
                </a:cubicBezTo>
                <a:cubicBezTo>
                  <a:pt x="592" y="275"/>
                  <a:pt x="591" y="278"/>
                  <a:pt x="591" y="281"/>
                </a:cubicBezTo>
                <a:lnTo>
                  <a:pt x="586" y="280"/>
                </a:lnTo>
                <a:cubicBezTo>
                  <a:pt x="581" y="277"/>
                  <a:pt x="578" y="274"/>
                  <a:pt x="576" y="272"/>
                </a:cubicBezTo>
                <a:cubicBezTo>
                  <a:pt x="573" y="269"/>
                  <a:pt x="572" y="265"/>
                  <a:pt x="572" y="261"/>
                </a:cubicBezTo>
                <a:cubicBezTo>
                  <a:pt x="573" y="256"/>
                  <a:pt x="574" y="253"/>
                  <a:pt x="576" y="251"/>
                </a:cubicBezTo>
                <a:lnTo>
                  <a:pt x="576" y="249"/>
                </a:lnTo>
                <a:cubicBezTo>
                  <a:pt x="572" y="249"/>
                  <a:pt x="569" y="249"/>
                  <a:pt x="567" y="246"/>
                </a:cubicBezTo>
                <a:cubicBezTo>
                  <a:pt x="565" y="243"/>
                  <a:pt x="563" y="241"/>
                  <a:pt x="562" y="240"/>
                </a:cubicBezTo>
                <a:cubicBezTo>
                  <a:pt x="560" y="238"/>
                  <a:pt x="559" y="236"/>
                  <a:pt x="556" y="232"/>
                </a:cubicBezTo>
                <a:cubicBezTo>
                  <a:pt x="554" y="228"/>
                  <a:pt x="553" y="225"/>
                  <a:pt x="553" y="224"/>
                </a:cubicBezTo>
                <a:cubicBezTo>
                  <a:pt x="553" y="223"/>
                  <a:pt x="555" y="220"/>
                  <a:pt x="560" y="216"/>
                </a:cubicBezTo>
                <a:cubicBezTo>
                  <a:pt x="565" y="211"/>
                  <a:pt x="568" y="209"/>
                  <a:pt x="569" y="209"/>
                </a:cubicBezTo>
                <a:cubicBezTo>
                  <a:pt x="570" y="209"/>
                  <a:pt x="571" y="210"/>
                  <a:pt x="572" y="210"/>
                </a:cubicBezTo>
                <a:cubicBezTo>
                  <a:pt x="572" y="210"/>
                  <a:pt x="572" y="210"/>
                  <a:pt x="572" y="210"/>
                </a:cubicBezTo>
                <a:cubicBezTo>
                  <a:pt x="573" y="211"/>
                  <a:pt x="573" y="211"/>
                  <a:pt x="573" y="212"/>
                </a:cubicBezTo>
                <a:cubicBezTo>
                  <a:pt x="576" y="213"/>
                  <a:pt x="579" y="214"/>
                  <a:pt x="584" y="215"/>
                </a:cubicBezTo>
                <a:cubicBezTo>
                  <a:pt x="585" y="215"/>
                  <a:pt x="586" y="217"/>
                  <a:pt x="588" y="218"/>
                </a:cubicBezTo>
                <a:cubicBezTo>
                  <a:pt x="591" y="220"/>
                  <a:pt x="593" y="221"/>
                  <a:pt x="595" y="221"/>
                </a:cubicBezTo>
                <a:cubicBezTo>
                  <a:pt x="601" y="222"/>
                  <a:pt x="608" y="218"/>
                  <a:pt x="618" y="210"/>
                </a:cubicBezTo>
                <a:cubicBezTo>
                  <a:pt x="627" y="202"/>
                  <a:pt x="633" y="195"/>
                  <a:pt x="633" y="189"/>
                </a:cubicBezTo>
                <a:cubicBezTo>
                  <a:pt x="633" y="186"/>
                  <a:pt x="633" y="184"/>
                  <a:pt x="633" y="183"/>
                </a:cubicBezTo>
                <a:cubicBezTo>
                  <a:pt x="633" y="180"/>
                  <a:pt x="636" y="177"/>
                  <a:pt x="643" y="174"/>
                </a:cubicBezTo>
                <a:cubicBezTo>
                  <a:pt x="648" y="171"/>
                  <a:pt x="653" y="170"/>
                  <a:pt x="656" y="170"/>
                </a:cubicBezTo>
                <a:cubicBezTo>
                  <a:pt x="659" y="171"/>
                  <a:pt x="663" y="173"/>
                  <a:pt x="667" y="177"/>
                </a:cubicBezTo>
                <a:cubicBezTo>
                  <a:pt x="671" y="182"/>
                  <a:pt x="673" y="184"/>
                  <a:pt x="674" y="184"/>
                </a:cubicBezTo>
                <a:cubicBezTo>
                  <a:pt x="691" y="186"/>
                  <a:pt x="702" y="182"/>
                  <a:pt x="709" y="172"/>
                </a:cubicBezTo>
                <a:cubicBezTo>
                  <a:pt x="711" y="169"/>
                  <a:pt x="715" y="165"/>
                  <a:pt x="721" y="159"/>
                </a:cubicBezTo>
                <a:cubicBezTo>
                  <a:pt x="730" y="152"/>
                  <a:pt x="735" y="149"/>
                  <a:pt x="739" y="149"/>
                </a:cubicBezTo>
                <a:cubicBezTo>
                  <a:pt x="742" y="149"/>
                  <a:pt x="744" y="151"/>
                  <a:pt x="744" y="155"/>
                </a:cubicBezTo>
                <a:cubicBezTo>
                  <a:pt x="745" y="158"/>
                  <a:pt x="747" y="160"/>
                  <a:pt x="750" y="161"/>
                </a:cubicBezTo>
                <a:cubicBezTo>
                  <a:pt x="754" y="161"/>
                  <a:pt x="761" y="160"/>
                  <a:pt x="771" y="157"/>
                </a:cubicBezTo>
                <a:cubicBezTo>
                  <a:pt x="772" y="157"/>
                  <a:pt x="774" y="159"/>
                  <a:pt x="778" y="161"/>
                </a:cubicBezTo>
                <a:cubicBezTo>
                  <a:pt x="783" y="164"/>
                  <a:pt x="788" y="166"/>
                  <a:pt x="793" y="166"/>
                </a:cubicBezTo>
                <a:cubicBezTo>
                  <a:pt x="809" y="168"/>
                  <a:pt x="821" y="168"/>
                  <a:pt x="829" y="168"/>
                </a:cubicBezTo>
                <a:cubicBezTo>
                  <a:pt x="831" y="167"/>
                  <a:pt x="836" y="167"/>
                  <a:pt x="846" y="165"/>
                </a:cubicBezTo>
                <a:cubicBezTo>
                  <a:pt x="852" y="164"/>
                  <a:pt x="858" y="164"/>
                  <a:pt x="863" y="164"/>
                </a:cubicBezTo>
                <a:cubicBezTo>
                  <a:pt x="866" y="165"/>
                  <a:pt x="868" y="165"/>
                  <a:pt x="869" y="166"/>
                </a:cubicBezTo>
                <a:cubicBezTo>
                  <a:pt x="870" y="167"/>
                  <a:pt x="870" y="168"/>
                  <a:pt x="870" y="170"/>
                </a:cubicBezTo>
                <a:cubicBezTo>
                  <a:pt x="869" y="176"/>
                  <a:pt x="869" y="181"/>
                  <a:pt x="872" y="186"/>
                </a:cubicBezTo>
                <a:cubicBezTo>
                  <a:pt x="872" y="186"/>
                  <a:pt x="872" y="186"/>
                  <a:pt x="872" y="186"/>
                </a:cubicBezTo>
                <a:cubicBezTo>
                  <a:pt x="879" y="181"/>
                  <a:pt x="882" y="177"/>
                  <a:pt x="883" y="177"/>
                </a:cubicBezTo>
                <a:cubicBezTo>
                  <a:pt x="882" y="174"/>
                  <a:pt x="881" y="172"/>
                  <a:pt x="881" y="171"/>
                </a:cubicBezTo>
                <a:cubicBezTo>
                  <a:pt x="881" y="170"/>
                  <a:pt x="883" y="168"/>
                  <a:pt x="886" y="165"/>
                </a:cubicBezTo>
                <a:cubicBezTo>
                  <a:pt x="890" y="163"/>
                  <a:pt x="892" y="161"/>
                  <a:pt x="892" y="160"/>
                </a:cubicBezTo>
                <a:cubicBezTo>
                  <a:pt x="891" y="156"/>
                  <a:pt x="891" y="154"/>
                  <a:pt x="891" y="153"/>
                </a:cubicBezTo>
                <a:cubicBezTo>
                  <a:pt x="891" y="153"/>
                  <a:pt x="893" y="151"/>
                  <a:pt x="897" y="149"/>
                </a:cubicBezTo>
                <a:cubicBezTo>
                  <a:pt x="901" y="148"/>
                  <a:pt x="902" y="145"/>
                  <a:pt x="903" y="142"/>
                </a:cubicBezTo>
                <a:cubicBezTo>
                  <a:pt x="902" y="139"/>
                  <a:pt x="902" y="136"/>
                  <a:pt x="902" y="134"/>
                </a:cubicBezTo>
                <a:cubicBezTo>
                  <a:pt x="904" y="130"/>
                  <a:pt x="904" y="126"/>
                  <a:pt x="905" y="124"/>
                </a:cubicBezTo>
                <a:cubicBezTo>
                  <a:pt x="905" y="123"/>
                  <a:pt x="904" y="122"/>
                  <a:pt x="902" y="120"/>
                </a:cubicBezTo>
                <a:cubicBezTo>
                  <a:pt x="900" y="118"/>
                  <a:pt x="899" y="117"/>
                  <a:pt x="899" y="117"/>
                </a:cubicBezTo>
                <a:cubicBezTo>
                  <a:pt x="899" y="115"/>
                  <a:pt x="899" y="112"/>
                  <a:pt x="898" y="108"/>
                </a:cubicBezTo>
                <a:cubicBezTo>
                  <a:pt x="896" y="101"/>
                  <a:pt x="896" y="95"/>
                  <a:pt x="896" y="91"/>
                </a:cubicBezTo>
                <a:cubicBezTo>
                  <a:pt x="896" y="89"/>
                  <a:pt x="899" y="86"/>
                  <a:pt x="906" y="83"/>
                </a:cubicBezTo>
                <a:cubicBezTo>
                  <a:pt x="910" y="78"/>
                  <a:pt x="913" y="75"/>
                  <a:pt x="915" y="73"/>
                </a:cubicBezTo>
                <a:cubicBezTo>
                  <a:pt x="915" y="72"/>
                  <a:pt x="919" y="70"/>
                  <a:pt x="926" y="66"/>
                </a:cubicBezTo>
                <a:cubicBezTo>
                  <a:pt x="932" y="63"/>
                  <a:pt x="935" y="60"/>
                  <a:pt x="935" y="58"/>
                </a:cubicBezTo>
                <a:cubicBezTo>
                  <a:pt x="936" y="54"/>
                  <a:pt x="935" y="49"/>
                  <a:pt x="933" y="46"/>
                </a:cubicBezTo>
                <a:cubicBezTo>
                  <a:pt x="930" y="41"/>
                  <a:pt x="928" y="38"/>
                  <a:pt x="927" y="35"/>
                </a:cubicBezTo>
                <a:cubicBezTo>
                  <a:pt x="926" y="32"/>
                  <a:pt x="925" y="27"/>
                  <a:pt x="924" y="22"/>
                </a:cubicBezTo>
                <a:cubicBezTo>
                  <a:pt x="924" y="20"/>
                  <a:pt x="922" y="18"/>
                  <a:pt x="920" y="18"/>
                </a:cubicBezTo>
                <a:cubicBezTo>
                  <a:pt x="917" y="17"/>
                  <a:pt x="915" y="17"/>
                  <a:pt x="915" y="17"/>
                </a:cubicBezTo>
                <a:cubicBezTo>
                  <a:pt x="911" y="14"/>
                  <a:pt x="907" y="11"/>
                  <a:pt x="905" y="10"/>
                </a:cubicBezTo>
                <a:cubicBezTo>
                  <a:pt x="902" y="8"/>
                  <a:pt x="897" y="7"/>
                  <a:pt x="893" y="7"/>
                </a:cubicBezTo>
                <a:cubicBezTo>
                  <a:pt x="890" y="7"/>
                  <a:pt x="886" y="6"/>
                  <a:pt x="883" y="5"/>
                </a:cubicBezTo>
                <a:cubicBezTo>
                  <a:pt x="881" y="5"/>
                  <a:pt x="880" y="4"/>
                  <a:pt x="878" y="4"/>
                </a:cubicBezTo>
                <a:cubicBezTo>
                  <a:pt x="873" y="2"/>
                  <a:pt x="869" y="1"/>
                  <a:pt x="868" y="0"/>
                </a:cubicBezTo>
                <a:cubicBezTo>
                  <a:pt x="865" y="0"/>
                  <a:pt x="862" y="1"/>
                  <a:pt x="858" y="4"/>
                </a:cubicBezTo>
                <a:cubicBezTo>
                  <a:pt x="854" y="7"/>
                  <a:pt x="853" y="10"/>
                  <a:pt x="852" y="12"/>
                </a:cubicBezTo>
                <a:cubicBezTo>
                  <a:pt x="852" y="16"/>
                  <a:pt x="858" y="25"/>
                  <a:pt x="872" y="40"/>
                </a:cubicBezTo>
                <a:cubicBezTo>
                  <a:pt x="872" y="42"/>
                  <a:pt x="870" y="44"/>
                  <a:pt x="869" y="47"/>
                </a:cubicBezTo>
                <a:cubicBezTo>
                  <a:pt x="869" y="48"/>
                  <a:pt x="869" y="50"/>
                  <a:pt x="870" y="51"/>
                </a:cubicBezTo>
                <a:cubicBezTo>
                  <a:pt x="870" y="52"/>
                  <a:pt x="870" y="52"/>
                  <a:pt x="870" y="52"/>
                </a:cubicBezTo>
                <a:cubicBezTo>
                  <a:pt x="871" y="53"/>
                  <a:pt x="871" y="55"/>
                  <a:pt x="872" y="57"/>
                </a:cubicBezTo>
                <a:cubicBezTo>
                  <a:pt x="871" y="63"/>
                  <a:pt x="866" y="68"/>
                  <a:pt x="857" y="72"/>
                </a:cubicBezTo>
                <a:cubicBezTo>
                  <a:pt x="846" y="79"/>
                  <a:pt x="840" y="83"/>
                  <a:pt x="837" y="83"/>
                </a:cubicBezTo>
                <a:cubicBezTo>
                  <a:pt x="834" y="81"/>
                  <a:pt x="832" y="81"/>
                  <a:pt x="831" y="81"/>
                </a:cubicBezTo>
                <a:cubicBezTo>
                  <a:pt x="829" y="80"/>
                  <a:pt x="825" y="82"/>
                  <a:pt x="820" y="85"/>
                </a:cubicBezTo>
                <a:cubicBezTo>
                  <a:pt x="815" y="88"/>
                  <a:pt x="812" y="90"/>
                  <a:pt x="811" y="89"/>
                </a:cubicBezTo>
                <a:cubicBezTo>
                  <a:pt x="805" y="89"/>
                  <a:pt x="800" y="88"/>
                  <a:pt x="798" y="89"/>
                </a:cubicBezTo>
                <a:cubicBezTo>
                  <a:pt x="792" y="92"/>
                  <a:pt x="788" y="93"/>
                  <a:pt x="787" y="93"/>
                </a:cubicBezTo>
                <a:cubicBezTo>
                  <a:pt x="782" y="92"/>
                  <a:pt x="776" y="94"/>
                  <a:pt x="769" y="98"/>
                </a:cubicBezTo>
                <a:cubicBezTo>
                  <a:pt x="762" y="101"/>
                  <a:pt x="756" y="103"/>
                  <a:pt x="752" y="102"/>
                </a:cubicBezTo>
                <a:cubicBezTo>
                  <a:pt x="750" y="102"/>
                  <a:pt x="747" y="101"/>
                  <a:pt x="745" y="100"/>
                </a:cubicBezTo>
                <a:cubicBezTo>
                  <a:pt x="742" y="97"/>
                  <a:pt x="740" y="95"/>
                  <a:pt x="738" y="94"/>
                </a:cubicBezTo>
                <a:cubicBezTo>
                  <a:pt x="731" y="89"/>
                  <a:pt x="721" y="86"/>
                  <a:pt x="709" y="84"/>
                </a:cubicBezTo>
                <a:lnTo>
                  <a:pt x="696" y="84"/>
                </a:lnTo>
                <a:cubicBezTo>
                  <a:pt x="693" y="84"/>
                  <a:pt x="692" y="86"/>
                  <a:pt x="691" y="89"/>
                </a:cubicBezTo>
                <a:cubicBezTo>
                  <a:pt x="691" y="92"/>
                  <a:pt x="690" y="93"/>
                  <a:pt x="688" y="93"/>
                </a:cubicBezTo>
                <a:cubicBezTo>
                  <a:pt x="687" y="93"/>
                  <a:pt x="685" y="91"/>
                  <a:pt x="682" y="89"/>
                </a:cubicBezTo>
                <a:cubicBezTo>
                  <a:pt x="679" y="86"/>
                  <a:pt x="677" y="84"/>
                  <a:pt x="677" y="84"/>
                </a:cubicBezTo>
                <a:cubicBezTo>
                  <a:pt x="675" y="83"/>
                  <a:pt x="673" y="82"/>
                  <a:pt x="669" y="81"/>
                </a:cubicBezTo>
                <a:cubicBezTo>
                  <a:pt x="667" y="81"/>
                  <a:pt x="664" y="80"/>
                  <a:pt x="662" y="78"/>
                </a:cubicBezTo>
                <a:cubicBezTo>
                  <a:pt x="659" y="77"/>
                  <a:pt x="656" y="73"/>
                  <a:pt x="652" y="68"/>
                </a:cubicBezTo>
                <a:cubicBezTo>
                  <a:pt x="648" y="62"/>
                  <a:pt x="646" y="59"/>
                  <a:pt x="646" y="58"/>
                </a:cubicBezTo>
                <a:cubicBezTo>
                  <a:pt x="644" y="60"/>
                  <a:pt x="641" y="62"/>
                  <a:pt x="638" y="65"/>
                </a:cubicBezTo>
                <a:cubicBezTo>
                  <a:pt x="636" y="66"/>
                  <a:pt x="634" y="67"/>
                  <a:pt x="630" y="67"/>
                </a:cubicBezTo>
                <a:cubicBezTo>
                  <a:pt x="628" y="66"/>
                  <a:pt x="626" y="66"/>
                  <a:pt x="626" y="66"/>
                </a:cubicBezTo>
                <a:cubicBezTo>
                  <a:pt x="625" y="67"/>
                  <a:pt x="623" y="68"/>
                  <a:pt x="622" y="70"/>
                </a:cubicBezTo>
                <a:cubicBezTo>
                  <a:pt x="618" y="65"/>
                  <a:pt x="615" y="63"/>
                  <a:pt x="611" y="62"/>
                </a:cubicBezTo>
                <a:cubicBezTo>
                  <a:pt x="602" y="65"/>
                  <a:pt x="596" y="67"/>
                  <a:pt x="593" y="67"/>
                </a:cubicBezTo>
                <a:cubicBezTo>
                  <a:pt x="591" y="67"/>
                  <a:pt x="588" y="69"/>
                  <a:pt x="586" y="73"/>
                </a:cubicBezTo>
                <a:cubicBezTo>
                  <a:pt x="586" y="73"/>
                  <a:pt x="584" y="76"/>
                  <a:pt x="581" y="81"/>
                </a:cubicBezTo>
                <a:cubicBezTo>
                  <a:pt x="580" y="84"/>
                  <a:pt x="577" y="86"/>
                  <a:pt x="573" y="86"/>
                </a:cubicBezTo>
                <a:cubicBezTo>
                  <a:pt x="566" y="86"/>
                  <a:pt x="563" y="86"/>
                  <a:pt x="563" y="86"/>
                </a:cubicBezTo>
                <a:cubicBezTo>
                  <a:pt x="558" y="87"/>
                  <a:pt x="554" y="88"/>
                  <a:pt x="553" y="89"/>
                </a:cubicBezTo>
                <a:cubicBezTo>
                  <a:pt x="550" y="91"/>
                  <a:pt x="548" y="94"/>
                  <a:pt x="548" y="97"/>
                </a:cubicBezTo>
                <a:cubicBezTo>
                  <a:pt x="543" y="94"/>
                  <a:pt x="539" y="94"/>
                  <a:pt x="535" y="98"/>
                </a:cubicBezTo>
                <a:cubicBezTo>
                  <a:pt x="530" y="101"/>
                  <a:pt x="525" y="103"/>
                  <a:pt x="521" y="103"/>
                </a:cubicBezTo>
                <a:cubicBezTo>
                  <a:pt x="513" y="102"/>
                  <a:pt x="508" y="102"/>
                  <a:pt x="504" y="101"/>
                </a:cubicBezTo>
                <a:cubicBezTo>
                  <a:pt x="502" y="101"/>
                  <a:pt x="500" y="102"/>
                  <a:pt x="499" y="104"/>
                </a:cubicBezTo>
                <a:cubicBezTo>
                  <a:pt x="496" y="107"/>
                  <a:pt x="495" y="109"/>
                  <a:pt x="494" y="109"/>
                </a:cubicBezTo>
                <a:lnTo>
                  <a:pt x="483" y="103"/>
                </a:lnTo>
                <a:cubicBezTo>
                  <a:pt x="477" y="108"/>
                  <a:pt x="473" y="113"/>
                  <a:pt x="470" y="117"/>
                </a:cubicBezTo>
                <a:cubicBezTo>
                  <a:pt x="468" y="119"/>
                  <a:pt x="463" y="120"/>
                  <a:pt x="454" y="119"/>
                </a:cubicBezTo>
                <a:cubicBezTo>
                  <a:pt x="452" y="119"/>
                  <a:pt x="448" y="118"/>
                  <a:pt x="444" y="117"/>
                </a:cubicBezTo>
                <a:lnTo>
                  <a:pt x="439" y="116"/>
                </a:lnTo>
                <a:cubicBezTo>
                  <a:pt x="439" y="116"/>
                  <a:pt x="439" y="117"/>
                  <a:pt x="439" y="116"/>
                </a:cubicBezTo>
                <a:cubicBezTo>
                  <a:pt x="438" y="117"/>
                  <a:pt x="438" y="118"/>
                  <a:pt x="437" y="118"/>
                </a:cubicBezTo>
                <a:cubicBezTo>
                  <a:pt x="433" y="118"/>
                  <a:pt x="430" y="119"/>
                  <a:pt x="426" y="120"/>
                </a:cubicBezTo>
                <a:cubicBezTo>
                  <a:pt x="417" y="122"/>
                  <a:pt x="412" y="124"/>
                  <a:pt x="412" y="127"/>
                </a:cubicBezTo>
                <a:cubicBezTo>
                  <a:pt x="412" y="129"/>
                  <a:pt x="412" y="132"/>
                  <a:pt x="413" y="138"/>
                </a:cubicBezTo>
                <a:cubicBezTo>
                  <a:pt x="414" y="143"/>
                  <a:pt x="414" y="147"/>
                  <a:pt x="414" y="150"/>
                </a:cubicBezTo>
                <a:cubicBezTo>
                  <a:pt x="414" y="152"/>
                  <a:pt x="412" y="154"/>
                  <a:pt x="408" y="154"/>
                </a:cubicBezTo>
                <a:cubicBezTo>
                  <a:pt x="404" y="154"/>
                  <a:pt x="401" y="153"/>
                  <a:pt x="399" y="153"/>
                </a:cubicBezTo>
                <a:cubicBezTo>
                  <a:pt x="401" y="158"/>
                  <a:pt x="398" y="161"/>
                  <a:pt x="389" y="163"/>
                </a:cubicBezTo>
                <a:cubicBezTo>
                  <a:pt x="381" y="164"/>
                  <a:pt x="373" y="165"/>
                  <a:pt x="366" y="164"/>
                </a:cubicBezTo>
                <a:cubicBezTo>
                  <a:pt x="362" y="164"/>
                  <a:pt x="358" y="162"/>
                  <a:pt x="355" y="160"/>
                </a:cubicBezTo>
                <a:cubicBezTo>
                  <a:pt x="351" y="159"/>
                  <a:pt x="348" y="158"/>
                  <a:pt x="345" y="157"/>
                </a:cubicBezTo>
                <a:cubicBezTo>
                  <a:pt x="341" y="157"/>
                  <a:pt x="337" y="158"/>
                  <a:pt x="333" y="160"/>
                </a:cubicBezTo>
                <a:cubicBezTo>
                  <a:pt x="329" y="162"/>
                  <a:pt x="325" y="163"/>
                  <a:pt x="320" y="163"/>
                </a:cubicBezTo>
                <a:cubicBezTo>
                  <a:pt x="313" y="164"/>
                  <a:pt x="308" y="164"/>
                  <a:pt x="306" y="166"/>
                </a:cubicBezTo>
                <a:cubicBezTo>
                  <a:pt x="304" y="167"/>
                  <a:pt x="303" y="171"/>
                  <a:pt x="303" y="176"/>
                </a:cubicBezTo>
                <a:cubicBezTo>
                  <a:pt x="302" y="182"/>
                  <a:pt x="299" y="186"/>
                  <a:pt x="294" y="188"/>
                </a:cubicBezTo>
                <a:cubicBezTo>
                  <a:pt x="290" y="189"/>
                  <a:pt x="287" y="192"/>
                  <a:pt x="287" y="196"/>
                </a:cubicBezTo>
                <a:cubicBezTo>
                  <a:pt x="286" y="197"/>
                  <a:pt x="287" y="200"/>
                  <a:pt x="287" y="204"/>
                </a:cubicBezTo>
                <a:cubicBezTo>
                  <a:pt x="285" y="205"/>
                  <a:pt x="281" y="205"/>
                  <a:pt x="275" y="205"/>
                </a:cubicBezTo>
                <a:cubicBezTo>
                  <a:pt x="273" y="204"/>
                  <a:pt x="269" y="206"/>
                  <a:pt x="265" y="211"/>
                </a:cubicBezTo>
                <a:cubicBezTo>
                  <a:pt x="260" y="216"/>
                  <a:pt x="257" y="218"/>
                  <a:pt x="256" y="218"/>
                </a:cubicBezTo>
                <a:cubicBezTo>
                  <a:pt x="255" y="218"/>
                  <a:pt x="253" y="217"/>
                  <a:pt x="250" y="215"/>
                </a:cubicBezTo>
                <a:cubicBezTo>
                  <a:pt x="247" y="213"/>
                  <a:pt x="244" y="212"/>
                  <a:pt x="241" y="211"/>
                </a:cubicBezTo>
                <a:cubicBezTo>
                  <a:pt x="234" y="211"/>
                  <a:pt x="230" y="212"/>
                  <a:pt x="228" y="214"/>
                </a:cubicBezTo>
                <a:cubicBezTo>
                  <a:pt x="226" y="217"/>
                  <a:pt x="220" y="219"/>
                  <a:pt x="210" y="218"/>
                </a:cubicBezTo>
                <a:cubicBezTo>
                  <a:pt x="207" y="218"/>
                  <a:pt x="205" y="219"/>
                  <a:pt x="201" y="221"/>
                </a:cubicBezTo>
                <a:cubicBezTo>
                  <a:pt x="198" y="223"/>
                  <a:pt x="196" y="224"/>
                  <a:pt x="194" y="224"/>
                </a:cubicBezTo>
                <a:cubicBezTo>
                  <a:pt x="186" y="223"/>
                  <a:pt x="180" y="223"/>
                  <a:pt x="176" y="224"/>
                </a:cubicBezTo>
                <a:cubicBezTo>
                  <a:pt x="177" y="226"/>
                  <a:pt x="178" y="230"/>
                  <a:pt x="178" y="235"/>
                </a:cubicBezTo>
                <a:cubicBezTo>
                  <a:pt x="178" y="245"/>
                  <a:pt x="181" y="250"/>
                  <a:pt x="185" y="251"/>
                </a:cubicBezTo>
                <a:cubicBezTo>
                  <a:pt x="187" y="252"/>
                  <a:pt x="188" y="253"/>
                  <a:pt x="188" y="253"/>
                </a:cubicBezTo>
                <a:cubicBezTo>
                  <a:pt x="189" y="255"/>
                  <a:pt x="189" y="258"/>
                  <a:pt x="189" y="263"/>
                </a:cubicBezTo>
                <a:cubicBezTo>
                  <a:pt x="188" y="275"/>
                  <a:pt x="184" y="281"/>
                  <a:pt x="178" y="280"/>
                </a:cubicBezTo>
                <a:cubicBezTo>
                  <a:pt x="178" y="282"/>
                  <a:pt x="177" y="286"/>
                  <a:pt x="176" y="290"/>
                </a:cubicBezTo>
                <a:cubicBezTo>
                  <a:pt x="176" y="292"/>
                  <a:pt x="174" y="293"/>
                  <a:pt x="172" y="293"/>
                </a:cubicBezTo>
                <a:cubicBezTo>
                  <a:pt x="170" y="292"/>
                  <a:pt x="167" y="292"/>
                  <a:pt x="166" y="293"/>
                </a:cubicBezTo>
                <a:cubicBezTo>
                  <a:pt x="159" y="294"/>
                  <a:pt x="155" y="298"/>
                  <a:pt x="154" y="308"/>
                </a:cubicBezTo>
                <a:cubicBezTo>
                  <a:pt x="154" y="314"/>
                  <a:pt x="152" y="317"/>
                  <a:pt x="150" y="318"/>
                </a:cubicBezTo>
                <a:cubicBezTo>
                  <a:pt x="149" y="319"/>
                  <a:pt x="147" y="323"/>
                  <a:pt x="147" y="327"/>
                </a:cubicBezTo>
                <a:cubicBezTo>
                  <a:pt x="147" y="328"/>
                  <a:pt x="147" y="333"/>
                  <a:pt x="147" y="340"/>
                </a:cubicBezTo>
                <a:cubicBezTo>
                  <a:pt x="147" y="342"/>
                  <a:pt x="146" y="343"/>
                  <a:pt x="144" y="344"/>
                </a:cubicBezTo>
                <a:cubicBezTo>
                  <a:pt x="142" y="346"/>
                  <a:pt x="140" y="347"/>
                  <a:pt x="140" y="347"/>
                </a:cubicBezTo>
                <a:cubicBezTo>
                  <a:pt x="140" y="349"/>
                  <a:pt x="141" y="351"/>
                  <a:pt x="141" y="354"/>
                </a:cubicBezTo>
                <a:cubicBezTo>
                  <a:pt x="140" y="361"/>
                  <a:pt x="139" y="366"/>
                  <a:pt x="136" y="367"/>
                </a:cubicBezTo>
                <a:cubicBezTo>
                  <a:pt x="134" y="368"/>
                  <a:pt x="128" y="369"/>
                  <a:pt x="118" y="369"/>
                </a:cubicBezTo>
                <a:cubicBezTo>
                  <a:pt x="113" y="369"/>
                  <a:pt x="109" y="371"/>
                  <a:pt x="106" y="376"/>
                </a:cubicBezTo>
                <a:cubicBezTo>
                  <a:pt x="106" y="378"/>
                  <a:pt x="103" y="380"/>
                  <a:pt x="100" y="382"/>
                </a:cubicBezTo>
                <a:cubicBezTo>
                  <a:pt x="97" y="383"/>
                  <a:pt x="96" y="385"/>
                  <a:pt x="96" y="387"/>
                </a:cubicBezTo>
                <a:cubicBezTo>
                  <a:pt x="95" y="390"/>
                  <a:pt x="97" y="395"/>
                  <a:pt x="102" y="402"/>
                </a:cubicBezTo>
                <a:cubicBezTo>
                  <a:pt x="106" y="409"/>
                  <a:pt x="108" y="414"/>
                  <a:pt x="108" y="416"/>
                </a:cubicBezTo>
                <a:cubicBezTo>
                  <a:pt x="108" y="419"/>
                  <a:pt x="106" y="420"/>
                  <a:pt x="101" y="420"/>
                </a:cubicBezTo>
                <a:cubicBezTo>
                  <a:pt x="95" y="420"/>
                  <a:pt x="91" y="420"/>
                  <a:pt x="90" y="420"/>
                </a:cubicBezTo>
                <a:cubicBezTo>
                  <a:pt x="94" y="424"/>
                  <a:pt x="95" y="429"/>
                  <a:pt x="94" y="434"/>
                </a:cubicBezTo>
                <a:cubicBezTo>
                  <a:pt x="94" y="436"/>
                  <a:pt x="90" y="439"/>
                  <a:pt x="83" y="444"/>
                </a:cubicBezTo>
                <a:cubicBezTo>
                  <a:pt x="78" y="447"/>
                  <a:pt x="74" y="449"/>
                  <a:pt x="71" y="450"/>
                </a:cubicBezTo>
                <a:cubicBezTo>
                  <a:pt x="71" y="450"/>
                  <a:pt x="71" y="451"/>
                  <a:pt x="71" y="451"/>
                </a:cubicBezTo>
                <a:cubicBezTo>
                  <a:pt x="74" y="453"/>
                  <a:pt x="76" y="454"/>
                  <a:pt x="78" y="455"/>
                </a:cubicBezTo>
                <a:cubicBezTo>
                  <a:pt x="76" y="461"/>
                  <a:pt x="76" y="468"/>
                  <a:pt x="80" y="475"/>
                </a:cubicBezTo>
                <a:cubicBezTo>
                  <a:pt x="84" y="483"/>
                  <a:pt x="85" y="489"/>
                  <a:pt x="85" y="493"/>
                </a:cubicBezTo>
                <a:cubicBezTo>
                  <a:pt x="86" y="495"/>
                  <a:pt x="87" y="497"/>
                  <a:pt x="89" y="499"/>
                </a:cubicBezTo>
                <a:cubicBezTo>
                  <a:pt x="92" y="501"/>
                  <a:pt x="94" y="503"/>
                  <a:pt x="95" y="506"/>
                </a:cubicBezTo>
                <a:cubicBezTo>
                  <a:pt x="96" y="509"/>
                  <a:pt x="102" y="512"/>
                  <a:pt x="111" y="514"/>
                </a:cubicBezTo>
                <a:cubicBezTo>
                  <a:pt x="117" y="516"/>
                  <a:pt x="122" y="520"/>
                  <a:pt x="125" y="526"/>
                </a:cubicBezTo>
                <a:cubicBezTo>
                  <a:pt x="127" y="530"/>
                  <a:pt x="131" y="535"/>
                  <a:pt x="138" y="539"/>
                </a:cubicBezTo>
                <a:cubicBezTo>
                  <a:pt x="139" y="539"/>
                  <a:pt x="142" y="541"/>
                  <a:pt x="145" y="543"/>
                </a:cubicBezTo>
                <a:cubicBezTo>
                  <a:pt x="148" y="544"/>
                  <a:pt x="151" y="547"/>
                  <a:pt x="152" y="550"/>
                </a:cubicBezTo>
                <a:cubicBezTo>
                  <a:pt x="157" y="559"/>
                  <a:pt x="159" y="564"/>
                  <a:pt x="160" y="565"/>
                </a:cubicBezTo>
                <a:lnTo>
                  <a:pt x="169" y="566"/>
                </a:lnTo>
                <a:cubicBezTo>
                  <a:pt x="168" y="564"/>
                  <a:pt x="167" y="562"/>
                  <a:pt x="165" y="560"/>
                </a:cubicBezTo>
                <a:cubicBezTo>
                  <a:pt x="164" y="559"/>
                  <a:pt x="163" y="557"/>
                  <a:pt x="164" y="554"/>
                </a:cubicBezTo>
                <a:cubicBezTo>
                  <a:pt x="164" y="552"/>
                  <a:pt x="165" y="549"/>
                  <a:pt x="168" y="543"/>
                </a:cubicBezTo>
                <a:lnTo>
                  <a:pt x="171" y="544"/>
                </a:lnTo>
                <a:cubicBezTo>
                  <a:pt x="173" y="549"/>
                  <a:pt x="174" y="552"/>
                  <a:pt x="174" y="553"/>
                </a:cubicBezTo>
                <a:cubicBezTo>
                  <a:pt x="176" y="552"/>
                  <a:pt x="177" y="552"/>
                  <a:pt x="178" y="551"/>
                </a:cubicBezTo>
                <a:cubicBezTo>
                  <a:pt x="178" y="551"/>
                  <a:pt x="179" y="551"/>
                  <a:pt x="181" y="551"/>
                </a:cubicBezTo>
                <a:cubicBezTo>
                  <a:pt x="183" y="551"/>
                  <a:pt x="185" y="552"/>
                  <a:pt x="188" y="554"/>
                </a:cubicBezTo>
                <a:cubicBezTo>
                  <a:pt x="190" y="556"/>
                  <a:pt x="192" y="557"/>
                  <a:pt x="194" y="557"/>
                </a:cubicBezTo>
                <a:cubicBezTo>
                  <a:pt x="196" y="558"/>
                  <a:pt x="198" y="557"/>
                  <a:pt x="202" y="555"/>
                </a:cubicBezTo>
                <a:cubicBezTo>
                  <a:pt x="205" y="553"/>
                  <a:pt x="208" y="552"/>
                  <a:pt x="209" y="552"/>
                </a:cubicBezTo>
                <a:cubicBezTo>
                  <a:pt x="212" y="552"/>
                  <a:pt x="214" y="554"/>
                  <a:pt x="217" y="556"/>
                </a:cubicBezTo>
                <a:cubicBezTo>
                  <a:pt x="220" y="559"/>
                  <a:pt x="222" y="562"/>
                  <a:pt x="222" y="564"/>
                </a:cubicBezTo>
                <a:cubicBezTo>
                  <a:pt x="222" y="564"/>
                  <a:pt x="221" y="565"/>
                  <a:pt x="218" y="568"/>
                </a:cubicBezTo>
                <a:cubicBezTo>
                  <a:pt x="218" y="572"/>
                  <a:pt x="219" y="575"/>
                  <a:pt x="221" y="578"/>
                </a:cubicBezTo>
                <a:lnTo>
                  <a:pt x="221" y="579"/>
                </a:lnTo>
                <a:cubicBezTo>
                  <a:pt x="219" y="579"/>
                  <a:pt x="218" y="579"/>
                  <a:pt x="216" y="578"/>
                </a:cubicBezTo>
                <a:cubicBezTo>
                  <a:pt x="215" y="577"/>
                  <a:pt x="213" y="576"/>
                  <a:pt x="213" y="576"/>
                </a:cubicBezTo>
                <a:cubicBezTo>
                  <a:pt x="211" y="576"/>
                  <a:pt x="210" y="576"/>
                  <a:pt x="209" y="577"/>
                </a:cubicBezTo>
                <a:cubicBezTo>
                  <a:pt x="209" y="578"/>
                  <a:pt x="209" y="579"/>
                  <a:pt x="208" y="582"/>
                </a:cubicBezTo>
                <a:lnTo>
                  <a:pt x="207" y="583"/>
                </a:lnTo>
                <a:cubicBezTo>
                  <a:pt x="204" y="580"/>
                  <a:pt x="202" y="577"/>
                  <a:pt x="202" y="574"/>
                </a:cubicBezTo>
                <a:cubicBezTo>
                  <a:pt x="202" y="573"/>
                  <a:pt x="200" y="572"/>
                  <a:pt x="195" y="571"/>
                </a:cubicBezTo>
                <a:cubicBezTo>
                  <a:pt x="193" y="571"/>
                  <a:pt x="191" y="572"/>
                  <a:pt x="189" y="573"/>
                </a:cubicBezTo>
                <a:cubicBezTo>
                  <a:pt x="186" y="574"/>
                  <a:pt x="184" y="575"/>
                  <a:pt x="184" y="575"/>
                </a:cubicBezTo>
                <a:cubicBezTo>
                  <a:pt x="183" y="574"/>
                  <a:pt x="182" y="574"/>
                  <a:pt x="181" y="572"/>
                </a:cubicBezTo>
                <a:cubicBezTo>
                  <a:pt x="180" y="571"/>
                  <a:pt x="179" y="571"/>
                  <a:pt x="177" y="570"/>
                </a:cubicBezTo>
                <a:cubicBezTo>
                  <a:pt x="175" y="570"/>
                  <a:pt x="174" y="572"/>
                  <a:pt x="174" y="575"/>
                </a:cubicBezTo>
                <a:cubicBezTo>
                  <a:pt x="173" y="576"/>
                  <a:pt x="171" y="576"/>
                  <a:pt x="170" y="576"/>
                </a:cubicBezTo>
                <a:cubicBezTo>
                  <a:pt x="168" y="574"/>
                  <a:pt x="166" y="573"/>
                  <a:pt x="165" y="573"/>
                </a:cubicBezTo>
                <a:lnTo>
                  <a:pt x="163" y="586"/>
                </a:lnTo>
                <a:cubicBezTo>
                  <a:pt x="163" y="588"/>
                  <a:pt x="162" y="590"/>
                  <a:pt x="161" y="592"/>
                </a:cubicBezTo>
                <a:cubicBezTo>
                  <a:pt x="160" y="593"/>
                  <a:pt x="160" y="595"/>
                  <a:pt x="159" y="596"/>
                </a:cubicBezTo>
                <a:cubicBezTo>
                  <a:pt x="159" y="596"/>
                  <a:pt x="159" y="597"/>
                  <a:pt x="160" y="597"/>
                </a:cubicBezTo>
                <a:cubicBezTo>
                  <a:pt x="160" y="599"/>
                  <a:pt x="161" y="600"/>
                  <a:pt x="163" y="602"/>
                </a:cubicBezTo>
                <a:cubicBezTo>
                  <a:pt x="166" y="604"/>
                  <a:pt x="168" y="605"/>
                  <a:pt x="170" y="605"/>
                </a:cubicBezTo>
                <a:cubicBezTo>
                  <a:pt x="171" y="605"/>
                  <a:pt x="174" y="604"/>
                  <a:pt x="177" y="602"/>
                </a:cubicBezTo>
                <a:cubicBezTo>
                  <a:pt x="180" y="603"/>
                  <a:pt x="182" y="605"/>
                  <a:pt x="184" y="610"/>
                </a:cubicBezTo>
                <a:cubicBezTo>
                  <a:pt x="185" y="613"/>
                  <a:pt x="187" y="616"/>
                  <a:pt x="190" y="617"/>
                </a:cubicBezTo>
                <a:lnTo>
                  <a:pt x="190" y="617"/>
                </a:lnTo>
                <a:cubicBezTo>
                  <a:pt x="190" y="617"/>
                  <a:pt x="191" y="618"/>
                  <a:pt x="191" y="618"/>
                </a:cubicBezTo>
                <a:cubicBezTo>
                  <a:pt x="192" y="619"/>
                  <a:pt x="194" y="621"/>
                  <a:pt x="197" y="623"/>
                </a:cubicBezTo>
                <a:cubicBezTo>
                  <a:pt x="200" y="625"/>
                  <a:pt x="202" y="628"/>
                  <a:pt x="203" y="631"/>
                </a:cubicBezTo>
                <a:cubicBezTo>
                  <a:pt x="203" y="631"/>
                  <a:pt x="203" y="633"/>
                  <a:pt x="204" y="636"/>
                </a:cubicBezTo>
                <a:cubicBezTo>
                  <a:pt x="204" y="638"/>
                  <a:pt x="204" y="639"/>
                  <a:pt x="205" y="641"/>
                </a:cubicBezTo>
                <a:cubicBezTo>
                  <a:pt x="205" y="647"/>
                  <a:pt x="207" y="649"/>
                  <a:pt x="208" y="650"/>
                </a:cubicBezTo>
                <a:cubicBezTo>
                  <a:pt x="209" y="650"/>
                  <a:pt x="211" y="650"/>
                  <a:pt x="213" y="649"/>
                </a:cubicBezTo>
                <a:cubicBezTo>
                  <a:pt x="215" y="649"/>
                  <a:pt x="216" y="651"/>
                  <a:pt x="216" y="654"/>
                </a:cubicBezTo>
                <a:cubicBezTo>
                  <a:pt x="216" y="655"/>
                  <a:pt x="216" y="657"/>
                  <a:pt x="216" y="660"/>
                </a:cubicBezTo>
                <a:cubicBezTo>
                  <a:pt x="215" y="663"/>
                  <a:pt x="216" y="665"/>
                  <a:pt x="216" y="667"/>
                </a:cubicBezTo>
                <a:cubicBezTo>
                  <a:pt x="216" y="667"/>
                  <a:pt x="219" y="668"/>
                  <a:pt x="223" y="669"/>
                </a:cubicBezTo>
                <a:cubicBezTo>
                  <a:pt x="223" y="670"/>
                  <a:pt x="223" y="672"/>
                  <a:pt x="222" y="676"/>
                </a:cubicBezTo>
                <a:cubicBezTo>
                  <a:pt x="222" y="679"/>
                  <a:pt x="223" y="680"/>
                  <a:pt x="226" y="680"/>
                </a:cubicBezTo>
                <a:cubicBezTo>
                  <a:pt x="232" y="681"/>
                  <a:pt x="235" y="681"/>
                  <a:pt x="236" y="680"/>
                </a:cubicBezTo>
                <a:cubicBezTo>
                  <a:pt x="238" y="677"/>
                  <a:pt x="239" y="675"/>
                  <a:pt x="242" y="673"/>
                </a:cubicBezTo>
                <a:cubicBezTo>
                  <a:pt x="246" y="672"/>
                  <a:pt x="248" y="670"/>
                  <a:pt x="250" y="669"/>
                </a:cubicBezTo>
                <a:cubicBezTo>
                  <a:pt x="252" y="667"/>
                  <a:pt x="254" y="665"/>
                  <a:pt x="254" y="662"/>
                </a:cubicBezTo>
                <a:cubicBezTo>
                  <a:pt x="254" y="659"/>
                  <a:pt x="254" y="656"/>
                  <a:pt x="254" y="652"/>
                </a:cubicBezTo>
                <a:cubicBezTo>
                  <a:pt x="254" y="652"/>
                  <a:pt x="255" y="656"/>
                  <a:pt x="257" y="662"/>
                </a:cubicBezTo>
                <a:cubicBezTo>
                  <a:pt x="259" y="666"/>
                  <a:pt x="260" y="669"/>
                  <a:pt x="264" y="670"/>
                </a:cubicBezTo>
                <a:cubicBezTo>
                  <a:pt x="264" y="671"/>
                  <a:pt x="266" y="671"/>
                  <a:pt x="269" y="672"/>
                </a:cubicBezTo>
                <a:cubicBezTo>
                  <a:pt x="272" y="672"/>
                  <a:pt x="273" y="673"/>
                  <a:pt x="273" y="675"/>
                </a:cubicBezTo>
                <a:cubicBezTo>
                  <a:pt x="273" y="675"/>
                  <a:pt x="273" y="677"/>
                  <a:pt x="272" y="680"/>
                </a:cubicBezTo>
                <a:cubicBezTo>
                  <a:pt x="272" y="682"/>
                  <a:pt x="272" y="684"/>
                  <a:pt x="273" y="685"/>
                </a:cubicBezTo>
                <a:cubicBezTo>
                  <a:pt x="276" y="682"/>
                  <a:pt x="281" y="679"/>
                  <a:pt x="287" y="676"/>
                </a:cubicBezTo>
                <a:cubicBezTo>
                  <a:pt x="293" y="673"/>
                  <a:pt x="297" y="671"/>
                  <a:pt x="299" y="672"/>
                </a:cubicBezTo>
                <a:cubicBezTo>
                  <a:pt x="300" y="672"/>
                  <a:pt x="302" y="672"/>
                  <a:pt x="305" y="673"/>
                </a:cubicBezTo>
                <a:cubicBezTo>
                  <a:pt x="309" y="674"/>
                  <a:pt x="313" y="673"/>
                  <a:pt x="316" y="672"/>
                </a:cubicBezTo>
                <a:cubicBezTo>
                  <a:pt x="317" y="671"/>
                  <a:pt x="317" y="670"/>
                  <a:pt x="318" y="670"/>
                </a:cubicBezTo>
                <a:cubicBezTo>
                  <a:pt x="321" y="666"/>
                  <a:pt x="323" y="664"/>
                  <a:pt x="323" y="664"/>
                </a:cubicBezTo>
                <a:cubicBezTo>
                  <a:pt x="324" y="665"/>
                  <a:pt x="327" y="665"/>
                  <a:pt x="331" y="667"/>
                </a:cubicBezTo>
                <a:cubicBezTo>
                  <a:pt x="333" y="665"/>
                  <a:pt x="335" y="664"/>
                  <a:pt x="337" y="663"/>
                </a:cubicBezTo>
                <a:cubicBezTo>
                  <a:pt x="340" y="661"/>
                  <a:pt x="343" y="660"/>
                  <a:pt x="345" y="660"/>
                </a:cubicBezTo>
                <a:cubicBezTo>
                  <a:pt x="363" y="667"/>
                  <a:pt x="373" y="670"/>
                  <a:pt x="375" y="670"/>
                </a:cubicBezTo>
                <a:cubicBezTo>
                  <a:pt x="376" y="670"/>
                  <a:pt x="383" y="669"/>
                  <a:pt x="396" y="666"/>
                </a:cubicBezTo>
                <a:cubicBezTo>
                  <a:pt x="398" y="665"/>
                  <a:pt x="400" y="662"/>
                  <a:pt x="402" y="656"/>
                </a:cubicBezTo>
                <a:cubicBezTo>
                  <a:pt x="403" y="651"/>
                  <a:pt x="406" y="649"/>
                  <a:pt x="410" y="649"/>
                </a:cubicBezTo>
                <a:cubicBezTo>
                  <a:pt x="411" y="649"/>
                  <a:pt x="413" y="651"/>
                  <a:pt x="416" y="656"/>
                </a:cubicBezTo>
                <a:cubicBezTo>
                  <a:pt x="419" y="660"/>
                  <a:pt x="421" y="662"/>
                  <a:pt x="421" y="663"/>
                </a:cubicBezTo>
                <a:cubicBezTo>
                  <a:pt x="421" y="664"/>
                  <a:pt x="421" y="665"/>
                  <a:pt x="420" y="668"/>
                </a:cubicBezTo>
                <a:cubicBezTo>
                  <a:pt x="419" y="670"/>
                  <a:pt x="420" y="672"/>
                  <a:pt x="421" y="675"/>
                </a:cubicBezTo>
                <a:cubicBezTo>
                  <a:pt x="422" y="677"/>
                  <a:pt x="423" y="678"/>
                  <a:pt x="425" y="679"/>
                </a:cubicBezTo>
                <a:cubicBezTo>
                  <a:pt x="426" y="679"/>
                  <a:pt x="429" y="676"/>
                  <a:pt x="433" y="672"/>
                </a:cubicBezTo>
                <a:cubicBezTo>
                  <a:pt x="437" y="667"/>
                  <a:pt x="441" y="665"/>
                  <a:pt x="444" y="665"/>
                </a:cubicBezTo>
                <a:cubicBezTo>
                  <a:pt x="445" y="665"/>
                  <a:pt x="447" y="667"/>
                  <a:pt x="449" y="669"/>
                </a:cubicBezTo>
                <a:cubicBezTo>
                  <a:pt x="456" y="671"/>
                  <a:pt x="460" y="672"/>
                  <a:pt x="460" y="674"/>
                </a:cubicBezTo>
                <a:cubicBezTo>
                  <a:pt x="460" y="675"/>
                  <a:pt x="460" y="677"/>
                  <a:pt x="461" y="680"/>
                </a:cubicBezTo>
                <a:cubicBezTo>
                  <a:pt x="461" y="682"/>
                  <a:pt x="462" y="684"/>
                  <a:pt x="463" y="684"/>
                </a:cubicBezTo>
                <a:cubicBezTo>
                  <a:pt x="466" y="684"/>
                  <a:pt x="471" y="684"/>
                  <a:pt x="477" y="683"/>
                </a:cubicBezTo>
                <a:cubicBezTo>
                  <a:pt x="480" y="683"/>
                  <a:pt x="484" y="684"/>
                  <a:pt x="488" y="687"/>
                </a:cubicBezTo>
                <a:cubicBezTo>
                  <a:pt x="492" y="689"/>
                  <a:pt x="494" y="690"/>
                  <a:pt x="495" y="690"/>
                </a:cubicBezTo>
                <a:cubicBezTo>
                  <a:pt x="498" y="691"/>
                  <a:pt x="499" y="690"/>
                  <a:pt x="501" y="688"/>
                </a:cubicBezTo>
                <a:cubicBezTo>
                  <a:pt x="503" y="686"/>
                  <a:pt x="504" y="685"/>
                  <a:pt x="505" y="685"/>
                </a:cubicBezTo>
                <a:cubicBezTo>
                  <a:pt x="506" y="685"/>
                  <a:pt x="507" y="686"/>
                  <a:pt x="509" y="688"/>
                </a:cubicBezTo>
                <a:cubicBezTo>
                  <a:pt x="511" y="690"/>
                  <a:pt x="512" y="692"/>
                  <a:pt x="515" y="692"/>
                </a:cubicBezTo>
                <a:cubicBezTo>
                  <a:pt x="520" y="692"/>
                  <a:pt x="522" y="695"/>
                  <a:pt x="522" y="699"/>
                </a:cubicBezTo>
                <a:cubicBezTo>
                  <a:pt x="522" y="701"/>
                  <a:pt x="519" y="704"/>
                  <a:pt x="514" y="707"/>
                </a:cubicBezTo>
                <a:cubicBezTo>
                  <a:pt x="509" y="710"/>
                  <a:pt x="505" y="711"/>
                  <a:pt x="503" y="711"/>
                </a:cubicBezTo>
                <a:cubicBezTo>
                  <a:pt x="497" y="711"/>
                  <a:pt x="492" y="710"/>
                  <a:pt x="488" y="710"/>
                </a:cubicBezTo>
                <a:cubicBezTo>
                  <a:pt x="482" y="710"/>
                  <a:pt x="479" y="713"/>
                  <a:pt x="478" y="718"/>
                </a:cubicBezTo>
                <a:cubicBezTo>
                  <a:pt x="478" y="719"/>
                  <a:pt x="481" y="721"/>
                  <a:pt x="486" y="724"/>
                </a:cubicBezTo>
                <a:cubicBezTo>
                  <a:pt x="490" y="726"/>
                  <a:pt x="491" y="728"/>
                  <a:pt x="490" y="732"/>
                </a:cubicBezTo>
                <a:cubicBezTo>
                  <a:pt x="488" y="732"/>
                  <a:pt x="483" y="733"/>
                  <a:pt x="476" y="735"/>
                </a:cubicBezTo>
                <a:cubicBezTo>
                  <a:pt x="472" y="735"/>
                  <a:pt x="467" y="732"/>
                  <a:pt x="461" y="727"/>
                </a:cubicBezTo>
                <a:cubicBezTo>
                  <a:pt x="454" y="721"/>
                  <a:pt x="448" y="717"/>
                  <a:pt x="443" y="715"/>
                </a:cubicBezTo>
                <a:cubicBezTo>
                  <a:pt x="435" y="712"/>
                  <a:pt x="429" y="710"/>
                  <a:pt x="425" y="708"/>
                </a:cubicBezTo>
                <a:cubicBezTo>
                  <a:pt x="417" y="705"/>
                  <a:pt x="411" y="704"/>
                  <a:pt x="406" y="703"/>
                </a:cubicBezTo>
                <a:cubicBezTo>
                  <a:pt x="402" y="702"/>
                  <a:pt x="395" y="701"/>
                  <a:pt x="385" y="698"/>
                </a:cubicBezTo>
                <a:cubicBezTo>
                  <a:pt x="381" y="697"/>
                  <a:pt x="378" y="697"/>
                  <a:pt x="376" y="696"/>
                </a:cubicBezTo>
                <a:cubicBezTo>
                  <a:pt x="372" y="695"/>
                  <a:pt x="369" y="694"/>
                  <a:pt x="367" y="692"/>
                </a:cubicBezTo>
                <a:cubicBezTo>
                  <a:pt x="366" y="690"/>
                  <a:pt x="361" y="687"/>
                  <a:pt x="353" y="683"/>
                </a:cubicBezTo>
                <a:cubicBezTo>
                  <a:pt x="345" y="678"/>
                  <a:pt x="340" y="676"/>
                  <a:pt x="338" y="676"/>
                </a:cubicBezTo>
                <a:cubicBezTo>
                  <a:pt x="332" y="675"/>
                  <a:pt x="326" y="676"/>
                  <a:pt x="321" y="678"/>
                </a:cubicBezTo>
                <a:cubicBezTo>
                  <a:pt x="320" y="678"/>
                  <a:pt x="320" y="678"/>
                  <a:pt x="319" y="679"/>
                </a:cubicBezTo>
                <a:cubicBezTo>
                  <a:pt x="315" y="681"/>
                  <a:pt x="312" y="684"/>
                  <a:pt x="311" y="687"/>
                </a:cubicBezTo>
                <a:cubicBezTo>
                  <a:pt x="306" y="703"/>
                  <a:pt x="300" y="710"/>
                  <a:pt x="295" y="709"/>
                </a:cubicBezTo>
                <a:lnTo>
                  <a:pt x="295" y="709"/>
                </a:lnTo>
                <a:cubicBezTo>
                  <a:pt x="294" y="710"/>
                  <a:pt x="292" y="710"/>
                  <a:pt x="290" y="709"/>
                </a:cubicBezTo>
                <a:cubicBezTo>
                  <a:pt x="286" y="709"/>
                  <a:pt x="282" y="708"/>
                  <a:pt x="279" y="706"/>
                </a:cubicBezTo>
                <a:cubicBezTo>
                  <a:pt x="274" y="704"/>
                  <a:pt x="271" y="703"/>
                  <a:pt x="269" y="703"/>
                </a:cubicBezTo>
                <a:cubicBezTo>
                  <a:pt x="265" y="703"/>
                  <a:pt x="263" y="704"/>
                  <a:pt x="261" y="706"/>
                </a:cubicBezTo>
                <a:cubicBezTo>
                  <a:pt x="260" y="708"/>
                  <a:pt x="259" y="711"/>
                  <a:pt x="258" y="717"/>
                </a:cubicBezTo>
                <a:cubicBezTo>
                  <a:pt x="257" y="719"/>
                  <a:pt x="256" y="722"/>
                  <a:pt x="254" y="727"/>
                </a:cubicBezTo>
                <a:cubicBezTo>
                  <a:pt x="252" y="731"/>
                  <a:pt x="251" y="735"/>
                  <a:pt x="252" y="738"/>
                </a:cubicBezTo>
                <a:cubicBezTo>
                  <a:pt x="252" y="741"/>
                  <a:pt x="251" y="743"/>
                  <a:pt x="247" y="745"/>
                </a:cubicBezTo>
                <a:cubicBezTo>
                  <a:pt x="243" y="748"/>
                  <a:pt x="240" y="750"/>
                  <a:pt x="240" y="750"/>
                </a:cubicBezTo>
                <a:cubicBezTo>
                  <a:pt x="238" y="752"/>
                  <a:pt x="236" y="753"/>
                  <a:pt x="231" y="754"/>
                </a:cubicBezTo>
                <a:cubicBezTo>
                  <a:pt x="227" y="754"/>
                  <a:pt x="225" y="756"/>
                  <a:pt x="225" y="759"/>
                </a:cubicBezTo>
                <a:cubicBezTo>
                  <a:pt x="224" y="766"/>
                  <a:pt x="226" y="770"/>
                  <a:pt x="231" y="772"/>
                </a:cubicBezTo>
                <a:cubicBezTo>
                  <a:pt x="240" y="775"/>
                  <a:pt x="246" y="778"/>
                  <a:pt x="250" y="781"/>
                </a:cubicBezTo>
                <a:cubicBezTo>
                  <a:pt x="253" y="784"/>
                  <a:pt x="255" y="789"/>
                  <a:pt x="258" y="797"/>
                </a:cubicBezTo>
                <a:cubicBezTo>
                  <a:pt x="259" y="798"/>
                  <a:pt x="261" y="800"/>
                  <a:pt x="265" y="802"/>
                </a:cubicBezTo>
                <a:cubicBezTo>
                  <a:pt x="268" y="803"/>
                  <a:pt x="271" y="805"/>
                  <a:pt x="271" y="807"/>
                </a:cubicBezTo>
                <a:cubicBezTo>
                  <a:pt x="272" y="810"/>
                  <a:pt x="275" y="811"/>
                  <a:pt x="278" y="812"/>
                </a:cubicBezTo>
                <a:cubicBezTo>
                  <a:pt x="283" y="814"/>
                  <a:pt x="285" y="815"/>
                  <a:pt x="286" y="816"/>
                </a:cubicBezTo>
                <a:cubicBezTo>
                  <a:pt x="292" y="821"/>
                  <a:pt x="297" y="826"/>
                  <a:pt x="299" y="829"/>
                </a:cubicBezTo>
                <a:cubicBezTo>
                  <a:pt x="302" y="833"/>
                  <a:pt x="305" y="838"/>
                  <a:pt x="310" y="845"/>
                </a:cubicBezTo>
                <a:cubicBezTo>
                  <a:pt x="314" y="851"/>
                  <a:pt x="316" y="856"/>
                  <a:pt x="315" y="861"/>
                </a:cubicBezTo>
                <a:cubicBezTo>
                  <a:pt x="314" y="869"/>
                  <a:pt x="311" y="874"/>
                  <a:pt x="306" y="878"/>
                </a:cubicBezTo>
                <a:cubicBezTo>
                  <a:pt x="301" y="883"/>
                  <a:pt x="298" y="886"/>
                  <a:pt x="298" y="888"/>
                </a:cubicBezTo>
                <a:cubicBezTo>
                  <a:pt x="298" y="889"/>
                  <a:pt x="300" y="892"/>
                  <a:pt x="303" y="897"/>
                </a:cubicBezTo>
                <a:cubicBezTo>
                  <a:pt x="303" y="898"/>
                  <a:pt x="303" y="901"/>
                  <a:pt x="303" y="907"/>
                </a:cubicBezTo>
                <a:cubicBezTo>
                  <a:pt x="304" y="909"/>
                  <a:pt x="305" y="912"/>
                  <a:pt x="308" y="915"/>
                </a:cubicBezTo>
                <a:cubicBezTo>
                  <a:pt x="311" y="919"/>
                  <a:pt x="313" y="921"/>
                  <a:pt x="313" y="924"/>
                </a:cubicBezTo>
                <a:cubicBezTo>
                  <a:pt x="314" y="925"/>
                  <a:pt x="315" y="926"/>
                  <a:pt x="317" y="927"/>
                </a:cubicBezTo>
                <a:cubicBezTo>
                  <a:pt x="319" y="928"/>
                  <a:pt x="321" y="929"/>
                  <a:pt x="321" y="930"/>
                </a:cubicBezTo>
                <a:cubicBezTo>
                  <a:pt x="322" y="932"/>
                  <a:pt x="322" y="936"/>
                  <a:pt x="320" y="942"/>
                </a:cubicBezTo>
                <a:cubicBezTo>
                  <a:pt x="320" y="943"/>
                  <a:pt x="321" y="946"/>
                  <a:pt x="323" y="950"/>
                </a:cubicBezTo>
                <a:cubicBezTo>
                  <a:pt x="324" y="952"/>
                  <a:pt x="325" y="954"/>
                  <a:pt x="326" y="956"/>
                </a:cubicBezTo>
                <a:cubicBezTo>
                  <a:pt x="328" y="957"/>
                  <a:pt x="329" y="957"/>
                  <a:pt x="330" y="958"/>
                </a:cubicBezTo>
                <a:cubicBezTo>
                  <a:pt x="331" y="958"/>
                  <a:pt x="334" y="957"/>
                  <a:pt x="339" y="956"/>
                </a:cubicBezTo>
                <a:cubicBezTo>
                  <a:pt x="341" y="956"/>
                  <a:pt x="342" y="957"/>
                  <a:pt x="344" y="961"/>
                </a:cubicBezTo>
                <a:cubicBezTo>
                  <a:pt x="345" y="963"/>
                  <a:pt x="346" y="965"/>
                  <a:pt x="348" y="965"/>
                </a:cubicBezTo>
                <a:cubicBezTo>
                  <a:pt x="349" y="965"/>
                  <a:pt x="350" y="964"/>
                  <a:pt x="353" y="961"/>
                </a:cubicBezTo>
                <a:cubicBezTo>
                  <a:pt x="356" y="958"/>
                  <a:pt x="358" y="957"/>
                  <a:pt x="358" y="955"/>
                </a:cubicBezTo>
                <a:cubicBezTo>
                  <a:pt x="358" y="954"/>
                  <a:pt x="357" y="950"/>
                  <a:pt x="355" y="942"/>
                </a:cubicBezTo>
                <a:cubicBezTo>
                  <a:pt x="353" y="935"/>
                  <a:pt x="352" y="931"/>
                  <a:pt x="352" y="930"/>
                </a:cubicBezTo>
                <a:cubicBezTo>
                  <a:pt x="353" y="924"/>
                  <a:pt x="356" y="918"/>
                  <a:pt x="361" y="915"/>
                </a:cubicBezTo>
                <a:cubicBezTo>
                  <a:pt x="366" y="911"/>
                  <a:pt x="372" y="910"/>
                  <a:pt x="378" y="911"/>
                </a:cubicBezTo>
                <a:cubicBezTo>
                  <a:pt x="383" y="911"/>
                  <a:pt x="386" y="915"/>
                  <a:pt x="386" y="923"/>
                </a:cubicBezTo>
                <a:cubicBezTo>
                  <a:pt x="387" y="928"/>
                  <a:pt x="387" y="931"/>
                  <a:pt x="387" y="931"/>
                </a:cubicBezTo>
                <a:cubicBezTo>
                  <a:pt x="388" y="934"/>
                  <a:pt x="389" y="935"/>
                  <a:pt x="390" y="935"/>
                </a:cubicBezTo>
                <a:cubicBezTo>
                  <a:pt x="391" y="935"/>
                  <a:pt x="393" y="935"/>
                  <a:pt x="396" y="934"/>
                </a:cubicBezTo>
                <a:cubicBezTo>
                  <a:pt x="399" y="935"/>
                  <a:pt x="403" y="939"/>
                  <a:pt x="408" y="947"/>
                </a:cubicBezTo>
                <a:cubicBezTo>
                  <a:pt x="409" y="948"/>
                  <a:pt x="410" y="951"/>
                  <a:pt x="411" y="954"/>
                </a:cubicBezTo>
                <a:cubicBezTo>
                  <a:pt x="413" y="957"/>
                  <a:pt x="413" y="960"/>
                  <a:pt x="413" y="963"/>
                </a:cubicBezTo>
                <a:cubicBezTo>
                  <a:pt x="413" y="965"/>
                  <a:pt x="416" y="966"/>
                  <a:pt x="420" y="968"/>
                </a:cubicBezTo>
                <a:cubicBezTo>
                  <a:pt x="420" y="970"/>
                  <a:pt x="421" y="972"/>
                  <a:pt x="420" y="977"/>
                </a:cubicBezTo>
                <a:cubicBezTo>
                  <a:pt x="421" y="980"/>
                  <a:pt x="422" y="985"/>
                  <a:pt x="423" y="993"/>
                </a:cubicBezTo>
                <a:cubicBezTo>
                  <a:pt x="423" y="995"/>
                  <a:pt x="423" y="996"/>
                  <a:pt x="423" y="998"/>
                </a:cubicBezTo>
                <a:cubicBezTo>
                  <a:pt x="423" y="999"/>
                  <a:pt x="422" y="1000"/>
                  <a:pt x="421" y="1002"/>
                </a:cubicBezTo>
                <a:cubicBezTo>
                  <a:pt x="421" y="1004"/>
                  <a:pt x="429" y="1010"/>
                  <a:pt x="445" y="1019"/>
                </a:cubicBezTo>
                <a:cubicBezTo>
                  <a:pt x="440" y="996"/>
                  <a:pt x="437" y="984"/>
                  <a:pt x="437" y="984"/>
                </a:cubicBezTo>
                <a:cubicBezTo>
                  <a:pt x="438" y="983"/>
                  <a:pt x="439" y="981"/>
                  <a:pt x="440" y="978"/>
                </a:cubicBezTo>
                <a:cubicBezTo>
                  <a:pt x="442" y="976"/>
                  <a:pt x="443" y="973"/>
                  <a:pt x="443" y="972"/>
                </a:cubicBezTo>
                <a:cubicBezTo>
                  <a:pt x="443" y="969"/>
                  <a:pt x="442" y="967"/>
                  <a:pt x="442" y="967"/>
                </a:cubicBezTo>
                <a:cubicBezTo>
                  <a:pt x="442" y="966"/>
                  <a:pt x="443" y="964"/>
                  <a:pt x="446" y="959"/>
                </a:cubicBezTo>
                <a:cubicBezTo>
                  <a:pt x="448" y="954"/>
                  <a:pt x="450" y="951"/>
                  <a:pt x="452" y="949"/>
                </a:cubicBezTo>
                <a:cubicBezTo>
                  <a:pt x="452" y="948"/>
                  <a:pt x="454" y="947"/>
                  <a:pt x="456" y="947"/>
                </a:cubicBezTo>
                <a:cubicBezTo>
                  <a:pt x="459" y="946"/>
                  <a:pt x="461" y="946"/>
                  <a:pt x="462" y="946"/>
                </a:cubicBezTo>
                <a:cubicBezTo>
                  <a:pt x="465" y="945"/>
                  <a:pt x="469" y="944"/>
                  <a:pt x="471" y="945"/>
                </a:cubicBezTo>
                <a:cubicBezTo>
                  <a:pt x="473" y="945"/>
                  <a:pt x="477" y="947"/>
                  <a:pt x="482" y="951"/>
                </a:cubicBezTo>
                <a:cubicBezTo>
                  <a:pt x="487" y="955"/>
                  <a:pt x="489" y="958"/>
                  <a:pt x="489" y="960"/>
                </a:cubicBezTo>
                <a:cubicBezTo>
                  <a:pt x="489" y="961"/>
                  <a:pt x="488" y="963"/>
                  <a:pt x="487" y="965"/>
                </a:cubicBezTo>
                <a:cubicBezTo>
                  <a:pt x="487" y="967"/>
                  <a:pt x="488" y="968"/>
                  <a:pt x="489" y="969"/>
                </a:cubicBezTo>
                <a:cubicBezTo>
                  <a:pt x="491" y="969"/>
                  <a:pt x="493" y="969"/>
                  <a:pt x="495" y="970"/>
                </a:cubicBezTo>
                <a:cubicBezTo>
                  <a:pt x="496" y="970"/>
                  <a:pt x="496" y="971"/>
                  <a:pt x="497" y="974"/>
                </a:cubicBezTo>
                <a:cubicBezTo>
                  <a:pt x="498" y="976"/>
                  <a:pt x="499" y="977"/>
                  <a:pt x="500" y="978"/>
                </a:cubicBezTo>
                <a:cubicBezTo>
                  <a:pt x="507" y="981"/>
                  <a:pt x="510" y="986"/>
                  <a:pt x="509" y="992"/>
                </a:cubicBezTo>
                <a:cubicBezTo>
                  <a:pt x="511" y="993"/>
                  <a:pt x="513" y="993"/>
                  <a:pt x="516" y="993"/>
                </a:cubicBezTo>
                <a:cubicBezTo>
                  <a:pt x="519" y="993"/>
                  <a:pt x="523" y="995"/>
                  <a:pt x="526" y="999"/>
                </a:cubicBezTo>
                <a:cubicBezTo>
                  <a:pt x="528" y="1003"/>
                  <a:pt x="531" y="1006"/>
                  <a:pt x="534" y="1006"/>
                </a:cubicBezTo>
                <a:cubicBezTo>
                  <a:pt x="540" y="1007"/>
                  <a:pt x="543" y="1004"/>
                  <a:pt x="544" y="999"/>
                </a:cubicBezTo>
                <a:cubicBezTo>
                  <a:pt x="537" y="989"/>
                  <a:pt x="531" y="984"/>
                  <a:pt x="525" y="982"/>
                </a:cubicBezTo>
                <a:cubicBezTo>
                  <a:pt x="523" y="981"/>
                  <a:pt x="521" y="978"/>
                  <a:pt x="519" y="972"/>
                </a:cubicBezTo>
                <a:cubicBezTo>
                  <a:pt x="517" y="967"/>
                  <a:pt x="516" y="962"/>
                  <a:pt x="517" y="959"/>
                </a:cubicBezTo>
                <a:cubicBezTo>
                  <a:pt x="517" y="954"/>
                  <a:pt x="519" y="952"/>
                  <a:pt x="522" y="951"/>
                </a:cubicBezTo>
                <a:cubicBezTo>
                  <a:pt x="525" y="950"/>
                  <a:pt x="527" y="949"/>
                  <a:pt x="527" y="947"/>
                </a:cubicBezTo>
                <a:cubicBezTo>
                  <a:pt x="527" y="943"/>
                  <a:pt x="526" y="940"/>
                  <a:pt x="523" y="939"/>
                </a:cubicBezTo>
                <a:cubicBezTo>
                  <a:pt x="519" y="936"/>
                  <a:pt x="517" y="935"/>
                  <a:pt x="517" y="934"/>
                </a:cubicBezTo>
                <a:cubicBezTo>
                  <a:pt x="516" y="932"/>
                  <a:pt x="515" y="930"/>
                  <a:pt x="514" y="927"/>
                </a:cubicBezTo>
                <a:cubicBezTo>
                  <a:pt x="513" y="923"/>
                  <a:pt x="513" y="920"/>
                  <a:pt x="512" y="918"/>
                </a:cubicBezTo>
                <a:cubicBezTo>
                  <a:pt x="510" y="908"/>
                  <a:pt x="509" y="902"/>
                  <a:pt x="508" y="900"/>
                </a:cubicBezTo>
                <a:cubicBezTo>
                  <a:pt x="508" y="899"/>
                  <a:pt x="507" y="897"/>
                  <a:pt x="504" y="893"/>
                </a:cubicBezTo>
                <a:cubicBezTo>
                  <a:pt x="503" y="891"/>
                  <a:pt x="502" y="889"/>
                  <a:pt x="502" y="887"/>
                </a:cubicBezTo>
                <a:cubicBezTo>
                  <a:pt x="502" y="885"/>
                  <a:pt x="501" y="884"/>
                  <a:pt x="497" y="884"/>
                </a:cubicBezTo>
                <a:cubicBezTo>
                  <a:pt x="493" y="884"/>
                  <a:pt x="491" y="883"/>
                  <a:pt x="491" y="881"/>
                </a:cubicBezTo>
                <a:cubicBezTo>
                  <a:pt x="493" y="879"/>
                  <a:pt x="494" y="877"/>
                  <a:pt x="494" y="877"/>
                </a:cubicBezTo>
                <a:cubicBezTo>
                  <a:pt x="494" y="874"/>
                  <a:pt x="493" y="871"/>
                  <a:pt x="490" y="868"/>
                </a:cubicBezTo>
                <a:cubicBezTo>
                  <a:pt x="486" y="864"/>
                  <a:pt x="484" y="862"/>
                  <a:pt x="484" y="862"/>
                </a:cubicBezTo>
                <a:lnTo>
                  <a:pt x="483" y="862"/>
                </a:lnTo>
                <a:cubicBezTo>
                  <a:pt x="480" y="855"/>
                  <a:pt x="476" y="847"/>
                  <a:pt x="470" y="836"/>
                </a:cubicBezTo>
                <a:cubicBezTo>
                  <a:pt x="463" y="821"/>
                  <a:pt x="460" y="812"/>
                  <a:pt x="460" y="810"/>
                </a:cubicBezTo>
                <a:cubicBezTo>
                  <a:pt x="461" y="806"/>
                  <a:pt x="463" y="803"/>
                  <a:pt x="468" y="802"/>
                </a:cubicBezTo>
                <a:cubicBezTo>
                  <a:pt x="469" y="803"/>
                  <a:pt x="472" y="805"/>
                  <a:pt x="475" y="808"/>
                </a:cubicBezTo>
                <a:cubicBezTo>
                  <a:pt x="479" y="810"/>
                  <a:pt x="481" y="812"/>
                  <a:pt x="482" y="812"/>
                </a:cubicBezTo>
                <a:cubicBezTo>
                  <a:pt x="483" y="812"/>
                  <a:pt x="484" y="811"/>
                  <a:pt x="486" y="810"/>
                </a:cubicBezTo>
                <a:cubicBezTo>
                  <a:pt x="487" y="809"/>
                  <a:pt x="489" y="809"/>
                  <a:pt x="490" y="809"/>
                </a:cubicBezTo>
                <a:cubicBezTo>
                  <a:pt x="492" y="809"/>
                  <a:pt x="496" y="812"/>
                  <a:pt x="504" y="817"/>
                </a:cubicBezTo>
                <a:cubicBezTo>
                  <a:pt x="509" y="820"/>
                  <a:pt x="516" y="821"/>
                  <a:pt x="523" y="823"/>
                </a:cubicBezTo>
                <a:cubicBezTo>
                  <a:pt x="519" y="829"/>
                  <a:pt x="517" y="833"/>
                  <a:pt x="517" y="835"/>
                </a:cubicBezTo>
                <a:cubicBezTo>
                  <a:pt x="516" y="838"/>
                  <a:pt x="518" y="841"/>
                  <a:pt x="522" y="844"/>
                </a:cubicBezTo>
                <a:cubicBezTo>
                  <a:pt x="522" y="844"/>
                  <a:pt x="524" y="845"/>
                  <a:pt x="526" y="846"/>
                </a:cubicBezTo>
                <a:cubicBezTo>
                  <a:pt x="528" y="847"/>
                  <a:pt x="530" y="848"/>
                  <a:pt x="533" y="849"/>
                </a:cubicBezTo>
                <a:cubicBezTo>
                  <a:pt x="533" y="844"/>
                  <a:pt x="533" y="841"/>
                  <a:pt x="533" y="840"/>
                </a:cubicBezTo>
                <a:cubicBezTo>
                  <a:pt x="534" y="839"/>
                  <a:pt x="535" y="839"/>
                  <a:pt x="538" y="839"/>
                </a:cubicBezTo>
                <a:cubicBezTo>
                  <a:pt x="539" y="839"/>
                  <a:pt x="541" y="837"/>
                  <a:pt x="543" y="833"/>
                </a:cubicBezTo>
                <a:cubicBezTo>
                  <a:pt x="546" y="828"/>
                  <a:pt x="550" y="825"/>
                  <a:pt x="554" y="825"/>
                </a:cubicBezTo>
                <a:cubicBezTo>
                  <a:pt x="557" y="825"/>
                  <a:pt x="560" y="824"/>
                  <a:pt x="565" y="823"/>
                </a:cubicBezTo>
                <a:cubicBezTo>
                  <a:pt x="572" y="821"/>
                  <a:pt x="575" y="820"/>
                  <a:pt x="575" y="818"/>
                </a:cubicBezTo>
                <a:cubicBezTo>
                  <a:pt x="575" y="816"/>
                  <a:pt x="573" y="813"/>
                  <a:pt x="568" y="810"/>
                </a:cubicBezTo>
                <a:cubicBezTo>
                  <a:pt x="562" y="807"/>
                  <a:pt x="559" y="806"/>
                  <a:pt x="559" y="805"/>
                </a:cubicBezTo>
                <a:cubicBezTo>
                  <a:pt x="559" y="805"/>
                  <a:pt x="558" y="801"/>
                  <a:pt x="558" y="794"/>
                </a:cubicBezTo>
                <a:cubicBezTo>
                  <a:pt x="558" y="789"/>
                  <a:pt x="556" y="786"/>
                  <a:pt x="552" y="786"/>
                </a:cubicBezTo>
                <a:cubicBezTo>
                  <a:pt x="551" y="786"/>
                  <a:pt x="549" y="787"/>
                  <a:pt x="547" y="789"/>
                </a:cubicBezTo>
                <a:cubicBezTo>
                  <a:pt x="547" y="789"/>
                  <a:pt x="547" y="790"/>
                  <a:pt x="549" y="792"/>
                </a:cubicBezTo>
                <a:cubicBezTo>
                  <a:pt x="550" y="794"/>
                  <a:pt x="551" y="795"/>
                  <a:pt x="552" y="794"/>
                </a:cubicBezTo>
                <a:lnTo>
                  <a:pt x="553" y="795"/>
                </a:lnTo>
                <a:cubicBezTo>
                  <a:pt x="553" y="797"/>
                  <a:pt x="552" y="799"/>
                  <a:pt x="550" y="801"/>
                </a:cubicBezTo>
                <a:cubicBezTo>
                  <a:pt x="548" y="803"/>
                  <a:pt x="546" y="804"/>
                  <a:pt x="545" y="804"/>
                </a:cubicBezTo>
                <a:cubicBezTo>
                  <a:pt x="542" y="804"/>
                  <a:pt x="538" y="802"/>
                  <a:pt x="532" y="797"/>
                </a:cubicBezTo>
                <a:cubicBezTo>
                  <a:pt x="528" y="794"/>
                  <a:pt x="525" y="792"/>
                  <a:pt x="524" y="791"/>
                </a:cubicBezTo>
                <a:cubicBezTo>
                  <a:pt x="523" y="789"/>
                  <a:pt x="522" y="786"/>
                  <a:pt x="519" y="780"/>
                </a:cubicBezTo>
                <a:cubicBezTo>
                  <a:pt x="517" y="774"/>
                  <a:pt x="516" y="771"/>
                  <a:pt x="516" y="769"/>
                </a:cubicBezTo>
                <a:cubicBezTo>
                  <a:pt x="516" y="768"/>
                  <a:pt x="517" y="767"/>
                  <a:pt x="519" y="766"/>
                </a:cubicBezTo>
                <a:cubicBezTo>
                  <a:pt x="521" y="764"/>
                  <a:pt x="523" y="763"/>
                  <a:pt x="523" y="761"/>
                </a:cubicBezTo>
                <a:cubicBezTo>
                  <a:pt x="523" y="760"/>
                  <a:pt x="522" y="758"/>
                  <a:pt x="519" y="756"/>
                </a:cubicBezTo>
                <a:lnTo>
                  <a:pt x="515" y="752"/>
                </a:lnTo>
                <a:cubicBezTo>
                  <a:pt x="510" y="752"/>
                  <a:pt x="507" y="752"/>
                  <a:pt x="507" y="752"/>
                </a:cubicBezTo>
                <a:cubicBezTo>
                  <a:pt x="499" y="750"/>
                  <a:pt x="496" y="748"/>
                  <a:pt x="496" y="747"/>
                </a:cubicBezTo>
                <a:cubicBezTo>
                  <a:pt x="496" y="743"/>
                  <a:pt x="497" y="741"/>
                  <a:pt x="499" y="740"/>
                </a:cubicBezTo>
                <a:cubicBezTo>
                  <a:pt x="500" y="739"/>
                  <a:pt x="502" y="738"/>
                  <a:pt x="506" y="739"/>
                </a:cubicBezTo>
                <a:cubicBezTo>
                  <a:pt x="509" y="739"/>
                  <a:pt x="517" y="735"/>
                  <a:pt x="528" y="726"/>
                </a:cubicBezTo>
                <a:cubicBezTo>
                  <a:pt x="528" y="725"/>
                  <a:pt x="528" y="724"/>
                  <a:pt x="527" y="723"/>
                </a:cubicBezTo>
                <a:cubicBezTo>
                  <a:pt x="528" y="723"/>
                  <a:pt x="528" y="723"/>
                  <a:pt x="529" y="723"/>
                </a:cubicBezTo>
                <a:cubicBezTo>
                  <a:pt x="535" y="724"/>
                  <a:pt x="542" y="722"/>
                  <a:pt x="550" y="718"/>
                </a:cubicBezTo>
                <a:cubicBezTo>
                  <a:pt x="552" y="717"/>
                  <a:pt x="554" y="716"/>
                  <a:pt x="556" y="715"/>
                </a:cubicBezTo>
                <a:cubicBezTo>
                  <a:pt x="562" y="712"/>
                  <a:pt x="567" y="711"/>
                  <a:pt x="571" y="711"/>
                </a:cubicBezTo>
                <a:cubicBezTo>
                  <a:pt x="572" y="712"/>
                  <a:pt x="574" y="713"/>
                  <a:pt x="576" y="714"/>
                </a:cubicBezTo>
                <a:cubicBezTo>
                  <a:pt x="578" y="716"/>
                  <a:pt x="579" y="718"/>
                  <a:pt x="579" y="719"/>
                </a:cubicBezTo>
                <a:cubicBezTo>
                  <a:pt x="579" y="720"/>
                  <a:pt x="578" y="721"/>
                  <a:pt x="577" y="723"/>
                </a:cubicBezTo>
                <a:cubicBezTo>
                  <a:pt x="577" y="723"/>
                  <a:pt x="582" y="724"/>
                  <a:pt x="589" y="726"/>
                </a:cubicBezTo>
                <a:cubicBezTo>
                  <a:pt x="594" y="727"/>
                  <a:pt x="597" y="729"/>
                  <a:pt x="599" y="733"/>
                </a:cubicBezTo>
                <a:cubicBezTo>
                  <a:pt x="605" y="744"/>
                  <a:pt x="609" y="750"/>
                  <a:pt x="612" y="750"/>
                </a:cubicBezTo>
                <a:cubicBezTo>
                  <a:pt x="614" y="750"/>
                  <a:pt x="617" y="750"/>
                  <a:pt x="620" y="749"/>
                </a:cubicBezTo>
                <a:cubicBezTo>
                  <a:pt x="622" y="751"/>
                  <a:pt x="625" y="753"/>
                  <a:pt x="630" y="758"/>
                </a:cubicBezTo>
                <a:cubicBezTo>
                  <a:pt x="634" y="762"/>
                  <a:pt x="636" y="766"/>
                  <a:pt x="638" y="768"/>
                </a:cubicBezTo>
                <a:cubicBezTo>
                  <a:pt x="639" y="770"/>
                  <a:pt x="641" y="772"/>
                  <a:pt x="645" y="772"/>
                </a:cubicBezTo>
                <a:cubicBezTo>
                  <a:pt x="648" y="773"/>
                  <a:pt x="650" y="771"/>
                  <a:pt x="652" y="767"/>
                </a:cubicBezTo>
                <a:cubicBezTo>
                  <a:pt x="653" y="764"/>
                  <a:pt x="654" y="761"/>
                  <a:pt x="654" y="758"/>
                </a:cubicBezTo>
                <a:cubicBezTo>
                  <a:pt x="655" y="751"/>
                  <a:pt x="654" y="745"/>
                  <a:pt x="651" y="741"/>
                </a:cubicBezTo>
                <a:cubicBezTo>
                  <a:pt x="650" y="737"/>
                  <a:pt x="649" y="734"/>
                  <a:pt x="647" y="733"/>
                </a:cubicBezTo>
                <a:lnTo>
                  <a:pt x="647" y="733"/>
                </a:lnTo>
                <a:close/>
                <a:moveTo>
                  <a:pt x="1027" y="1178"/>
                </a:moveTo>
                <a:lnTo>
                  <a:pt x="1027" y="1178"/>
                </a:lnTo>
                <a:cubicBezTo>
                  <a:pt x="1027" y="1177"/>
                  <a:pt x="1028" y="1174"/>
                  <a:pt x="1030" y="1170"/>
                </a:cubicBezTo>
                <a:cubicBezTo>
                  <a:pt x="1029" y="1169"/>
                  <a:pt x="1028" y="1169"/>
                  <a:pt x="1026" y="1169"/>
                </a:cubicBezTo>
                <a:cubicBezTo>
                  <a:pt x="1024" y="1169"/>
                  <a:pt x="1023" y="1170"/>
                  <a:pt x="1022" y="1171"/>
                </a:cubicBezTo>
                <a:cubicBezTo>
                  <a:pt x="1020" y="1173"/>
                  <a:pt x="1018" y="1176"/>
                  <a:pt x="1016" y="1180"/>
                </a:cubicBezTo>
                <a:cubicBezTo>
                  <a:pt x="1014" y="1185"/>
                  <a:pt x="1010" y="1187"/>
                  <a:pt x="1005" y="1186"/>
                </a:cubicBezTo>
                <a:cubicBezTo>
                  <a:pt x="999" y="1184"/>
                  <a:pt x="995" y="1183"/>
                  <a:pt x="994" y="1183"/>
                </a:cubicBezTo>
                <a:cubicBezTo>
                  <a:pt x="993" y="1183"/>
                  <a:pt x="991" y="1184"/>
                  <a:pt x="989" y="1187"/>
                </a:cubicBezTo>
                <a:cubicBezTo>
                  <a:pt x="986" y="1190"/>
                  <a:pt x="985" y="1192"/>
                  <a:pt x="984" y="1192"/>
                </a:cubicBezTo>
                <a:cubicBezTo>
                  <a:pt x="981" y="1192"/>
                  <a:pt x="977" y="1193"/>
                  <a:pt x="971" y="1194"/>
                </a:cubicBezTo>
                <a:cubicBezTo>
                  <a:pt x="971" y="1194"/>
                  <a:pt x="969" y="1197"/>
                  <a:pt x="966" y="1202"/>
                </a:cubicBezTo>
                <a:cubicBezTo>
                  <a:pt x="963" y="1207"/>
                  <a:pt x="960" y="1209"/>
                  <a:pt x="957" y="1209"/>
                </a:cubicBezTo>
                <a:cubicBezTo>
                  <a:pt x="954" y="1209"/>
                  <a:pt x="952" y="1207"/>
                  <a:pt x="949" y="1205"/>
                </a:cubicBezTo>
                <a:cubicBezTo>
                  <a:pt x="946" y="1202"/>
                  <a:pt x="945" y="1200"/>
                  <a:pt x="945" y="1198"/>
                </a:cubicBezTo>
                <a:cubicBezTo>
                  <a:pt x="946" y="1195"/>
                  <a:pt x="947" y="1192"/>
                  <a:pt x="947" y="1191"/>
                </a:cubicBezTo>
                <a:cubicBezTo>
                  <a:pt x="948" y="1185"/>
                  <a:pt x="948" y="1180"/>
                  <a:pt x="946" y="1177"/>
                </a:cubicBezTo>
                <a:cubicBezTo>
                  <a:pt x="945" y="1173"/>
                  <a:pt x="941" y="1171"/>
                  <a:pt x="936" y="1170"/>
                </a:cubicBezTo>
                <a:cubicBezTo>
                  <a:pt x="932" y="1170"/>
                  <a:pt x="925" y="1172"/>
                  <a:pt x="916" y="1177"/>
                </a:cubicBezTo>
                <a:cubicBezTo>
                  <a:pt x="911" y="1179"/>
                  <a:pt x="906" y="1181"/>
                  <a:pt x="902" y="1183"/>
                </a:cubicBezTo>
                <a:cubicBezTo>
                  <a:pt x="899" y="1183"/>
                  <a:pt x="898" y="1182"/>
                  <a:pt x="896" y="1180"/>
                </a:cubicBezTo>
                <a:cubicBezTo>
                  <a:pt x="894" y="1179"/>
                  <a:pt x="892" y="1178"/>
                  <a:pt x="889" y="1177"/>
                </a:cubicBezTo>
                <a:cubicBezTo>
                  <a:pt x="887" y="1177"/>
                  <a:pt x="883" y="1178"/>
                  <a:pt x="877" y="1179"/>
                </a:cubicBezTo>
                <a:cubicBezTo>
                  <a:pt x="870" y="1180"/>
                  <a:pt x="864" y="1180"/>
                  <a:pt x="856" y="1179"/>
                </a:cubicBezTo>
                <a:cubicBezTo>
                  <a:pt x="853" y="1179"/>
                  <a:pt x="848" y="1178"/>
                  <a:pt x="841" y="1176"/>
                </a:cubicBezTo>
                <a:cubicBezTo>
                  <a:pt x="842" y="1176"/>
                  <a:pt x="842" y="1175"/>
                  <a:pt x="842" y="1173"/>
                </a:cubicBezTo>
                <a:cubicBezTo>
                  <a:pt x="842" y="1170"/>
                  <a:pt x="840" y="1168"/>
                  <a:pt x="835" y="1168"/>
                </a:cubicBezTo>
                <a:cubicBezTo>
                  <a:pt x="833" y="1168"/>
                  <a:pt x="827" y="1169"/>
                  <a:pt x="818" y="1170"/>
                </a:cubicBezTo>
                <a:cubicBezTo>
                  <a:pt x="808" y="1172"/>
                  <a:pt x="801" y="1172"/>
                  <a:pt x="797" y="1172"/>
                </a:cubicBezTo>
                <a:cubicBezTo>
                  <a:pt x="791" y="1170"/>
                  <a:pt x="787" y="1169"/>
                  <a:pt x="786" y="1169"/>
                </a:cubicBezTo>
                <a:cubicBezTo>
                  <a:pt x="784" y="1169"/>
                  <a:pt x="777" y="1173"/>
                  <a:pt x="765" y="1180"/>
                </a:cubicBezTo>
                <a:cubicBezTo>
                  <a:pt x="750" y="1188"/>
                  <a:pt x="738" y="1192"/>
                  <a:pt x="728" y="1190"/>
                </a:cubicBezTo>
                <a:cubicBezTo>
                  <a:pt x="726" y="1190"/>
                  <a:pt x="724" y="1189"/>
                  <a:pt x="723" y="1187"/>
                </a:cubicBezTo>
                <a:cubicBezTo>
                  <a:pt x="723" y="1185"/>
                  <a:pt x="723" y="1183"/>
                  <a:pt x="723" y="1182"/>
                </a:cubicBezTo>
                <a:cubicBezTo>
                  <a:pt x="722" y="1177"/>
                  <a:pt x="717" y="1174"/>
                  <a:pt x="708" y="1173"/>
                </a:cubicBezTo>
                <a:cubicBezTo>
                  <a:pt x="706" y="1172"/>
                  <a:pt x="704" y="1172"/>
                  <a:pt x="703" y="1171"/>
                </a:cubicBezTo>
                <a:cubicBezTo>
                  <a:pt x="701" y="1170"/>
                  <a:pt x="700" y="1169"/>
                  <a:pt x="698" y="1166"/>
                </a:cubicBezTo>
                <a:cubicBezTo>
                  <a:pt x="698" y="1165"/>
                  <a:pt x="700" y="1164"/>
                  <a:pt x="703" y="1163"/>
                </a:cubicBezTo>
                <a:cubicBezTo>
                  <a:pt x="706" y="1162"/>
                  <a:pt x="708" y="1161"/>
                  <a:pt x="708" y="1159"/>
                </a:cubicBezTo>
                <a:cubicBezTo>
                  <a:pt x="708" y="1156"/>
                  <a:pt x="707" y="1153"/>
                  <a:pt x="705" y="1151"/>
                </a:cubicBezTo>
                <a:cubicBezTo>
                  <a:pt x="703" y="1149"/>
                  <a:pt x="700" y="1147"/>
                  <a:pt x="698" y="1147"/>
                </a:cubicBezTo>
                <a:cubicBezTo>
                  <a:pt x="696" y="1147"/>
                  <a:pt x="695" y="1148"/>
                  <a:pt x="694" y="1150"/>
                </a:cubicBezTo>
                <a:cubicBezTo>
                  <a:pt x="693" y="1151"/>
                  <a:pt x="692" y="1154"/>
                  <a:pt x="690" y="1157"/>
                </a:cubicBezTo>
                <a:cubicBezTo>
                  <a:pt x="686" y="1164"/>
                  <a:pt x="677" y="1167"/>
                  <a:pt x="664" y="1166"/>
                </a:cubicBezTo>
                <a:cubicBezTo>
                  <a:pt x="660" y="1165"/>
                  <a:pt x="656" y="1165"/>
                  <a:pt x="653" y="1164"/>
                </a:cubicBezTo>
                <a:cubicBezTo>
                  <a:pt x="647" y="1161"/>
                  <a:pt x="642" y="1155"/>
                  <a:pt x="639" y="1148"/>
                </a:cubicBezTo>
                <a:cubicBezTo>
                  <a:pt x="637" y="1141"/>
                  <a:pt x="636" y="1138"/>
                  <a:pt x="636" y="1138"/>
                </a:cubicBezTo>
                <a:cubicBezTo>
                  <a:pt x="633" y="1137"/>
                  <a:pt x="632" y="1138"/>
                  <a:pt x="632" y="1140"/>
                </a:cubicBezTo>
                <a:cubicBezTo>
                  <a:pt x="631" y="1146"/>
                  <a:pt x="633" y="1151"/>
                  <a:pt x="636" y="1156"/>
                </a:cubicBezTo>
                <a:cubicBezTo>
                  <a:pt x="639" y="1161"/>
                  <a:pt x="640" y="1165"/>
                  <a:pt x="640" y="1166"/>
                </a:cubicBezTo>
                <a:cubicBezTo>
                  <a:pt x="640" y="1170"/>
                  <a:pt x="636" y="1172"/>
                  <a:pt x="630" y="1172"/>
                </a:cubicBezTo>
                <a:cubicBezTo>
                  <a:pt x="628" y="1172"/>
                  <a:pt x="626" y="1169"/>
                  <a:pt x="623" y="1165"/>
                </a:cubicBezTo>
                <a:cubicBezTo>
                  <a:pt x="621" y="1162"/>
                  <a:pt x="618" y="1159"/>
                  <a:pt x="617" y="1159"/>
                </a:cubicBezTo>
                <a:cubicBezTo>
                  <a:pt x="615" y="1159"/>
                  <a:pt x="613" y="1160"/>
                  <a:pt x="613" y="1163"/>
                </a:cubicBezTo>
                <a:cubicBezTo>
                  <a:pt x="613" y="1164"/>
                  <a:pt x="614" y="1167"/>
                  <a:pt x="615" y="1170"/>
                </a:cubicBezTo>
                <a:cubicBezTo>
                  <a:pt x="617" y="1173"/>
                  <a:pt x="617" y="1177"/>
                  <a:pt x="617" y="1181"/>
                </a:cubicBezTo>
                <a:cubicBezTo>
                  <a:pt x="616" y="1183"/>
                  <a:pt x="616" y="1186"/>
                  <a:pt x="614" y="1190"/>
                </a:cubicBezTo>
                <a:cubicBezTo>
                  <a:pt x="613" y="1195"/>
                  <a:pt x="613" y="1198"/>
                  <a:pt x="614" y="1201"/>
                </a:cubicBezTo>
                <a:cubicBezTo>
                  <a:pt x="616" y="1209"/>
                  <a:pt x="617" y="1215"/>
                  <a:pt x="618" y="1219"/>
                </a:cubicBezTo>
                <a:cubicBezTo>
                  <a:pt x="618" y="1220"/>
                  <a:pt x="620" y="1220"/>
                  <a:pt x="622" y="1221"/>
                </a:cubicBezTo>
                <a:cubicBezTo>
                  <a:pt x="624" y="1221"/>
                  <a:pt x="628" y="1221"/>
                  <a:pt x="634" y="1221"/>
                </a:cubicBezTo>
                <a:cubicBezTo>
                  <a:pt x="642" y="1222"/>
                  <a:pt x="648" y="1222"/>
                  <a:pt x="651" y="1220"/>
                </a:cubicBezTo>
                <a:cubicBezTo>
                  <a:pt x="655" y="1218"/>
                  <a:pt x="657" y="1217"/>
                  <a:pt x="660" y="1217"/>
                </a:cubicBezTo>
                <a:cubicBezTo>
                  <a:pt x="661" y="1217"/>
                  <a:pt x="663" y="1218"/>
                  <a:pt x="664" y="1219"/>
                </a:cubicBezTo>
                <a:cubicBezTo>
                  <a:pt x="666" y="1221"/>
                  <a:pt x="668" y="1221"/>
                  <a:pt x="670" y="1221"/>
                </a:cubicBezTo>
                <a:cubicBezTo>
                  <a:pt x="672" y="1222"/>
                  <a:pt x="675" y="1221"/>
                  <a:pt x="678" y="1220"/>
                </a:cubicBezTo>
                <a:cubicBezTo>
                  <a:pt x="680" y="1219"/>
                  <a:pt x="683" y="1218"/>
                  <a:pt x="685" y="1218"/>
                </a:cubicBezTo>
                <a:cubicBezTo>
                  <a:pt x="687" y="1219"/>
                  <a:pt x="691" y="1220"/>
                  <a:pt x="697" y="1224"/>
                </a:cubicBezTo>
                <a:cubicBezTo>
                  <a:pt x="698" y="1224"/>
                  <a:pt x="701" y="1223"/>
                  <a:pt x="703" y="1222"/>
                </a:cubicBezTo>
                <a:cubicBezTo>
                  <a:pt x="706" y="1221"/>
                  <a:pt x="708" y="1221"/>
                  <a:pt x="710" y="1221"/>
                </a:cubicBezTo>
                <a:cubicBezTo>
                  <a:pt x="715" y="1221"/>
                  <a:pt x="720" y="1223"/>
                  <a:pt x="725" y="1225"/>
                </a:cubicBezTo>
                <a:cubicBezTo>
                  <a:pt x="728" y="1225"/>
                  <a:pt x="731" y="1224"/>
                  <a:pt x="734" y="1223"/>
                </a:cubicBezTo>
                <a:cubicBezTo>
                  <a:pt x="736" y="1221"/>
                  <a:pt x="739" y="1221"/>
                  <a:pt x="742" y="1221"/>
                </a:cubicBezTo>
                <a:lnTo>
                  <a:pt x="760" y="1225"/>
                </a:lnTo>
                <a:cubicBezTo>
                  <a:pt x="763" y="1226"/>
                  <a:pt x="766" y="1227"/>
                  <a:pt x="769" y="1230"/>
                </a:cubicBezTo>
                <a:cubicBezTo>
                  <a:pt x="773" y="1233"/>
                  <a:pt x="775" y="1234"/>
                  <a:pt x="777" y="1234"/>
                </a:cubicBezTo>
                <a:cubicBezTo>
                  <a:pt x="778" y="1234"/>
                  <a:pt x="781" y="1234"/>
                  <a:pt x="784" y="1233"/>
                </a:cubicBezTo>
                <a:cubicBezTo>
                  <a:pt x="787" y="1233"/>
                  <a:pt x="790" y="1232"/>
                  <a:pt x="792" y="1232"/>
                </a:cubicBezTo>
                <a:cubicBezTo>
                  <a:pt x="798" y="1233"/>
                  <a:pt x="802" y="1238"/>
                  <a:pt x="805" y="1246"/>
                </a:cubicBezTo>
                <a:cubicBezTo>
                  <a:pt x="808" y="1255"/>
                  <a:pt x="811" y="1260"/>
                  <a:pt x="814" y="1261"/>
                </a:cubicBezTo>
                <a:cubicBezTo>
                  <a:pt x="814" y="1261"/>
                  <a:pt x="815" y="1260"/>
                  <a:pt x="816" y="1258"/>
                </a:cubicBezTo>
                <a:cubicBezTo>
                  <a:pt x="818" y="1258"/>
                  <a:pt x="819" y="1257"/>
                  <a:pt x="819" y="1257"/>
                </a:cubicBezTo>
                <a:cubicBezTo>
                  <a:pt x="820" y="1257"/>
                  <a:pt x="822" y="1258"/>
                  <a:pt x="825" y="1259"/>
                </a:cubicBezTo>
                <a:cubicBezTo>
                  <a:pt x="833" y="1260"/>
                  <a:pt x="852" y="1256"/>
                  <a:pt x="884" y="1245"/>
                </a:cubicBezTo>
                <a:cubicBezTo>
                  <a:pt x="890" y="1242"/>
                  <a:pt x="894" y="1240"/>
                  <a:pt x="897" y="1239"/>
                </a:cubicBezTo>
                <a:cubicBezTo>
                  <a:pt x="901" y="1238"/>
                  <a:pt x="907" y="1237"/>
                  <a:pt x="913" y="1238"/>
                </a:cubicBezTo>
                <a:cubicBezTo>
                  <a:pt x="917" y="1238"/>
                  <a:pt x="923" y="1237"/>
                  <a:pt x="928" y="1234"/>
                </a:cubicBezTo>
                <a:cubicBezTo>
                  <a:pt x="934" y="1231"/>
                  <a:pt x="939" y="1230"/>
                  <a:pt x="943" y="1230"/>
                </a:cubicBezTo>
                <a:cubicBezTo>
                  <a:pt x="944" y="1230"/>
                  <a:pt x="948" y="1231"/>
                  <a:pt x="953" y="1233"/>
                </a:cubicBezTo>
                <a:cubicBezTo>
                  <a:pt x="957" y="1233"/>
                  <a:pt x="963" y="1231"/>
                  <a:pt x="970" y="1226"/>
                </a:cubicBezTo>
                <a:cubicBezTo>
                  <a:pt x="977" y="1221"/>
                  <a:pt x="983" y="1219"/>
                  <a:pt x="988" y="1220"/>
                </a:cubicBezTo>
                <a:cubicBezTo>
                  <a:pt x="989" y="1220"/>
                  <a:pt x="994" y="1221"/>
                  <a:pt x="1003" y="1223"/>
                </a:cubicBezTo>
                <a:cubicBezTo>
                  <a:pt x="1014" y="1224"/>
                  <a:pt x="1022" y="1221"/>
                  <a:pt x="1026" y="1212"/>
                </a:cubicBezTo>
                <a:cubicBezTo>
                  <a:pt x="1028" y="1207"/>
                  <a:pt x="1030" y="1203"/>
                  <a:pt x="1031" y="1201"/>
                </a:cubicBezTo>
                <a:cubicBezTo>
                  <a:pt x="1033" y="1195"/>
                  <a:pt x="1034" y="1190"/>
                  <a:pt x="1033" y="1183"/>
                </a:cubicBezTo>
                <a:cubicBezTo>
                  <a:pt x="1029" y="1183"/>
                  <a:pt x="1027" y="1181"/>
                  <a:pt x="1027" y="1178"/>
                </a:cubicBezTo>
                <a:lnTo>
                  <a:pt x="1027" y="1178"/>
                </a:lnTo>
                <a:close/>
                <a:moveTo>
                  <a:pt x="1017" y="925"/>
                </a:moveTo>
                <a:lnTo>
                  <a:pt x="1017" y="925"/>
                </a:lnTo>
                <a:cubicBezTo>
                  <a:pt x="1016" y="924"/>
                  <a:pt x="1015" y="924"/>
                  <a:pt x="1014" y="923"/>
                </a:cubicBezTo>
                <a:cubicBezTo>
                  <a:pt x="1014" y="923"/>
                  <a:pt x="1014" y="923"/>
                  <a:pt x="1013" y="923"/>
                </a:cubicBezTo>
                <a:cubicBezTo>
                  <a:pt x="1013" y="923"/>
                  <a:pt x="1013" y="923"/>
                  <a:pt x="1012" y="923"/>
                </a:cubicBezTo>
                <a:cubicBezTo>
                  <a:pt x="1012" y="924"/>
                  <a:pt x="1011" y="924"/>
                  <a:pt x="1011" y="925"/>
                </a:cubicBezTo>
                <a:cubicBezTo>
                  <a:pt x="1009" y="926"/>
                  <a:pt x="1009" y="927"/>
                  <a:pt x="1009" y="927"/>
                </a:cubicBezTo>
                <a:cubicBezTo>
                  <a:pt x="1008" y="930"/>
                  <a:pt x="1009" y="931"/>
                  <a:pt x="1009" y="932"/>
                </a:cubicBezTo>
                <a:cubicBezTo>
                  <a:pt x="1010" y="932"/>
                  <a:pt x="1011" y="933"/>
                  <a:pt x="1013" y="933"/>
                </a:cubicBezTo>
                <a:cubicBezTo>
                  <a:pt x="1015" y="933"/>
                  <a:pt x="1016" y="933"/>
                  <a:pt x="1018" y="932"/>
                </a:cubicBezTo>
                <a:cubicBezTo>
                  <a:pt x="1020" y="931"/>
                  <a:pt x="1021" y="930"/>
                  <a:pt x="1021" y="930"/>
                </a:cubicBezTo>
                <a:cubicBezTo>
                  <a:pt x="1021" y="929"/>
                  <a:pt x="1020" y="927"/>
                  <a:pt x="1017" y="925"/>
                </a:cubicBezTo>
                <a:lnTo>
                  <a:pt x="1017" y="925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" name="Freeform 250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 251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 252"/>
          <p:cNvSpPr>
            <a:spLocks noEditPoints="1"/>
          </p:cNvSpPr>
          <p:nvPr/>
        </p:nvSpPr>
        <p:spPr bwMode="auto">
          <a:xfrm>
            <a:off x="6782151" y="3685611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9 w 1558"/>
              <a:gd name="T105" fmla="*/ 502 h 1843"/>
              <a:gd name="T106" fmla="*/ 290 w 1558"/>
              <a:gd name="T107" fmla="*/ 785 h 1843"/>
              <a:gd name="T108" fmla="*/ 1553 w 1558"/>
              <a:gd name="T109" fmla="*/ 1631 h 1843"/>
              <a:gd name="T110" fmla="*/ 1483 w 1558"/>
              <a:gd name="T111" fmla="*/ 1613 h 1843"/>
              <a:gd name="T112" fmla="*/ 1436 w 1558"/>
              <a:gd name="T113" fmla="*/ 1723 h 1843"/>
              <a:gd name="T114" fmla="*/ 1495 w 1558"/>
              <a:gd name="T115" fmla="*/ 1842 h 1843"/>
              <a:gd name="T116" fmla="*/ 301 w 1558"/>
              <a:gd name="T117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9" name="Freeform 253"/>
          <p:cNvSpPr>
            <a:spLocks noEditPoints="1"/>
          </p:cNvSpPr>
          <p:nvPr/>
        </p:nvSpPr>
        <p:spPr bwMode="auto">
          <a:xfrm>
            <a:off x="6781563" y="3685992"/>
            <a:ext cx="1628080" cy="1926794"/>
          </a:xfrm>
          <a:custGeom>
            <a:avLst/>
            <a:gdLst>
              <a:gd name="T0" fmla="*/ 1416 w 1558"/>
              <a:gd name="T1" fmla="*/ 683 h 1843"/>
              <a:gd name="T2" fmla="*/ 1338 w 1558"/>
              <a:gd name="T3" fmla="*/ 746 h 1843"/>
              <a:gd name="T4" fmla="*/ 1227 w 1558"/>
              <a:gd name="T5" fmla="*/ 871 h 1843"/>
              <a:gd name="T6" fmla="*/ 1249 w 1558"/>
              <a:gd name="T7" fmla="*/ 906 h 1843"/>
              <a:gd name="T8" fmla="*/ 1283 w 1558"/>
              <a:gd name="T9" fmla="*/ 1029 h 1843"/>
              <a:gd name="T10" fmla="*/ 1252 w 1558"/>
              <a:gd name="T11" fmla="*/ 1126 h 1843"/>
              <a:gd name="T12" fmla="*/ 1282 w 1558"/>
              <a:gd name="T13" fmla="*/ 1214 h 1843"/>
              <a:gd name="T14" fmla="*/ 1302 w 1558"/>
              <a:gd name="T15" fmla="*/ 1312 h 1843"/>
              <a:gd name="T16" fmla="*/ 1282 w 1558"/>
              <a:gd name="T17" fmla="*/ 1400 h 1843"/>
              <a:gd name="T18" fmla="*/ 1175 w 1558"/>
              <a:gd name="T19" fmla="*/ 1478 h 1843"/>
              <a:gd name="T20" fmla="*/ 1072 w 1558"/>
              <a:gd name="T21" fmla="*/ 1460 h 1843"/>
              <a:gd name="T22" fmla="*/ 1013 w 1558"/>
              <a:gd name="T23" fmla="*/ 1392 h 1843"/>
              <a:gd name="T24" fmla="*/ 960 w 1558"/>
              <a:gd name="T25" fmla="*/ 1379 h 1843"/>
              <a:gd name="T26" fmla="*/ 883 w 1558"/>
              <a:gd name="T27" fmla="*/ 1365 h 1843"/>
              <a:gd name="T28" fmla="*/ 718 w 1558"/>
              <a:gd name="T29" fmla="*/ 1480 h 1843"/>
              <a:gd name="T30" fmla="*/ 582 w 1558"/>
              <a:gd name="T31" fmla="*/ 1510 h 1843"/>
              <a:gd name="T32" fmla="*/ 470 w 1558"/>
              <a:gd name="T33" fmla="*/ 1428 h 1843"/>
              <a:gd name="T34" fmla="*/ 375 w 1558"/>
              <a:gd name="T35" fmla="*/ 1409 h 1843"/>
              <a:gd name="T36" fmla="*/ 242 w 1558"/>
              <a:gd name="T37" fmla="*/ 1345 h 1843"/>
              <a:gd name="T38" fmla="*/ 136 w 1558"/>
              <a:gd name="T39" fmla="*/ 1245 h 1843"/>
              <a:gd name="T40" fmla="*/ 228 w 1558"/>
              <a:gd name="T41" fmla="*/ 1068 h 1843"/>
              <a:gd name="T42" fmla="*/ 275 w 1558"/>
              <a:gd name="T43" fmla="*/ 936 h 1843"/>
              <a:gd name="T44" fmla="*/ 346 w 1558"/>
              <a:gd name="T45" fmla="*/ 987 h 1843"/>
              <a:gd name="T46" fmla="*/ 338 w 1558"/>
              <a:gd name="T47" fmla="*/ 889 h 1843"/>
              <a:gd name="T48" fmla="*/ 323 w 1558"/>
              <a:gd name="T49" fmla="*/ 804 h 1843"/>
              <a:gd name="T50" fmla="*/ 290 w 1558"/>
              <a:gd name="T51" fmla="*/ 704 h 1843"/>
              <a:gd name="T52" fmla="*/ 243 w 1558"/>
              <a:gd name="T53" fmla="*/ 556 h 1843"/>
              <a:gd name="T54" fmla="*/ 277 w 1558"/>
              <a:gd name="T55" fmla="*/ 536 h 1843"/>
              <a:gd name="T56" fmla="*/ 235 w 1558"/>
              <a:gd name="T57" fmla="*/ 505 h 1843"/>
              <a:gd name="T58" fmla="*/ 196 w 1558"/>
              <a:gd name="T59" fmla="*/ 460 h 1843"/>
              <a:gd name="T60" fmla="*/ 165 w 1558"/>
              <a:gd name="T61" fmla="*/ 429 h 1843"/>
              <a:gd name="T62" fmla="*/ 74 w 1558"/>
              <a:gd name="T63" fmla="*/ 375 h 1843"/>
              <a:gd name="T64" fmla="*/ 23 w 1558"/>
              <a:gd name="T65" fmla="*/ 333 h 1843"/>
              <a:gd name="T66" fmla="*/ 59 w 1558"/>
              <a:gd name="T67" fmla="*/ 285 h 1843"/>
              <a:gd name="T68" fmla="*/ 81 w 1558"/>
              <a:gd name="T69" fmla="*/ 230 h 1843"/>
              <a:gd name="T70" fmla="*/ 222 w 1558"/>
              <a:gd name="T71" fmla="*/ 233 h 1843"/>
              <a:gd name="T72" fmla="*/ 305 w 1558"/>
              <a:gd name="T73" fmla="*/ 300 h 1843"/>
              <a:gd name="T74" fmla="*/ 354 w 1558"/>
              <a:gd name="T75" fmla="*/ 304 h 1843"/>
              <a:gd name="T76" fmla="*/ 400 w 1558"/>
              <a:gd name="T77" fmla="*/ 192 h 1843"/>
              <a:gd name="T78" fmla="*/ 465 w 1558"/>
              <a:gd name="T79" fmla="*/ 188 h 1843"/>
              <a:gd name="T80" fmla="*/ 564 w 1558"/>
              <a:gd name="T81" fmla="*/ 244 h 1843"/>
              <a:gd name="T82" fmla="*/ 620 w 1558"/>
              <a:gd name="T83" fmla="*/ 224 h 1843"/>
              <a:gd name="T84" fmla="*/ 783 w 1558"/>
              <a:gd name="T85" fmla="*/ 150 h 1843"/>
              <a:gd name="T86" fmla="*/ 820 w 1558"/>
              <a:gd name="T87" fmla="*/ 68 h 1843"/>
              <a:gd name="T88" fmla="*/ 944 w 1558"/>
              <a:gd name="T89" fmla="*/ 0 h 1843"/>
              <a:gd name="T90" fmla="*/ 1031 w 1558"/>
              <a:gd name="T91" fmla="*/ 122 h 1843"/>
              <a:gd name="T92" fmla="*/ 1095 w 1558"/>
              <a:gd name="T93" fmla="*/ 196 h 1843"/>
              <a:gd name="T94" fmla="*/ 1165 w 1558"/>
              <a:gd name="T95" fmla="*/ 236 h 1843"/>
              <a:gd name="T96" fmla="*/ 1265 w 1558"/>
              <a:gd name="T97" fmla="*/ 336 h 1843"/>
              <a:gd name="T98" fmla="*/ 1302 w 1558"/>
              <a:gd name="T99" fmla="*/ 348 h 1843"/>
              <a:gd name="T100" fmla="*/ 1328 w 1558"/>
              <a:gd name="T101" fmla="*/ 357 h 1843"/>
              <a:gd name="T102" fmla="*/ 1438 w 1558"/>
              <a:gd name="T103" fmla="*/ 431 h 1843"/>
              <a:gd name="T104" fmla="*/ 148 w 1558"/>
              <a:gd name="T105" fmla="*/ 504 h 1843"/>
              <a:gd name="T106" fmla="*/ 297 w 1558"/>
              <a:gd name="T107" fmla="*/ 778 h 1843"/>
              <a:gd name="T108" fmla="*/ 1557 w 1558"/>
              <a:gd name="T109" fmla="*/ 1703 h 1843"/>
              <a:gd name="T110" fmla="*/ 1522 w 1558"/>
              <a:gd name="T111" fmla="*/ 1604 h 1843"/>
              <a:gd name="T112" fmla="*/ 1435 w 1558"/>
              <a:gd name="T113" fmla="*/ 1676 h 1843"/>
              <a:gd name="T114" fmla="*/ 1468 w 1558"/>
              <a:gd name="T115" fmla="*/ 1822 h 1843"/>
              <a:gd name="T116" fmla="*/ 1528 w 1558"/>
              <a:gd name="T117" fmla="*/ 1746 h 1843"/>
              <a:gd name="T118" fmla="*/ 301 w 1558"/>
              <a:gd name="T119" fmla="*/ 744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8" h="1843">
                <a:moveTo>
                  <a:pt x="1529" y="477"/>
                </a:moveTo>
                <a:lnTo>
                  <a:pt x="1529" y="477"/>
                </a:lnTo>
                <a:lnTo>
                  <a:pt x="1530" y="477"/>
                </a:lnTo>
                <a:cubicBezTo>
                  <a:pt x="1525" y="479"/>
                  <a:pt x="1519" y="484"/>
                  <a:pt x="1514" y="492"/>
                </a:cubicBezTo>
                <a:cubicBezTo>
                  <a:pt x="1508" y="503"/>
                  <a:pt x="1504" y="509"/>
                  <a:pt x="1502" y="511"/>
                </a:cubicBezTo>
                <a:cubicBezTo>
                  <a:pt x="1498" y="515"/>
                  <a:pt x="1491" y="520"/>
                  <a:pt x="1482" y="526"/>
                </a:cubicBezTo>
                <a:cubicBezTo>
                  <a:pt x="1476" y="532"/>
                  <a:pt x="1472" y="538"/>
                  <a:pt x="1470" y="544"/>
                </a:cubicBezTo>
                <a:cubicBezTo>
                  <a:pt x="1466" y="559"/>
                  <a:pt x="1459" y="573"/>
                  <a:pt x="1450" y="588"/>
                </a:cubicBezTo>
                <a:cubicBezTo>
                  <a:pt x="1448" y="592"/>
                  <a:pt x="1443" y="598"/>
                  <a:pt x="1436" y="607"/>
                </a:cubicBezTo>
                <a:cubicBezTo>
                  <a:pt x="1431" y="615"/>
                  <a:pt x="1427" y="622"/>
                  <a:pt x="1427" y="629"/>
                </a:cubicBezTo>
                <a:cubicBezTo>
                  <a:pt x="1426" y="630"/>
                  <a:pt x="1428" y="632"/>
                  <a:pt x="1431" y="634"/>
                </a:cubicBezTo>
                <a:cubicBezTo>
                  <a:pt x="1435" y="637"/>
                  <a:pt x="1436" y="640"/>
                  <a:pt x="1436" y="643"/>
                </a:cubicBezTo>
                <a:cubicBezTo>
                  <a:pt x="1435" y="646"/>
                  <a:pt x="1432" y="652"/>
                  <a:pt x="1426" y="660"/>
                </a:cubicBezTo>
                <a:cubicBezTo>
                  <a:pt x="1420" y="669"/>
                  <a:pt x="1417" y="676"/>
                  <a:pt x="1416" y="683"/>
                </a:cubicBezTo>
                <a:cubicBezTo>
                  <a:pt x="1416" y="691"/>
                  <a:pt x="1417" y="699"/>
                  <a:pt x="1420" y="707"/>
                </a:cubicBezTo>
                <a:lnTo>
                  <a:pt x="1420" y="707"/>
                </a:lnTo>
                <a:cubicBezTo>
                  <a:pt x="1420" y="708"/>
                  <a:pt x="1420" y="708"/>
                  <a:pt x="1420" y="708"/>
                </a:cubicBezTo>
                <a:cubicBezTo>
                  <a:pt x="1419" y="711"/>
                  <a:pt x="1418" y="712"/>
                  <a:pt x="1416" y="712"/>
                </a:cubicBezTo>
                <a:cubicBezTo>
                  <a:pt x="1412" y="713"/>
                  <a:pt x="1409" y="713"/>
                  <a:pt x="1408" y="714"/>
                </a:cubicBezTo>
                <a:cubicBezTo>
                  <a:pt x="1408" y="721"/>
                  <a:pt x="1406" y="725"/>
                  <a:pt x="1403" y="728"/>
                </a:cubicBezTo>
                <a:cubicBezTo>
                  <a:pt x="1399" y="732"/>
                  <a:pt x="1389" y="734"/>
                  <a:pt x="1375" y="735"/>
                </a:cubicBezTo>
                <a:cubicBezTo>
                  <a:pt x="1371" y="735"/>
                  <a:pt x="1368" y="732"/>
                  <a:pt x="1365" y="726"/>
                </a:cubicBezTo>
                <a:cubicBezTo>
                  <a:pt x="1362" y="721"/>
                  <a:pt x="1358" y="717"/>
                  <a:pt x="1352" y="717"/>
                </a:cubicBezTo>
                <a:cubicBezTo>
                  <a:pt x="1350" y="717"/>
                  <a:pt x="1348" y="717"/>
                  <a:pt x="1347" y="719"/>
                </a:cubicBezTo>
                <a:cubicBezTo>
                  <a:pt x="1346" y="719"/>
                  <a:pt x="1345" y="722"/>
                  <a:pt x="1343" y="728"/>
                </a:cubicBezTo>
                <a:cubicBezTo>
                  <a:pt x="1343" y="728"/>
                  <a:pt x="1341" y="730"/>
                  <a:pt x="1338" y="733"/>
                </a:cubicBezTo>
                <a:cubicBezTo>
                  <a:pt x="1335" y="737"/>
                  <a:pt x="1334" y="740"/>
                  <a:pt x="1333" y="741"/>
                </a:cubicBezTo>
                <a:cubicBezTo>
                  <a:pt x="1333" y="742"/>
                  <a:pt x="1335" y="744"/>
                  <a:pt x="1338" y="746"/>
                </a:cubicBezTo>
                <a:cubicBezTo>
                  <a:pt x="1342" y="748"/>
                  <a:pt x="1344" y="750"/>
                  <a:pt x="1344" y="750"/>
                </a:cubicBezTo>
                <a:cubicBezTo>
                  <a:pt x="1340" y="754"/>
                  <a:pt x="1334" y="758"/>
                  <a:pt x="1328" y="763"/>
                </a:cubicBezTo>
                <a:cubicBezTo>
                  <a:pt x="1323" y="767"/>
                  <a:pt x="1319" y="772"/>
                  <a:pt x="1314" y="778"/>
                </a:cubicBezTo>
                <a:cubicBezTo>
                  <a:pt x="1310" y="784"/>
                  <a:pt x="1304" y="789"/>
                  <a:pt x="1298" y="793"/>
                </a:cubicBezTo>
                <a:cubicBezTo>
                  <a:pt x="1295" y="795"/>
                  <a:pt x="1289" y="799"/>
                  <a:pt x="1281" y="804"/>
                </a:cubicBezTo>
                <a:cubicBezTo>
                  <a:pt x="1279" y="805"/>
                  <a:pt x="1276" y="806"/>
                  <a:pt x="1272" y="807"/>
                </a:cubicBezTo>
                <a:cubicBezTo>
                  <a:pt x="1269" y="808"/>
                  <a:pt x="1267" y="812"/>
                  <a:pt x="1266" y="818"/>
                </a:cubicBezTo>
                <a:cubicBezTo>
                  <a:pt x="1264" y="827"/>
                  <a:pt x="1262" y="835"/>
                  <a:pt x="1257" y="839"/>
                </a:cubicBezTo>
                <a:cubicBezTo>
                  <a:pt x="1255" y="841"/>
                  <a:pt x="1252" y="843"/>
                  <a:pt x="1247" y="845"/>
                </a:cubicBezTo>
                <a:cubicBezTo>
                  <a:pt x="1243" y="847"/>
                  <a:pt x="1239" y="848"/>
                  <a:pt x="1238" y="849"/>
                </a:cubicBezTo>
                <a:cubicBezTo>
                  <a:pt x="1236" y="851"/>
                  <a:pt x="1234" y="854"/>
                  <a:pt x="1231" y="858"/>
                </a:cubicBezTo>
                <a:cubicBezTo>
                  <a:pt x="1228" y="862"/>
                  <a:pt x="1225" y="863"/>
                  <a:pt x="1222" y="864"/>
                </a:cubicBezTo>
                <a:cubicBezTo>
                  <a:pt x="1223" y="865"/>
                  <a:pt x="1224" y="867"/>
                  <a:pt x="1227" y="869"/>
                </a:cubicBezTo>
                <a:lnTo>
                  <a:pt x="1227" y="871"/>
                </a:lnTo>
                <a:lnTo>
                  <a:pt x="1218" y="875"/>
                </a:lnTo>
                <a:cubicBezTo>
                  <a:pt x="1212" y="878"/>
                  <a:pt x="1209" y="881"/>
                  <a:pt x="1209" y="884"/>
                </a:cubicBezTo>
                <a:cubicBezTo>
                  <a:pt x="1208" y="888"/>
                  <a:pt x="1210" y="891"/>
                  <a:pt x="1214" y="893"/>
                </a:cubicBezTo>
                <a:cubicBezTo>
                  <a:pt x="1217" y="894"/>
                  <a:pt x="1219" y="897"/>
                  <a:pt x="1219" y="900"/>
                </a:cubicBezTo>
                <a:cubicBezTo>
                  <a:pt x="1218" y="903"/>
                  <a:pt x="1217" y="907"/>
                  <a:pt x="1214" y="910"/>
                </a:cubicBezTo>
                <a:cubicBezTo>
                  <a:pt x="1210" y="914"/>
                  <a:pt x="1208" y="918"/>
                  <a:pt x="1207" y="919"/>
                </a:cubicBezTo>
                <a:cubicBezTo>
                  <a:pt x="1206" y="923"/>
                  <a:pt x="1202" y="924"/>
                  <a:pt x="1198" y="924"/>
                </a:cubicBezTo>
                <a:cubicBezTo>
                  <a:pt x="1193" y="924"/>
                  <a:pt x="1191" y="926"/>
                  <a:pt x="1190" y="931"/>
                </a:cubicBezTo>
                <a:cubicBezTo>
                  <a:pt x="1190" y="934"/>
                  <a:pt x="1190" y="935"/>
                  <a:pt x="1191" y="937"/>
                </a:cubicBezTo>
                <a:cubicBezTo>
                  <a:pt x="1192" y="938"/>
                  <a:pt x="1194" y="939"/>
                  <a:pt x="1198" y="940"/>
                </a:cubicBezTo>
                <a:cubicBezTo>
                  <a:pt x="1203" y="940"/>
                  <a:pt x="1208" y="939"/>
                  <a:pt x="1215" y="935"/>
                </a:cubicBezTo>
                <a:cubicBezTo>
                  <a:pt x="1222" y="931"/>
                  <a:pt x="1227" y="929"/>
                  <a:pt x="1232" y="929"/>
                </a:cubicBezTo>
                <a:cubicBezTo>
                  <a:pt x="1229" y="924"/>
                  <a:pt x="1227" y="920"/>
                  <a:pt x="1228" y="916"/>
                </a:cubicBezTo>
                <a:cubicBezTo>
                  <a:pt x="1228" y="912"/>
                  <a:pt x="1235" y="909"/>
                  <a:pt x="1249" y="906"/>
                </a:cubicBezTo>
                <a:cubicBezTo>
                  <a:pt x="1261" y="903"/>
                  <a:pt x="1269" y="902"/>
                  <a:pt x="1274" y="902"/>
                </a:cubicBezTo>
                <a:cubicBezTo>
                  <a:pt x="1279" y="903"/>
                  <a:pt x="1284" y="907"/>
                  <a:pt x="1290" y="914"/>
                </a:cubicBezTo>
                <a:cubicBezTo>
                  <a:pt x="1295" y="921"/>
                  <a:pt x="1299" y="926"/>
                  <a:pt x="1300" y="927"/>
                </a:cubicBezTo>
                <a:lnTo>
                  <a:pt x="1300" y="927"/>
                </a:lnTo>
                <a:cubicBezTo>
                  <a:pt x="1299" y="930"/>
                  <a:pt x="1297" y="933"/>
                  <a:pt x="1294" y="937"/>
                </a:cubicBezTo>
                <a:cubicBezTo>
                  <a:pt x="1292" y="940"/>
                  <a:pt x="1291" y="945"/>
                  <a:pt x="1290" y="949"/>
                </a:cubicBezTo>
                <a:cubicBezTo>
                  <a:pt x="1290" y="951"/>
                  <a:pt x="1292" y="954"/>
                  <a:pt x="1296" y="957"/>
                </a:cubicBezTo>
                <a:cubicBezTo>
                  <a:pt x="1299" y="960"/>
                  <a:pt x="1301" y="964"/>
                  <a:pt x="1300" y="969"/>
                </a:cubicBezTo>
                <a:cubicBezTo>
                  <a:pt x="1305" y="969"/>
                  <a:pt x="1309" y="971"/>
                  <a:pt x="1311" y="976"/>
                </a:cubicBezTo>
                <a:cubicBezTo>
                  <a:pt x="1313" y="978"/>
                  <a:pt x="1314" y="983"/>
                  <a:pt x="1315" y="989"/>
                </a:cubicBezTo>
                <a:cubicBezTo>
                  <a:pt x="1314" y="991"/>
                  <a:pt x="1312" y="995"/>
                  <a:pt x="1309" y="1000"/>
                </a:cubicBezTo>
                <a:cubicBezTo>
                  <a:pt x="1306" y="1005"/>
                  <a:pt x="1303" y="1007"/>
                  <a:pt x="1299" y="1006"/>
                </a:cubicBezTo>
                <a:cubicBezTo>
                  <a:pt x="1288" y="1005"/>
                  <a:pt x="1283" y="1010"/>
                  <a:pt x="1282" y="1021"/>
                </a:cubicBezTo>
                <a:cubicBezTo>
                  <a:pt x="1281" y="1025"/>
                  <a:pt x="1282" y="1028"/>
                  <a:pt x="1283" y="1029"/>
                </a:cubicBezTo>
                <a:cubicBezTo>
                  <a:pt x="1286" y="1031"/>
                  <a:pt x="1288" y="1033"/>
                  <a:pt x="1289" y="1035"/>
                </a:cubicBezTo>
                <a:cubicBezTo>
                  <a:pt x="1291" y="1039"/>
                  <a:pt x="1295" y="1042"/>
                  <a:pt x="1301" y="1044"/>
                </a:cubicBezTo>
                <a:cubicBezTo>
                  <a:pt x="1301" y="1047"/>
                  <a:pt x="1300" y="1051"/>
                  <a:pt x="1298" y="1055"/>
                </a:cubicBezTo>
                <a:cubicBezTo>
                  <a:pt x="1297" y="1062"/>
                  <a:pt x="1301" y="1069"/>
                  <a:pt x="1309" y="1076"/>
                </a:cubicBezTo>
                <a:cubicBezTo>
                  <a:pt x="1310" y="1078"/>
                  <a:pt x="1313" y="1081"/>
                  <a:pt x="1316" y="1083"/>
                </a:cubicBezTo>
                <a:cubicBezTo>
                  <a:pt x="1319" y="1086"/>
                  <a:pt x="1320" y="1087"/>
                  <a:pt x="1320" y="1089"/>
                </a:cubicBezTo>
                <a:cubicBezTo>
                  <a:pt x="1319" y="1090"/>
                  <a:pt x="1318" y="1093"/>
                  <a:pt x="1314" y="1096"/>
                </a:cubicBezTo>
                <a:cubicBezTo>
                  <a:pt x="1310" y="1099"/>
                  <a:pt x="1308" y="1101"/>
                  <a:pt x="1308" y="1102"/>
                </a:cubicBezTo>
                <a:cubicBezTo>
                  <a:pt x="1308" y="1103"/>
                  <a:pt x="1308" y="1106"/>
                  <a:pt x="1308" y="1111"/>
                </a:cubicBezTo>
                <a:cubicBezTo>
                  <a:pt x="1308" y="1114"/>
                  <a:pt x="1306" y="1116"/>
                  <a:pt x="1302" y="1117"/>
                </a:cubicBezTo>
                <a:cubicBezTo>
                  <a:pt x="1296" y="1117"/>
                  <a:pt x="1292" y="1118"/>
                  <a:pt x="1291" y="1119"/>
                </a:cubicBezTo>
                <a:cubicBezTo>
                  <a:pt x="1289" y="1120"/>
                  <a:pt x="1286" y="1122"/>
                  <a:pt x="1282" y="1126"/>
                </a:cubicBezTo>
                <a:cubicBezTo>
                  <a:pt x="1280" y="1129"/>
                  <a:pt x="1277" y="1130"/>
                  <a:pt x="1274" y="1130"/>
                </a:cubicBezTo>
                <a:cubicBezTo>
                  <a:pt x="1260" y="1128"/>
                  <a:pt x="1253" y="1127"/>
                  <a:pt x="1252" y="1126"/>
                </a:cubicBezTo>
                <a:cubicBezTo>
                  <a:pt x="1247" y="1126"/>
                  <a:pt x="1245" y="1127"/>
                  <a:pt x="1244" y="1131"/>
                </a:cubicBezTo>
                <a:cubicBezTo>
                  <a:pt x="1244" y="1132"/>
                  <a:pt x="1245" y="1134"/>
                  <a:pt x="1246" y="1138"/>
                </a:cubicBezTo>
                <a:cubicBezTo>
                  <a:pt x="1248" y="1142"/>
                  <a:pt x="1249" y="1144"/>
                  <a:pt x="1249" y="1146"/>
                </a:cubicBezTo>
                <a:cubicBezTo>
                  <a:pt x="1249" y="1147"/>
                  <a:pt x="1249" y="1149"/>
                  <a:pt x="1249" y="1151"/>
                </a:cubicBezTo>
                <a:cubicBezTo>
                  <a:pt x="1248" y="1152"/>
                  <a:pt x="1249" y="1154"/>
                  <a:pt x="1250" y="1154"/>
                </a:cubicBezTo>
                <a:cubicBezTo>
                  <a:pt x="1250" y="1154"/>
                  <a:pt x="1251" y="1155"/>
                  <a:pt x="1253" y="1155"/>
                </a:cubicBezTo>
                <a:cubicBezTo>
                  <a:pt x="1255" y="1156"/>
                  <a:pt x="1256" y="1157"/>
                  <a:pt x="1255" y="1158"/>
                </a:cubicBezTo>
                <a:cubicBezTo>
                  <a:pt x="1255" y="1164"/>
                  <a:pt x="1255" y="1169"/>
                  <a:pt x="1257" y="1173"/>
                </a:cubicBezTo>
                <a:cubicBezTo>
                  <a:pt x="1259" y="1178"/>
                  <a:pt x="1263" y="1180"/>
                  <a:pt x="1268" y="1181"/>
                </a:cubicBezTo>
                <a:cubicBezTo>
                  <a:pt x="1269" y="1181"/>
                  <a:pt x="1272" y="1181"/>
                  <a:pt x="1277" y="1181"/>
                </a:cubicBezTo>
                <a:cubicBezTo>
                  <a:pt x="1281" y="1181"/>
                  <a:pt x="1283" y="1183"/>
                  <a:pt x="1283" y="1185"/>
                </a:cubicBezTo>
                <a:cubicBezTo>
                  <a:pt x="1284" y="1187"/>
                  <a:pt x="1284" y="1190"/>
                  <a:pt x="1285" y="1195"/>
                </a:cubicBezTo>
                <a:cubicBezTo>
                  <a:pt x="1286" y="1198"/>
                  <a:pt x="1287" y="1203"/>
                  <a:pt x="1290" y="1210"/>
                </a:cubicBezTo>
                <a:cubicBezTo>
                  <a:pt x="1290" y="1210"/>
                  <a:pt x="1287" y="1211"/>
                  <a:pt x="1282" y="1214"/>
                </a:cubicBezTo>
                <a:cubicBezTo>
                  <a:pt x="1277" y="1217"/>
                  <a:pt x="1273" y="1221"/>
                  <a:pt x="1271" y="1224"/>
                </a:cubicBezTo>
                <a:cubicBezTo>
                  <a:pt x="1270" y="1225"/>
                  <a:pt x="1270" y="1227"/>
                  <a:pt x="1268" y="1230"/>
                </a:cubicBezTo>
                <a:cubicBezTo>
                  <a:pt x="1267" y="1232"/>
                  <a:pt x="1266" y="1234"/>
                  <a:pt x="1265" y="1234"/>
                </a:cubicBezTo>
                <a:cubicBezTo>
                  <a:pt x="1261" y="1237"/>
                  <a:pt x="1258" y="1240"/>
                  <a:pt x="1258" y="1244"/>
                </a:cubicBezTo>
                <a:cubicBezTo>
                  <a:pt x="1258" y="1246"/>
                  <a:pt x="1259" y="1248"/>
                  <a:pt x="1261" y="1249"/>
                </a:cubicBezTo>
                <a:cubicBezTo>
                  <a:pt x="1262" y="1251"/>
                  <a:pt x="1263" y="1252"/>
                  <a:pt x="1263" y="1253"/>
                </a:cubicBezTo>
                <a:cubicBezTo>
                  <a:pt x="1263" y="1255"/>
                  <a:pt x="1262" y="1256"/>
                  <a:pt x="1261" y="1257"/>
                </a:cubicBezTo>
                <a:cubicBezTo>
                  <a:pt x="1260" y="1259"/>
                  <a:pt x="1260" y="1260"/>
                  <a:pt x="1260" y="1262"/>
                </a:cubicBezTo>
                <a:cubicBezTo>
                  <a:pt x="1259" y="1265"/>
                  <a:pt x="1260" y="1270"/>
                  <a:pt x="1262" y="1277"/>
                </a:cubicBezTo>
                <a:cubicBezTo>
                  <a:pt x="1265" y="1283"/>
                  <a:pt x="1266" y="1288"/>
                  <a:pt x="1266" y="1290"/>
                </a:cubicBezTo>
                <a:cubicBezTo>
                  <a:pt x="1265" y="1293"/>
                  <a:pt x="1267" y="1294"/>
                  <a:pt x="1270" y="1295"/>
                </a:cubicBezTo>
                <a:cubicBezTo>
                  <a:pt x="1276" y="1296"/>
                  <a:pt x="1279" y="1296"/>
                  <a:pt x="1279" y="1296"/>
                </a:cubicBezTo>
                <a:cubicBezTo>
                  <a:pt x="1284" y="1299"/>
                  <a:pt x="1288" y="1301"/>
                  <a:pt x="1292" y="1304"/>
                </a:cubicBezTo>
                <a:cubicBezTo>
                  <a:pt x="1297" y="1308"/>
                  <a:pt x="1300" y="1311"/>
                  <a:pt x="1302" y="1312"/>
                </a:cubicBezTo>
                <a:cubicBezTo>
                  <a:pt x="1309" y="1317"/>
                  <a:pt x="1314" y="1319"/>
                  <a:pt x="1317" y="1320"/>
                </a:cubicBezTo>
                <a:cubicBezTo>
                  <a:pt x="1318" y="1320"/>
                  <a:pt x="1321" y="1319"/>
                  <a:pt x="1328" y="1318"/>
                </a:cubicBezTo>
                <a:cubicBezTo>
                  <a:pt x="1335" y="1316"/>
                  <a:pt x="1340" y="1315"/>
                  <a:pt x="1344" y="1316"/>
                </a:cubicBezTo>
                <a:cubicBezTo>
                  <a:pt x="1345" y="1316"/>
                  <a:pt x="1348" y="1316"/>
                  <a:pt x="1353" y="1317"/>
                </a:cubicBezTo>
                <a:lnTo>
                  <a:pt x="1353" y="1321"/>
                </a:lnTo>
                <a:cubicBezTo>
                  <a:pt x="1351" y="1322"/>
                  <a:pt x="1351" y="1324"/>
                  <a:pt x="1351" y="1324"/>
                </a:cubicBezTo>
                <a:cubicBezTo>
                  <a:pt x="1350" y="1326"/>
                  <a:pt x="1351" y="1327"/>
                  <a:pt x="1353" y="1329"/>
                </a:cubicBezTo>
                <a:cubicBezTo>
                  <a:pt x="1355" y="1330"/>
                  <a:pt x="1356" y="1332"/>
                  <a:pt x="1355" y="1334"/>
                </a:cubicBezTo>
                <a:cubicBezTo>
                  <a:pt x="1355" y="1338"/>
                  <a:pt x="1350" y="1344"/>
                  <a:pt x="1340" y="1352"/>
                </a:cubicBezTo>
                <a:cubicBezTo>
                  <a:pt x="1331" y="1361"/>
                  <a:pt x="1326" y="1367"/>
                  <a:pt x="1325" y="1371"/>
                </a:cubicBezTo>
                <a:cubicBezTo>
                  <a:pt x="1325" y="1377"/>
                  <a:pt x="1326" y="1381"/>
                  <a:pt x="1329" y="1384"/>
                </a:cubicBezTo>
                <a:cubicBezTo>
                  <a:pt x="1317" y="1384"/>
                  <a:pt x="1309" y="1386"/>
                  <a:pt x="1304" y="1390"/>
                </a:cubicBezTo>
                <a:cubicBezTo>
                  <a:pt x="1301" y="1393"/>
                  <a:pt x="1298" y="1395"/>
                  <a:pt x="1294" y="1396"/>
                </a:cubicBezTo>
                <a:cubicBezTo>
                  <a:pt x="1288" y="1398"/>
                  <a:pt x="1284" y="1399"/>
                  <a:pt x="1282" y="1400"/>
                </a:cubicBezTo>
                <a:cubicBezTo>
                  <a:pt x="1280" y="1401"/>
                  <a:pt x="1277" y="1404"/>
                  <a:pt x="1273" y="1409"/>
                </a:cubicBezTo>
                <a:cubicBezTo>
                  <a:pt x="1270" y="1412"/>
                  <a:pt x="1266" y="1414"/>
                  <a:pt x="1261" y="1414"/>
                </a:cubicBezTo>
                <a:cubicBezTo>
                  <a:pt x="1253" y="1414"/>
                  <a:pt x="1247" y="1417"/>
                  <a:pt x="1242" y="1423"/>
                </a:cubicBezTo>
                <a:cubicBezTo>
                  <a:pt x="1241" y="1424"/>
                  <a:pt x="1241" y="1426"/>
                  <a:pt x="1240" y="1427"/>
                </a:cubicBezTo>
                <a:cubicBezTo>
                  <a:pt x="1237" y="1431"/>
                  <a:pt x="1234" y="1434"/>
                  <a:pt x="1229" y="1436"/>
                </a:cubicBezTo>
                <a:cubicBezTo>
                  <a:pt x="1226" y="1437"/>
                  <a:pt x="1223" y="1438"/>
                  <a:pt x="1222" y="1440"/>
                </a:cubicBezTo>
                <a:cubicBezTo>
                  <a:pt x="1222" y="1441"/>
                  <a:pt x="1222" y="1441"/>
                  <a:pt x="1221" y="1442"/>
                </a:cubicBezTo>
                <a:cubicBezTo>
                  <a:pt x="1219" y="1443"/>
                  <a:pt x="1215" y="1446"/>
                  <a:pt x="1210" y="1448"/>
                </a:cubicBezTo>
                <a:cubicBezTo>
                  <a:pt x="1203" y="1452"/>
                  <a:pt x="1200" y="1455"/>
                  <a:pt x="1198" y="1458"/>
                </a:cubicBezTo>
                <a:cubicBezTo>
                  <a:pt x="1201" y="1458"/>
                  <a:pt x="1203" y="1458"/>
                  <a:pt x="1207" y="1458"/>
                </a:cubicBezTo>
                <a:cubicBezTo>
                  <a:pt x="1202" y="1469"/>
                  <a:pt x="1198" y="1475"/>
                  <a:pt x="1194" y="1476"/>
                </a:cubicBezTo>
                <a:cubicBezTo>
                  <a:pt x="1195" y="1474"/>
                  <a:pt x="1194" y="1473"/>
                  <a:pt x="1192" y="1473"/>
                </a:cubicBezTo>
                <a:cubicBezTo>
                  <a:pt x="1191" y="1473"/>
                  <a:pt x="1188" y="1474"/>
                  <a:pt x="1183" y="1475"/>
                </a:cubicBezTo>
                <a:cubicBezTo>
                  <a:pt x="1178" y="1477"/>
                  <a:pt x="1176" y="1478"/>
                  <a:pt x="1175" y="1478"/>
                </a:cubicBezTo>
                <a:cubicBezTo>
                  <a:pt x="1171" y="1477"/>
                  <a:pt x="1166" y="1478"/>
                  <a:pt x="1162" y="1481"/>
                </a:cubicBezTo>
                <a:cubicBezTo>
                  <a:pt x="1160" y="1481"/>
                  <a:pt x="1158" y="1483"/>
                  <a:pt x="1156" y="1484"/>
                </a:cubicBezTo>
                <a:cubicBezTo>
                  <a:pt x="1149" y="1481"/>
                  <a:pt x="1144" y="1480"/>
                  <a:pt x="1141" y="1480"/>
                </a:cubicBezTo>
                <a:cubicBezTo>
                  <a:pt x="1138" y="1479"/>
                  <a:pt x="1135" y="1480"/>
                  <a:pt x="1132" y="1482"/>
                </a:cubicBezTo>
                <a:cubicBezTo>
                  <a:pt x="1128" y="1485"/>
                  <a:pt x="1125" y="1486"/>
                  <a:pt x="1124" y="1487"/>
                </a:cubicBezTo>
                <a:lnTo>
                  <a:pt x="1120" y="1486"/>
                </a:lnTo>
                <a:cubicBezTo>
                  <a:pt x="1121" y="1485"/>
                  <a:pt x="1122" y="1484"/>
                  <a:pt x="1122" y="1483"/>
                </a:cubicBezTo>
                <a:cubicBezTo>
                  <a:pt x="1122" y="1481"/>
                  <a:pt x="1120" y="1479"/>
                  <a:pt x="1114" y="1477"/>
                </a:cubicBezTo>
                <a:cubicBezTo>
                  <a:pt x="1108" y="1475"/>
                  <a:pt x="1105" y="1474"/>
                  <a:pt x="1104" y="1474"/>
                </a:cubicBezTo>
                <a:cubicBezTo>
                  <a:pt x="1104" y="1475"/>
                  <a:pt x="1104" y="1475"/>
                  <a:pt x="1103" y="1475"/>
                </a:cubicBezTo>
                <a:cubicBezTo>
                  <a:pt x="1103" y="1477"/>
                  <a:pt x="1101" y="1478"/>
                  <a:pt x="1098" y="1479"/>
                </a:cubicBezTo>
                <a:cubicBezTo>
                  <a:pt x="1096" y="1480"/>
                  <a:pt x="1094" y="1480"/>
                  <a:pt x="1092" y="1480"/>
                </a:cubicBezTo>
                <a:cubicBezTo>
                  <a:pt x="1088" y="1476"/>
                  <a:pt x="1084" y="1472"/>
                  <a:pt x="1080" y="1467"/>
                </a:cubicBezTo>
                <a:cubicBezTo>
                  <a:pt x="1077" y="1464"/>
                  <a:pt x="1074" y="1462"/>
                  <a:pt x="1072" y="1460"/>
                </a:cubicBezTo>
                <a:cubicBezTo>
                  <a:pt x="1067" y="1456"/>
                  <a:pt x="1064" y="1455"/>
                  <a:pt x="1061" y="1454"/>
                </a:cubicBezTo>
                <a:cubicBezTo>
                  <a:pt x="1059" y="1454"/>
                  <a:pt x="1057" y="1452"/>
                  <a:pt x="1054" y="1449"/>
                </a:cubicBezTo>
                <a:cubicBezTo>
                  <a:pt x="1051" y="1446"/>
                  <a:pt x="1049" y="1444"/>
                  <a:pt x="1047" y="1443"/>
                </a:cubicBezTo>
                <a:cubicBezTo>
                  <a:pt x="1046" y="1442"/>
                  <a:pt x="1042" y="1441"/>
                  <a:pt x="1035" y="1441"/>
                </a:cubicBezTo>
                <a:cubicBezTo>
                  <a:pt x="1032" y="1441"/>
                  <a:pt x="1030" y="1439"/>
                  <a:pt x="1030" y="1434"/>
                </a:cubicBezTo>
                <a:cubicBezTo>
                  <a:pt x="1032" y="1430"/>
                  <a:pt x="1033" y="1426"/>
                  <a:pt x="1033" y="1425"/>
                </a:cubicBezTo>
                <a:cubicBezTo>
                  <a:pt x="1033" y="1423"/>
                  <a:pt x="1032" y="1422"/>
                  <a:pt x="1028" y="1421"/>
                </a:cubicBezTo>
                <a:cubicBezTo>
                  <a:pt x="1020" y="1421"/>
                  <a:pt x="1015" y="1422"/>
                  <a:pt x="1014" y="1422"/>
                </a:cubicBezTo>
                <a:cubicBezTo>
                  <a:pt x="1001" y="1420"/>
                  <a:pt x="995" y="1416"/>
                  <a:pt x="995" y="1409"/>
                </a:cubicBezTo>
                <a:cubicBezTo>
                  <a:pt x="995" y="1408"/>
                  <a:pt x="996" y="1408"/>
                  <a:pt x="996" y="1407"/>
                </a:cubicBezTo>
                <a:cubicBezTo>
                  <a:pt x="997" y="1406"/>
                  <a:pt x="998" y="1406"/>
                  <a:pt x="999" y="1405"/>
                </a:cubicBezTo>
                <a:cubicBezTo>
                  <a:pt x="1000" y="1404"/>
                  <a:pt x="1003" y="1404"/>
                  <a:pt x="1007" y="1403"/>
                </a:cubicBezTo>
                <a:cubicBezTo>
                  <a:pt x="1014" y="1402"/>
                  <a:pt x="1018" y="1401"/>
                  <a:pt x="1018" y="1400"/>
                </a:cubicBezTo>
                <a:cubicBezTo>
                  <a:pt x="1018" y="1398"/>
                  <a:pt x="1016" y="1396"/>
                  <a:pt x="1013" y="1392"/>
                </a:cubicBezTo>
                <a:cubicBezTo>
                  <a:pt x="1009" y="1388"/>
                  <a:pt x="1007" y="1386"/>
                  <a:pt x="1005" y="1385"/>
                </a:cubicBezTo>
                <a:cubicBezTo>
                  <a:pt x="1005" y="1387"/>
                  <a:pt x="1004" y="1388"/>
                  <a:pt x="1003" y="1389"/>
                </a:cubicBezTo>
                <a:cubicBezTo>
                  <a:pt x="1001" y="1389"/>
                  <a:pt x="1000" y="1391"/>
                  <a:pt x="1000" y="1392"/>
                </a:cubicBezTo>
                <a:cubicBezTo>
                  <a:pt x="1000" y="1395"/>
                  <a:pt x="999" y="1397"/>
                  <a:pt x="999" y="1400"/>
                </a:cubicBezTo>
                <a:cubicBezTo>
                  <a:pt x="999" y="1401"/>
                  <a:pt x="998" y="1402"/>
                  <a:pt x="997" y="1402"/>
                </a:cubicBezTo>
                <a:cubicBezTo>
                  <a:pt x="996" y="1402"/>
                  <a:pt x="994" y="1402"/>
                  <a:pt x="992" y="1402"/>
                </a:cubicBezTo>
                <a:cubicBezTo>
                  <a:pt x="987" y="1401"/>
                  <a:pt x="984" y="1400"/>
                  <a:pt x="982" y="1399"/>
                </a:cubicBezTo>
                <a:cubicBezTo>
                  <a:pt x="980" y="1399"/>
                  <a:pt x="978" y="1400"/>
                  <a:pt x="976" y="1402"/>
                </a:cubicBezTo>
                <a:cubicBezTo>
                  <a:pt x="974" y="1405"/>
                  <a:pt x="972" y="1406"/>
                  <a:pt x="970" y="1406"/>
                </a:cubicBezTo>
                <a:lnTo>
                  <a:pt x="969" y="1405"/>
                </a:lnTo>
                <a:cubicBezTo>
                  <a:pt x="968" y="1403"/>
                  <a:pt x="968" y="1402"/>
                  <a:pt x="968" y="1400"/>
                </a:cubicBezTo>
                <a:cubicBezTo>
                  <a:pt x="966" y="1392"/>
                  <a:pt x="964" y="1385"/>
                  <a:pt x="961" y="1380"/>
                </a:cubicBezTo>
                <a:cubicBezTo>
                  <a:pt x="961" y="1379"/>
                  <a:pt x="961" y="1377"/>
                  <a:pt x="960" y="1377"/>
                </a:cubicBezTo>
                <a:cubicBezTo>
                  <a:pt x="960" y="1377"/>
                  <a:pt x="960" y="1378"/>
                  <a:pt x="960" y="1379"/>
                </a:cubicBezTo>
                <a:cubicBezTo>
                  <a:pt x="959" y="1379"/>
                  <a:pt x="959" y="1380"/>
                  <a:pt x="959" y="1381"/>
                </a:cubicBezTo>
                <a:cubicBezTo>
                  <a:pt x="959" y="1383"/>
                  <a:pt x="961" y="1389"/>
                  <a:pt x="965" y="1401"/>
                </a:cubicBezTo>
                <a:cubicBezTo>
                  <a:pt x="965" y="1401"/>
                  <a:pt x="964" y="1403"/>
                  <a:pt x="963" y="1404"/>
                </a:cubicBezTo>
                <a:cubicBezTo>
                  <a:pt x="962" y="1405"/>
                  <a:pt x="961" y="1405"/>
                  <a:pt x="960" y="1405"/>
                </a:cubicBezTo>
                <a:cubicBezTo>
                  <a:pt x="959" y="1405"/>
                  <a:pt x="955" y="1404"/>
                  <a:pt x="951" y="1403"/>
                </a:cubicBezTo>
                <a:cubicBezTo>
                  <a:pt x="945" y="1402"/>
                  <a:pt x="942" y="1401"/>
                  <a:pt x="942" y="1401"/>
                </a:cubicBezTo>
                <a:cubicBezTo>
                  <a:pt x="940" y="1400"/>
                  <a:pt x="939" y="1397"/>
                  <a:pt x="938" y="1392"/>
                </a:cubicBezTo>
                <a:cubicBezTo>
                  <a:pt x="937" y="1387"/>
                  <a:pt x="936" y="1385"/>
                  <a:pt x="935" y="1384"/>
                </a:cubicBezTo>
                <a:cubicBezTo>
                  <a:pt x="932" y="1380"/>
                  <a:pt x="926" y="1378"/>
                  <a:pt x="916" y="1378"/>
                </a:cubicBezTo>
                <a:cubicBezTo>
                  <a:pt x="912" y="1378"/>
                  <a:pt x="908" y="1377"/>
                  <a:pt x="906" y="1374"/>
                </a:cubicBezTo>
                <a:cubicBezTo>
                  <a:pt x="904" y="1371"/>
                  <a:pt x="902" y="1370"/>
                  <a:pt x="901" y="1370"/>
                </a:cubicBezTo>
                <a:cubicBezTo>
                  <a:pt x="900" y="1369"/>
                  <a:pt x="898" y="1370"/>
                  <a:pt x="896" y="1372"/>
                </a:cubicBezTo>
                <a:cubicBezTo>
                  <a:pt x="894" y="1373"/>
                  <a:pt x="892" y="1374"/>
                  <a:pt x="891" y="1374"/>
                </a:cubicBezTo>
                <a:cubicBezTo>
                  <a:pt x="889" y="1374"/>
                  <a:pt x="887" y="1371"/>
                  <a:pt x="883" y="1365"/>
                </a:cubicBezTo>
                <a:cubicBezTo>
                  <a:pt x="880" y="1359"/>
                  <a:pt x="876" y="1356"/>
                  <a:pt x="873" y="1356"/>
                </a:cubicBezTo>
                <a:cubicBezTo>
                  <a:pt x="868" y="1355"/>
                  <a:pt x="861" y="1358"/>
                  <a:pt x="852" y="1363"/>
                </a:cubicBezTo>
                <a:cubicBezTo>
                  <a:pt x="840" y="1370"/>
                  <a:pt x="834" y="1373"/>
                  <a:pt x="832" y="1374"/>
                </a:cubicBezTo>
                <a:cubicBezTo>
                  <a:pt x="821" y="1377"/>
                  <a:pt x="811" y="1381"/>
                  <a:pt x="803" y="1386"/>
                </a:cubicBezTo>
                <a:cubicBezTo>
                  <a:pt x="800" y="1388"/>
                  <a:pt x="797" y="1391"/>
                  <a:pt x="795" y="1393"/>
                </a:cubicBezTo>
                <a:cubicBezTo>
                  <a:pt x="787" y="1390"/>
                  <a:pt x="781" y="1389"/>
                  <a:pt x="778" y="1389"/>
                </a:cubicBezTo>
                <a:cubicBezTo>
                  <a:pt x="774" y="1389"/>
                  <a:pt x="767" y="1392"/>
                  <a:pt x="757" y="1397"/>
                </a:cubicBezTo>
                <a:cubicBezTo>
                  <a:pt x="756" y="1398"/>
                  <a:pt x="751" y="1402"/>
                  <a:pt x="743" y="1410"/>
                </a:cubicBezTo>
                <a:cubicBezTo>
                  <a:pt x="738" y="1415"/>
                  <a:pt x="733" y="1417"/>
                  <a:pt x="727" y="1417"/>
                </a:cubicBezTo>
                <a:cubicBezTo>
                  <a:pt x="729" y="1424"/>
                  <a:pt x="730" y="1427"/>
                  <a:pt x="730" y="1428"/>
                </a:cubicBezTo>
                <a:cubicBezTo>
                  <a:pt x="730" y="1430"/>
                  <a:pt x="729" y="1432"/>
                  <a:pt x="727" y="1434"/>
                </a:cubicBezTo>
                <a:cubicBezTo>
                  <a:pt x="724" y="1436"/>
                  <a:pt x="722" y="1439"/>
                  <a:pt x="721" y="1441"/>
                </a:cubicBezTo>
                <a:cubicBezTo>
                  <a:pt x="720" y="1443"/>
                  <a:pt x="716" y="1448"/>
                  <a:pt x="711" y="1458"/>
                </a:cubicBezTo>
                <a:cubicBezTo>
                  <a:pt x="717" y="1459"/>
                  <a:pt x="719" y="1467"/>
                  <a:pt x="718" y="1480"/>
                </a:cubicBezTo>
                <a:cubicBezTo>
                  <a:pt x="717" y="1482"/>
                  <a:pt x="716" y="1488"/>
                  <a:pt x="714" y="1498"/>
                </a:cubicBezTo>
                <a:cubicBezTo>
                  <a:pt x="713" y="1505"/>
                  <a:pt x="714" y="1509"/>
                  <a:pt x="716" y="1511"/>
                </a:cubicBezTo>
                <a:cubicBezTo>
                  <a:pt x="719" y="1513"/>
                  <a:pt x="720" y="1520"/>
                  <a:pt x="721" y="1530"/>
                </a:cubicBezTo>
                <a:cubicBezTo>
                  <a:pt x="717" y="1529"/>
                  <a:pt x="712" y="1528"/>
                  <a:pt x="707" y="1526"/>
                </a:cubicBezTo>
                <a:cubicBezTo>
                  <a:pt x="701" y="1523"/>
                  <a:pt x="697" y="1522"/>
                  <a:pt x="694" y="1521"/>
                </a:cubicBezTo>
                <a:cubicBezTo>
                  <a:pt x="693" y="1521"/>
                  <a:pt x="690" y="1522"/>
                  <a:pt x="685" y="1524"/>
                </a:cubicBezTo>
                <a:cubicBezTo>
                  <a:pt x="680" y="1526"/>
                  <a:pt x="676" y="1527"/>
                  <a:pt x="672" y="1526"/>
                </a:cubicBezTo>
                <a:cubicBezTo>
                  <a:pt x="668" y="1526"/>
                  <a:pt x="663" y="1526"/>
                  <a:pt x="658" y="1528"/>
                </a:cubicBezTo>
                <a:cubicBezTo>
                  <a:pt x="654" y="1529"/>
                  <a:pt x="651" y="1531"/>
                  <a:pt x="649" y="1533"/>
                </a:cubicBezTo>
                <a:cubicBezTo>
                  <a:pt x="646" y="1530"/>
                  <a:pt x="643" y="1528"/>
                  <a:pt x="640" y="1528"/>
                </a:cubicBezTo>
                <a:cubicBezTo>
                  <a:pt x="640" y="1529"/>
                  <a:pt x="639" y="1530"/>
                  <a:pt x="639" y="1532"/>
                </a:cubicBezTo>
                <a:cubicBezTo>
                  <a:pt x="638" y="1532"/>
                  <a:pt x="632" y="1527"/>
                  <a:pt x="620" y="1518"/>
                </a:cubicBezTo>
                <a:cubicBezTo>
                  <a:pt x="612" y="1513"/>
                  <a:pt x="605" y="1509"/>
                  <a:pt x="598" y="1509"/>
                </a:cubicBezTo>
                <a:cubicBezTo>
                  <a:pt x="592" y="1508"/>
                  <a:pt x="586" y="1509"/>
                  <a:pt x="582" y="1510"/>
                </a:cubicBezTo>
                <a:cubicBezTo>
                  <a:pt x="578" y="1512"/>
                  <a:pt x="575" y="1513"/>
                  <a:pt x="574" y="1513"/>
                </a:cubicBezTo>
                <a:cubicBezTo>
                  <a:pt x="571" y="1509"/>
                  <a:pt x="568" y="1505"/>
                  <a:pt x="564" y="1500"/>
                </a:cubicBezTo>
                <a:cubicBezTo>
                  <a:pt x="560" y="1496"/>
                  <a:pt x="555" y="1492"/>
                  <a:pt x="551" y="1489"/>
                </a:cubicBezTo>
                <a:cubicBezTo>
                  <a:pt x="551" y="1479"/>
                  <a:pt x="559" y="1481"/>
                  <a:pt x="563" y="1477"/>
                </a:cubicBezTo>
                <a:cubicBezTo>
                  <a:pt x="561" y="1473"/>
                  <a:pt x="550" y="1475"/>
                  <a:pt x="551" y="1468"/>
                </a:cubicBezTo>
                <a:cubicBezTo>
                  <a:pt x="544" y="1463"/>
                  <a:pt x="539" y="1467"/>
                  <a:pt x="531" y="1462"/>
                </a:cubicBezTo>
                <a:cubicBezTo>
                  <a:pt x="526" y="1459"/>
                  <a:pt x="526" y="1456"/>
                  <a:pt x="519" y="1457"/>
                </a:cubicBezTo>
                <a:cubicBezTo>
                  <a:pt x="516" y="1458"/>
                  <a:pt x="508" y="1462"/>
                  <a:pt x="509" y="1465"/>
                </a:cubicBezTo>
                <a:lnTo>
                  <a:pt x="509" y="1465"/>
                </a:lnTo>
                <a:cubicBezTo>
                  <a:pt x="504" y="1461"/>
                  <a:pt x="500" y="1456"/>
                  <a:pt x="498" y="1450"/>
                </a:cubicBezTo>
                <a:cubicBezTo>
                  <a:pt x="496" y="1445"/>
                  <a:pt x="494" y="1441"/>
                  <a:pt x="493" y="1439"/>
                </a:cubicBezTo>
                <a:cubicBezTo>
                  <a:pt x="491" y="1436"/>
                  <a:pt x="487" y="1434"/>
                  <a:pt x="483" y="1433"/>
                </a:cubicBezTo>
                <a:cubicBezTo>
                  <a:pt x="480" y="1432"/>
                  <a:pt x="478" y="1431"/>
                  <a:pt x="476" y="1431"/>
                </a:cubicBezTo>
                <a:cubicBezTo>
                  <a:pt x="474" y="1430"/>
                  <a:pt x="472" y="1430"/>
                  <a:pt x="470" y="1428"/>
                </a:cubicBezTo>
                <a:cubicBezTo>
                  <a:pt x="468" y="1427"/>
                  <a:pt x="467" y="1425"/>
                  <a:pt x="466" y="1422"/>
                </a:cubicBezTo>
                <a:cubicBezTo>
                  <a:pt x="465" y="1420"/>
                  <a:pt x="465" y="1418"/>
                  <a:pt x="464" y="1417"/>
                </a:cubicBezTo>
                <a:cubicBezTo>
                  <a:pt x="463" y="1416"/>
                  <a:pt x="461" y="1415"/>
                  <a:pt x="458" y="1415"/>
                </a:cubicBezTo>
                <a:cubicBezTo>
                  <a:pt x="454" y="1414"/>
                  <a:pt x="452" y="1413"/>
                  <a:pt x="450" y="1412"/>
                </a:cubicBezTo>
                <a:cubicBezTo>
                  <a:pt x="447" y="1408"/>
                  <a:pt x="443" y="1406"/>
                  <a:pt x="439" y="1404"/>
                </a:cubicBezTo>
                <a:cubicBezTo>
                  <a:pt x="428" y="1397"/>
                  <a:pt x="420" y="1393"/>
                  <a:pt x="415" y="1393"/>
                </a:cubicBezTo>
                <a:cubicBezTo>
                  <a:pt x="410" y="1392"/>
                  <a:pt x="408" y="1394"/>
                  <a:pt x="407" y="1398"/>
                </a:cubicBezTo>
                <a:cubicBezTo>
                  <a:pt x="407" y="1399"/>
                  <a:pt x="408" y="1403"/>
                  <a:pt x="411" y="1411"/>
                </a:cubicBezTo>
                <a:lnTo>
                  <a:pt x="410" y="1415"/>
                </a:lnTo>
                <a:cubicBezTo>
                  <a:pt x="408" y="1415"/>
                  <a:pt x="406" y="1414"/>
                  <a:pt x="404" y="1413"/>
                </a:cubicBezTo>
                <a:cubicBezTo>
                  <a:pt x="402" y="1412"/>
                  <a:pt x="400" y="1411"/>
                  <a:pt x="398" y="1411"/>
                </a:cubicBezTo>
                <a:cubicBezTo>
                  <a:pt x="396" y="1411"/>
                  <a:pt x="393" y="1411"/>
                  <a:pt x="388" y="1412"/>
                </a:cubicBezTo>
                <a:cubicBezTo>
                  <a:pt x="384" y="1413"/>
                  <a:pt x="381" y="1413"/>
                  <a:pt x="379" y="1413"/>
                </a:cubicBezTo>
                <a:cubicBezTo>
                  <a:pt x="378" y="1413"/>
                  <a:pt x="377" y="1412"/>
                  <a:pt x="375" y="1409"/>
                </a:cubicBezTo>
                <a:cubicBezTo>
                  <a:pt x="372" y="1407"/>
                  <a:pt x="371" y="1406"/>
                  <a:pt x="369" y="1406"/>
                </a:cubicBezTo>
                <a:cubicBezTo>
                  <a:pt x="368" y="1406"/>
                  <a:pt x="366" y="1407"/>
                  <a:pt x="363" y="1409"/>
                </a:cubicBezTo>
                <a:cubicBezTo>
                  <a:pt x="361" y="1411"/>
                  <a:pt x="359" y="1412"/>
                  <a:pt x="358" y="1411"/>
                </a:cubicBezTo>
                <a:cubicBezTo>
                  <a:pt x="353" y="1402"/>
                  <a:pt x="349" y="1397"/>
                  <a:pt x="346" y="1397"/>
                </a:cubicBezTo>
                <a:cubicBezTo>
                  <a:pt x="339" y="1400"/>
                  <a:pt x="333" y="1402"/>
                  <a:pt x="329" y="1401"/>
                </a:cubicBezTo>
                <a:cubicBezTo>
                  <a:pt x="319" y="1400"/>
                  <a:pt x="311" y="1394"/>
                  <a:pt x="304" y="1383"/>
                </a:cubicBezTo>
                <a:cubicBezTo>
                  <a:pt x="299" y="1376"/>
                  <a:pt x="297" y="1372"/>
                  <a:pt x="296" y="1372"/>
                </a:cubicBezTo>
                <a:cubicBezTo>
                  <a:pt x="293" y="1368"/>
                  <a:pt x="290" y="1366"/>
                  <a:pt x="287" y="1366"/>
                </a:cubicBezTo>
                <a:cubicBezTo>
                  <a:pt x="286" y="1366"/>
                  <a:pt x="285" y="1367"/>
                  <a:pt x="284" y="1368"/>
                </a:cubicBezTo>
                <a:cubicBezTo>
                  <a:pt x="283" y="1369"/>
                  <a:pt x="282" y="1370"/>
                  <a:pt x="281" y="1370"/>
                </a:cubicBezTo>
                <a:cubicBezTo>
                  <a:pt x="280" y="1370"/>
                  <a:pt x="276" y="1369"/>
                  <a:pt x="270" y="1367"/>
                </a:cubicBezTo>
                <a:cubicBezTo>
                  <a:pt x="268" y="1367"/>
                  <a:pt x="265" y="1367"/>
                  <a:pt x="263" y="1368"/>
                </a:cubicBezTo>
                <a:cubicBezTo>
                  <a:pt x="261" y="1369"/>
                  <a:pt x="259" y="1370"/>
                  <a:pt x="255" y="1371"/>
                </a:cubicBezTo>
                <a:cubicBezTo>
                  <a:pt x="254" y="1365"/>
                  <a:pt x="249" y="1357"/>
                  <a:pt x="242" y="1345"/>
                </a:cubicBezTo>
                <a:cubicBezTo>
                  <a:pt x="234" y="1333"/>
                  <a:pt x="229" y="1327"/>
                  <a:pt x="227" y="1326"/>
                </a:cubicBezTo>
                <a:cubicBezTo>
                  <a:pt x="225" y="1326"/>
                  <a:pt x="223" y="1326"/>
                  <a:pt x="219" y="1327"/>
                </a:cubicBezTo>
                <a:cubicBezTo>
                  <a:pt x="219" y="1327"/>
                  <a:pt x="211" y="1321"/>
                  <a:pt x="195" y="1308"/>
                </a:cubicBezTo>
                <a:cubicBezTo>
                  <a:pt x="194" y="1307"/>
                  <a:pt x="193" y="1305"/>
                  <a:pt x="191" y="1303"/>
                </a:cubicBezTo>
                <a:cubicBezTo>
                  <a:pt x="189" y="1300"/>
                  <a:pt x="187" y="1299"/>
                  <a:pt x="184" y="1298"/>
                </a:cubicBezTo>
                <a:cubicBezTo>
                  <a:pt x="178" y="1295"/>
                  <a:pt x="175" y="1291"/>
                  <a:pt x="174" y="1285"/>
                </a:cubicBezTo>
                <a:lnTo>
                  <a:pt x="172" y="1285"/>
                </a:lnTo>
                <a:cubicBezTo>
                  <a:pt x="171" y="1286"/>
                  <a:pt x="169" y="1288"/>
                  <a:pt x="168" y="1290"/>
                </a:cubicBezTo>
                <a:cubicBezTo>
                  <a:pt x="166" y="1293"/>
                  <a:pt x="165" y="1294"/>
                  <a:pt x="164" y="1295"/>
                </a:cubicBezTo>
                <a:cubicBezTo>
                  <a:pt x="155" y="1293"/>
                  <a:pt x="151" y="1289"/>
                  <a:pt x="151" y="1285"/>
                </a:cubicBezTo>
                <a:cubicBezTo>
                  <a:pt x="152" y="1283"/>
                  <a:pt x="153" y="1280"/>
                  <a:pt x="157" y="1276"/>
                </a:cubicBezTo>
                <a:cubicBezTo>
                  <a:pt x="160" y="1272"/>
                  <a:pt x="162" y="1268"/>
                  <a:pt x="163" y="1265"/>
                </a:cubicBezTo>
                <a:cubicBezTo>
                  <a:pt x="164" y="1255"/>
                  <a:pt x="158" y="1250"/>
                  <a:pt x="147" y="1248"/>
                </a:cubicBezTo>
                <a:cubicBezTo>
                  <a:pt x="142" y="1248"/>
                  <a:pt x="138" y="1246"/>
                  <a:pt x="136" y="1245"/>
                </a:cubicBezTo>
                <a:cubicBezTo>
                  <a:pt x="134" y="1244"/>
                  <a:pt x="131" y="1242"/>
                  <a:pt x="127" y="1239"/>
                </a:cubicBezTo>
                <a:cubicBezTo>
                  <a:pt x="127" y="1236"/>
                  <a:pt x="126" y="1234"/>
                  <a:pt x="125" y="1232"/>
                </a:cubicBezTo>
                <a:cubicBezTo>
                  <a:pt x="124" y="1231"/>
                  <a:pt x="124" y="1230"/>
                  <a:pt x="124" y="1228"/>
                </a:cubicBezTo>
                <a:cubicBezTo>
                  <a:pt x="124" y="1227"/>
                  <a:pt x="125" y="1226"/>
                  <a:pt x="125" y="1225"/>
                </a:cubicBezTo>
                <a:cubicBezTo>
                  <a:pt x="127" y="1226"/>
                  <a:pt x="128" y="1226"/>
                  <a:pt x="129" y="1226"/>
                </a:cubicBezTo>
                <a:cubicBezTo>
                  <a:pt x="141" y="1227"/>
                  <a:pt x="153" y="1218"/>
                  <a:pt x="167" y="1200"/>
                </a:cubicBezTo>
                <a:cubicBezTo>
                  <a:pt x="178" y="1185"/>
                  <a:pt x="186" y="1171"/>
                  <a:pt x="189" y="1158"/>
                </a:cubicBezTo>
                <a:cubicBezTo>
                  <a:pt x="190" y="1154"/>
                  <a:pt x="193" y="1147"/>
                  <a:pt x="198" y="1138"/>
                </a:cubicBezTo>
                <a:cubicBezTo>
                  <a:pt x="204" y="1128"/>
                  <a:pt x="208" y="1120"/>
                  <a:pt x="210" y="1114"/>
                </a:cubicBezTo>
                <a:cubicBezTo>
                  <a:pt x="215" y="1105"/>
                  <a:pt x="219" y="1097"/>
                  <a:pt x="221" y="1092"/>
                </a:cubicBezTo>
                <a:cubicBezTo>
                  <a:pt x="222" y="1091"/>
                  <a:pt x="223" y="1087"/>
                  <a:pt x="224" y="1079"/>
                </a:cubicBezTo>
                <a:cubicBezTo>
                  <a:pt x="225" y="1077"/>
                  <a:pt x="225" y="1076"/>
                  <a:pt x="225" y="1074"/>
                </a:cubicBezTo>
                <a:cubicBezTo>
                  <a:pt x="226" y="1072"/>
                  <a:pt x="227" y="1070"/>
                  <a:pt x="228" y="1069"/>
                </a:cubicBezTo>
                <a:cubicBezTo>
                  <a:pt x="228" y="1069"/>
                  <a:pt x="228" y="1069"/>
                  <a:pt x="228" y="1068"/>
                </a:cubicBezTo>
                <a:cubicBezTo>
                  <a:pt x="229" y="1067"/>
                  <a:pt x="230" y="1065"/>
                  <a:pt x="230" y="1063"/>
                </a:cubicBezTo>
                <a:cubicBezTo>
                  <a:pt x="234" y="1053"/>
                  <a:pt x="237" y="1047"/>
                  <a:pt x="237" y="1045"/>
                </a:cubicBezTo>
                <a:cubicBezTo>
                  <a:pt x="237" y="1041"/>
                  <a:pt x="241" y="1037"/>
                  <a:pt x="248" y="1031"/>
                </a:cubicBezTo>
                <a:cubicBezTo>
                  <a:pt x="249" y="1030"/>
                  <a:pt x="250" y="1028"/>
                  <a:pt x="252" y="1023"/>
                </a:cubicBezTo>
                <a:cubicBezTo>
                  <a:pt x="253" y="1019"/>
                  <a:pt x="255" y="1018"/>
                  <a:pt x="258" y="1018"/>
                </a:cubicBezTo>
                <a:cubicBezTo>
                  <a:pt x="263" y="1020"/>
                  <a:pt x="266" y="1021"/>
                  <a:pt x="268" y="1022"/>
                </a:cubicBezTo>
                <a:cubicBezTo>
                  <a:pt x="270" y="1022"/>
                  <a:pt x="271" y="1021"/>
                  <a:pt x="273" y="1020"/>
                </a:cubicBezTo>
                <a:cubicBezTo>
                  <a:pt x="272" y="1018"/>
                  <a:pt x="271" y="1015"/>
                  <a:pt x="270" y="1013"/>
                </a:cubicBezTo>
                <a:cubicBezTo>
                  <a:pt x="267" y="1007"/>
                  <a:pt x="264" y="1005"/>
                  <a:pt x="262" y="1004"/>
                </a:cubicBezTo>
                <a:cubicBezTo>
                  <a:pt x="258" y="1004"/>
                  <a:pt x="256" y="1005"/>
                  <a:pt x="254" y="1007"/>
                </a:cubicBezTo>
                <a:cubicBezTo>
                  <a:pt x="250" y="1011"/>
                  <a:pt x="247" y="1014"/>
                  <a:pt x="247" y="1014"/>
                </a:cubicBezTo>
                <a:cubicBezTo>
                  <a:pt x="248" y="1011"/>
                  <a:pt x="249" y="1009"/>
                  <a:pt x="250" y="1006"/>
                </a:cubicBezTo>
                <a:cubicBezTo>
                  <a:pt x="253" y="998"/>
                  <a:pt x="257" y="987"/>
                  <a:pt x="261" y="975"/>
                </a:cubicBezTo>
                <a:cubicBezTo>
                  <a:pt x="270" y="949"/>
                  <a:pt x="275" y="937"/>
                  <a:pt x="275" y="936"/>
                </a:cubicBezTo>
                <a:cubicBezTo>
                  <a:pt x="284" y="913"/>
                  <a:pt x="292" y="894"/>
                  <a:pt x="301" y="878"/>
                </a:cubicBezTo>
                <a:cubicBezTo>
                  <a:pt x="304" y="873"/>
                  <a:pt x="306" y="869"/>
                  <a:pt x="309" y="865"/>
                </a:cubicBezTo>
                <a:cubicBezTo>
                  <a:pt x="309" y="865"/>
                  <a:pt x="309" y="865"/>
                  <a:pt x="309" y="864"/>
                </a:cubicBezTo>
                <a:cubicBezTo>
                  <a:pt x="309" y="865"/>
                  <a:pt x="309" y="865"/>
                  <a:pt x="309" y="865"/>
                </a:cubicBezTo>
                <a:cubicBezTo>
                  <a:pt x="309" y="865"/>
                  <a:pt x="310" y="865"/>
                  <a:pt x="310" y="865"/>
                </a:cubicBezTo>
                <a:cubicBezTo>
                  <a:pt x="309" y="873"/>
                  <a:pt x="310" y="880"/>
                  <a:pt x="313" y="885"/>
                </a:cubicBezTo>
                <a:cubicBezTo>
                  <a:pt x="316" y="889"/>
                  <a:pt x="319" y="893"/>
                  <a:pt x="325" y="898"/>
                </a:cubicBezTo>
                <a:cubicBezTo>
                  <a:pt x="334" y="907"/>
                  <a:pt x="338" y="920"/>
                  <a:pt x="336" y="939"/>
                </a:cubicBezTo>
                <a:cubicBezTo>
                  <a:pt x="336" y="940"/>
                  <a:pt x="334" y="947"/>
                  <a:pt x="332" y="958"/>
                </a:cubicBezTo>
                <a:cubicBezTo>
                  <a:pt x="332" y="958"/>
                  <a:pt x="332" y="959"/>
                  <a:pt x="332" y="959"/>
                </a:cubicBezTo>
                <a:cubicBezTo>
                  <a:pt x="332" y="962"/>
                  <a:pt x="332" y="965"/>
                  <a:pt x="334" y="968"/>
                </a:cubicBezTo>
                <a:cubicBezTo>
                  <a:pt x="334" y="969"/>
                  <a:pt x="336" y="971"/>
                  <a:pt x="339" y="973"/>
                </a:cubicBezTo>
                <a:cubicBezTo>
                  <a:pt x="343" y="977"/>
                  <a:pt x="345" y="981"/>
                  <a:pt x="345" y="987"/>
                </a:cubicBezTo>
                <a:lnTo>
                  <a:pt x="346" y="987"/>
                </a:lnTo>
                <a:cubicBezTo>
                  <a:pt x="346" y="990"/>
                  <a:pt x="346" y="992"/>
                  <a:pt x="346" y="995"/>
                </a:cubicBezTo>
                <a:cubicBezTo>
                  <a:pt x="345" y="996"/>
                  <a:pt x="345" y="997"/>
                  <a:pt x="345" y="998"/>
                </a:cubicBezTo>
                <a:cubicBezTo>
                  <a:pt x="345" y="997"/>
                  <a:pt x="346" y="996"/>
                  <a:pt x="346" y="995"/>
                </a:cubicBezTo>
                <a:lnTo>
                  <a:pt x="346" y="995"/>
                </a:lnTo>
                <a:cubicBezTo>
                  <a:pt x="347" y="992"/>
                  <a:pt x="347" y="990"/>
                  <a:pt x="347" y="987"/>
                </a:cubicBezTo>
                <a:cubicBezTo>
                  <a:pt x="347" y="987"/>
                  <a:pt x="347" y="987"/>
                  <a:pt x="347" y="987"/>
                </a:cubicBezTo>
                <a:cubicBezTo>
                  <a:pt x="348" y="984"/>
                  <a:pt x="346" y="979"/>
                  <a:pt x="343" y="972"/>
                </a:cubicBezTo>
                <a:cubicBezTo>
                  <a:pt x="343" y="972"/>
                  <a:pt x="343" y="972"/>
                  <a:pt x="342" y="972"/>
                </a:cubicBezTo>
                <a:cubicBezTo>
                  <a:pt x="339" y="965"/>
                  <a:pt x="338" y="961"/>
                  <a:pt x="338" y="959"/>
                </a:cubicBezTo>
                <a:cubicBezTo>
                  <a:pt x="338" y="957"/>
                  <a:pt x="339" y="954"/>
                  <a:pt x="341" y="950"/>
                </a:cubicBezTo>
                <a:cubicBezTo>
                  <a:pt x="342" y="945"/>
                  <a:pt x="343" y="942"/>
                  <a:pt x="343" y="939"/>
                </a:cubicBezTo>
                <a:cubicBezTo>
                  <a:pt x="343" y="936"/>
                  <a:pt x="343" y="931"/>
                  <a:pt x="342" y="923"/>
                </a:cubicBezTo>
                <a:cubicBezTo>
                  <a:pt x="342" y="915"/>
                  <a:pt x="342" y="909"/>
                  <a:pt x="342" y="906"/>
                </a:cubicBezTo>
                <a:cubicBezTo>
                  <a:pt x="342" y="899"/>
                  <a:pt x="341" y="894"/>
                  <a:pt x="338" y="889"/>
                </a:cubicBezTo>
                <a:cubicBezTo>
                  <a:pt x="337" y="887"/>
                  <a:pt x="335" y="883"/>
                  <a:pt x="330" y="878"/>
                </a:cubicBezTo>
                <a:cubicBezTo>
                  <a:pt x="328" y="876"/>
                  <a:pt x="326" y="871"/>
                  <a:pt x="323" y="865"/>
                </a:cubicBezTo>
                <a:cubicBezTo>
                  <a:pt x="320" y="860"/>
                  <a:pt x="318" y="856"/>
                  <a:pt x="316" y="854"/>
                </a:cubicBezTo>
                <a:cubicBezTo>
                  <a:pt x="315" y="853"/>
                  <a:pt x="311" y="850"/>
                  <a:pt x="304" y="845"/>
                </a:cubicBezTo>
                <a:cubicBezTo>
                  <a:pt x="299" y="842"/>
                  <a:pt x="295" y="839"/>
                  <a:pt x="293" y="835"/>
                </a:cubicBezTo>
                <a:cubicBezTo>
                  <a:pt x="297" y="834"/>
                  <a:pt x="301" y="829"/>
                  <a:pt x="306" y="823"/>
                </a:cubicBezTo>
                <a:cubicBezTo>
                  <a:pt x="309" y="823"/>
                  <a:pt x="311" y="825"/>
                  <a:pt x="313" y="829"/>
                </a:cubicBezTo>
                <a:cubicBezTo>
                  <a:pt x="314" y="830"/>
                  <a:pt x="315" y="833"/>
                  <a:pt x="317" y="836"/>
                </a:cubicBezTo>
                <a:lnTo>
                  <a:pt x="317" y="833"/>
                </a:lnTo>
                <a:cubicBezTo>
                  <a:pt x="316" y="831"/>
                  <a:pt x="316" y="829"/>
                  <a:pt x="316" y="828"/>
                </a:cubicBezTo>
                <a:cubicBezTo>
                  <a:pt x="315" y="824"/>
                  <a:pt x="315" y="822"/>
                  <a:pt x="315" y="821"/>
                </a:cubicBezTo>
                <a:cubicBezTo>
                  <a:pt x="315" y="820"/>
                  <a:pt x="315" y="818"/>
                  <a:pt x="316" y="817"/>
                </a:cubicBezTo>
                <a:cubicBezTo>
                  <a:pt x="316" y="817"/>
                  <a:pt x="316" y="816"/>
                  <a:pt x="316" y="815"/>
                </a:cubicBezTo>
                <a:cubicBezTo>
                  <a:pt x="318" y="812"/>
                  <a:pt x="320" y="809"/>
                  <a:pt x="323" y="804"/>
                </a:cubicBezTo>
                <a:cubicBezTo>
                  <a:pt x="329" y="798"/>
                  <a:pt x="331" y="794"/>
                  <a:pt x="332" y="792"/>
                </a:cubicBezTo>
                <a:cubicBezTo>
                  <a:pt x="332" y="786"/>
                  <a:pt x="331" y="779"/>
                  <a:pt x="327" y="771"/>
                </a:cubicBezTo>
                <a:cubicBezTo>
                  <a:pt x="324" y="764"/>
                  <a:pt x="323" y="759"/>
                  <a:pt x="322" y="756"/>
                </a:cubicBezTo>
                <a:cubicBezTo>
                  <a:pt x="322" y="756"/>
                  <a:pt x="322" y="756"/>
                  <a:pt x="322" y="756"/>
                </a:cubicBezTo>
                <a:cubicBezTo>
                  <a:pt x="322" y="755"/>
                  <a:pt x="322" y="755"/>
                  <a:pt x="322" y="755"/>
                </a:cubicBezTo>
                <a:cubicBezTo>
                  <a:pt x="323" y="753"/>
                  <a:pt x="325" y="750"/>
                  <a:pt x="330" y="746"/>
                </a:cubicBezTo>
                <a:cubicBezTo>
                  <a:pt x="335" y="741"/>
                  <a:pt x="337" y="738"/>
                  <a:pt x="337" y="737"/>
                </a:cubicBezTo>
                <a:cubicBezTo>
                  <a:pt x="337" y="736"/>
                  <a:pt x="337" y="735"/>
                  <a:pt x="337" y="734"/>
                </a:cubicBezTo>
                <a:cubicBezTo>
                  <a:pt x="333" y="734"/>
                  <a:pt x="331" y="735"/>
                  <a:pt x="328" y="737"/>
                </a:cubicBezTo>
                <a:cubicBezTo>
                  <a:pt x="326" y="739"/>
                  <a:pt x="324" y="740"/>
                  <a:pt x="322" y="739"/>
                </a:cubicBezTo>
                <a:cubicBezTo>
                  <a:pt x="321" y="739"/>
                  <a:pt x="318" y="737"/>
                  <a:pt x="315" y="732"/>
                </a:cubicBezTo>
                <a:cubicBezTo>
                  <a:pt x="311" y="727"/>
                  <a:pt x="308" y="723"/>
                  <a:pt x="305" y="722"/>
                </a:cubicBezTo>
                <a:cubicBezTo>
                  <a:pt x="301" y="720"/>
                  <a:pt x="298" y="717"/>
                  <a:pt x="296" y="713"/>
                </a:cubicBezTo>
                <a:cubicBezTo>
                  <a:pt x="293" y="709"/>
                  <a:pt x="291" y="706"/>
                  <a:pt x="290" y="704"/>
                </a:cubicBezTo>
                <a:cubicBezTo>
                  <a:pt x="290" y="704"/>
                  <a:pt x="289" y="703"/>
                  <a:pt x="289" y="703"/>
                </a:cubicBezTo>
                <a:cubicBezTo>
                  <a:pt x="280" y="696"/>
                  <a:pt x="275" y="691"/>
                  <a:pt x="272" y="688"/>
                </a:cubicBezTo>
                <a:cubicBezTo>
                  <a:pt x="265" y="680"/>
                  <a:pt x="261" y="671"/>
                  <a:pt x="262" y="662"/>
                </a:cubicBezTo>
                <a:cubicBezTo>
                  <a:pt x="262" y="657"/>
                  <a:pt x="259" y="648"/>
                  <a:pt x="254" y="634"/>
                </a:cubicBezTo>
                <a:cubicBezTo>
                  <a:pt x="253" y="631"/>
                  <a:pt x="251" y="628"/>
                  <a:pt x="246" y="623"/>
                </a:cubicBezTo>
                <a:cubicBezTo>
                  <a:pt x="242" y="620"/>
                  <a:pt x="241" y="615"/>
                  <a:pt x="242" y="610"/>
                </a:cubicBezTo>
                <a:cubicBezTo>
                  <a:pt x="242" y="608"/>
                  <a:pt x="243" y="606"/>
                  <a:pt x="247" y="604"/>
                </a:cubicBezTo>
                <a:cubicBezTo>
                  <a:pt x="248" y="603"/>
                  <a:pt x="249" y="602"/>
                  <a:pt x="251" y="601"/>
                </a:cubicBezTo>
                <a:cubicBezTo>
                  <a:pt x="257" y="597"/>
                  <a:pt x="260" y="595"/>
                  <a:pt x="260" y="594"/>
                </a:cubicBezTo>
                <a:cubicBezTo>
                  <a:pt x="259" y="590"/>
                  <a:pt x="259" y="587"/>
                  <a:pt x="259" y="586"/>
                </a:cubicBezTo>
                <a:cubicBezTo>
                  <a:pt x="259" y="585"/>
                  <a:pt x="260" y="584"/>
                  <a:pt x="262" y="583"/>
                </a:cubicBezTo>
                <a:cubicBezTo>
                  <a:pt x="263" y="582"/>
                  <a:pt x="264" y="581"/>
                  <a:pt x="265" y="579"/>
                </a:cubicBezTo>
                <a:cubicBezTo>
                  <a:pt x="265" y="575"/>
                  <a:pt x="261" y="570"/>
                  <a:pt x="254" y="565"/>
                </a:cubicBezTo>
                <a:cubicBezTo>
                  <a:pt x="246" y="560"/>
                  <a:pt x="243" y="557"/>
                  <a:pt x="243" y="556"/>
                </a:cubicBezTo>
                <a:cubicBezTo>
                  <a:pt x="243" y="556"/>
                  <a:pt x="244" y="555"/>
                  <a:pt x="248" y="552"/>
                </a:cubicBezTo>
                <a:cubicBezTo>
                  <a:pt x="251" y="550"/>
                  <a:pt x="253" y="547"/>
                  <a:pt x="254" y="543"/>
                </a:cubicBezTo>
                <a:cubicBezTo>
                  <a:pt x="255" y="539"/>
                  <a:pt x="256" y="536"/>
                  <a:pt x="258" y="536"/>
                </a:cubicBezTo>
                <a:cubicBezTo>
                  <a:pt x="262" y="535"/>
                  <a:pt x="265" y="535"/>
                  <a:pt x="268" y="536"/>
                </a:cubicBezTo>
                <a:cubicBezTo>
                  <a:pt x="270" y="536"/>
                  <a:pt x="273" y="537"/>
                  <a:pt x="275" y="538"/>
                </a:cubicBezTo>
                <a:lnTo>
                  <a:pt x="276" y="538"/>
                </a:lnTo>
                <a:cubicBezTo>
                  <a:pt x="277" y="538"/>
                  <a:pt x="278" y="539"/>
                  <a:pt x="280" y="540"/>
                </a:cubicBezTo>
                <a:cubicBezTo>
                  <a:pt x="280" y="540"/>
                  <a:pt x="280" y="540"/>
                  <a:pt x="280" y="540"/>
                </a:cubicBezTo>
                <a:cubicBezTo>
                  <a:pt x="284" y="542"/>
                  <a:pt x="286" y="543"/>
                  <a:pt x="288" y="544"/>
                </a:cubicBezTo>
                <a:cubicBezTo>
                  <a:pt x="286" y="542"/>
                  <a:pt x="283" y="540"/>
                  <a:pt x="281" y="539"/>
                </a:cubicBezTo>
                <a:lnTo>
                  <a:pt x="281" y="539"/>
                </a:lnTo>
                <a:lnTo>
                  <a:pt x="281" y="539"/>
                </a:lnTo>
                <a:lnTo>
                  <a:pt x="280" y="539"/>
                </a:lnTo>
                <a:cubicBezTo>
                  <a:pt x="279" y="538"/>
                  <a:pt x="278" y="537"/>
                  <a:pt x="277" y="536"/>
                </a:cubicBezTo>
                <a:lnTo>
                  <a:pt x="276" y="536"/>
                </a:lnTo>
                <a:cubicBezTo>
                  <a:pt x="274" y="535"/>
                  <a:pt x="271" y="533"/>
                  <a:pt x="269" y="532"/>
                </a:cubicBezTo>
                <a:cubicBezTo>
                  <a:pt x="266" y="532"/>
                  <a:pt x="264" y="531"/>
                  <a:pt x="261" y="531"/>
                </a:cubicBezTo>
                <a:cubicBezTo>
                  <a:pt x="260" y="531"/>
                  <a:pt x="258" y="531"/>
                  <a:pt x="256" y="532"/>
                </a:cubicBezTo>
                <a:cubicBezTo>
                  <a:pt x="256" y="532"/>
                  <a:pt x="256" y="532"/>
                  <a:pt x="256" y="532"/>
                </a:cubicBezTo>
                <a:cubicBezTo>
                  <a:pt x="255" y="532"/>
                  <a:pt x="255" y="533"/>
                  <a:pt x="254" y="533"/>
                </a:cubicBezTo>
                <a:cubicBezTo>
                  <a:pt x="251" y="535"/>
                  <a:pt x="248" y="537"/>
                  <a:pt x="247" y="539"/>
                </a:cubicBezTo>
                <a:cubicBezTo>
                  <a:pt x="245" y="539"/>
                  <a:pt x="241" y="537"/>
                  <a:pt x="237" y="534"/>
                </a:cubicBezTo>
                <a:cubicBezTo>
                  <a:pt x="228" y="532"/>
                  <a:pt x="224" y="531"/>
                  <a:pt x="224" y="530"/>
                </a:cubicBezTo>
                <a:cubicBezTo>
                  <a:pt x="224" y="529"/>
                  <a:pt x="222" y="525"/>
                  <a:pt x="219" y="518"/>
                </a:cubicBezTo>
                <a:cubicBezTo>
                  <a:pt x="217" y="514"/>
                  <a:pt x="217" y="510"/>
                  <a:pt x="217" y="506"/>
                </a:cubicBezTo>
                <a:cubicBezTo>
                  <a:pt x="218" y="503"/>
                  <a:pt x="220" y="502"/>
                  <a:pt x="224" y="502"/>
                </a:cubicBezTo>
                <a:cubicBezTo>
                  <a:pt x="227" y="502"/>
                  <a:pt x="228" y="503"/>
                  <a:pt x="230" y="504"/>
                </a:cubicBezTo>
                <a:lnTo>
                  <a:pt x="235" y="505"/>
                </a:lnTo>
                <a:cubicBezTo>
                  <a:pt x="234" y="502"/>
                  <a:pt x="232" y="500"/>
                  <a:pt x="230" y="497"/>
                </a:cubicBezTo>
                <a:cubicBezTo>
                  <a:pt x="229" y="495"/>
                  <a:pt x="229" y="493"/>
                  <a:pt x="229" y="491"/>
                </a:cubicBezTo>
                <a:cubicBezTo>
                  <a:pt x="235" y="491"/>
                  <a:pt x="239" y="491"/>
                  <a:pt x="241" y="491"/>
                </a:cubicBezTo>
                <a:lnTo>
                  <a:pt x="241" y="490"/>
                </a:lnTo>
                <a:cubicBezTo>
                  <a:pt x="240" y="489"/>
                  <a:pt x="235" y="487"/>
                  <a:pt x="226" y="484"/>
                </a:cubicBezTo>
                <a:cubicBezTo>
                  <a:pt x="217" y="481"/>
                  <a:pt x="211" y="479"/>
                  <a:pt x="209" y="479"/>
                </a:cubicBezTo>
                <a:cubicBezTo>
                  <a:pt x="204" y="479"/>
                  <a:pt x="199" y="479"/>
                  <a:pt x="194" y="479"/>
                </a:cubicBezTo>
                <a:cubicBezTo>
                  <a:pt x="190" y="478"/>
                  <a:pt x="188" y="474"/>
                  <a:pt x="186" y="467"/>
                </a:cubicBezTo>
                <a:lnTo>
                  <a:pt x="192" y="467"/>
                </a:lnTo>
                <a:cubicBezTo>
                  <a:pt x="195" y="469"/>
                  <a:pt x="199" y="469"/>
                  <a:pt x="203" y="469"/>
                </a:cubicBezTo>
                <a:cubicBezTo>
                  <a:pt x="208" y="469"/>
                  <a:pt x="210" y="468"/>
                  <a:pt x="211" y="465"/>
                </a:cubicBezTo>
                <a:cubicBezTo>
                  <a:pt x="211" y="464"/>
                  <a:pt x="210" y="463"/>
                  <a:pt x="210" y="462"/>
                </a:cubicBezTo>
                <a:cubicBezTo>
                  <a:pt x="209" y="460"/>
                  <a:pt x="208" y="459"/>
                  <a:pt x="207" y="459"/>
                </a:cubicBezTo>
                <a:cubicBezTo>
                  <a:pt x="204" y="458"/>
                  <a:pt x="200" y="459"/>
                  <a:pt x="196" y="460"/>
                </a:cubicBezTo>
                <a:cubicBezTo>
                  <a:pt x="192" y="460"/>
                  <a:pt x="187" y="456"/>
                  <a:pt x="179" y="448"/>
                </a:cubicBezTo>
                <a:cubicBezTo>
                  <a:pt x="178" y="449"/>
                  <a:pt x="178" y="452"/>
                  <a:pt x="178" y="456"/>
                </a:cubicBezTo>
                <a:cubicBezTo>
                  <a:pt x="178" y="456"/>
                  <a:pt x="177" y="457"/>
                  <a:pt x="177" y="458"/>
                </a:cubicBezTo>
                <a:cubicBezTo>
                  <a:pt x="176" y="459"/>
                  <a:pt x="174" y="460"/>
                  <a:pt x="171" y="460"/>
                </a:cubicBezTo>
                <a:cubicBezTo>
                  <a:pt x="168" y="459"/>
                  <a:pt x="165" y="460"/>
                  <a:pt x="163" y="461"/>
                </a:cubicBezTo>
                <a:cubicBezTo>
                  <a:pt x="161" y="462"/>
                  <a:pt x="159" y="463"/>
                  <a:pt x="157" y="465"/>
                </a:cubicBezTo>
                <a:lnTo>
                  <a:pt x="156" y="464"/>
                </a:lnTo>
                <a:lnTo>
                  <a:pt x="157" y="458"/>
                </a:lnTo>
                <a:cubicBezTo>
                  <a:pt x="158" y="458"/>
                  <a:pt x="159" y="458"/>
                  <a:pt x="159" y="457"/>
                </a:cubicBezTo>
                <a:cubicBezTo>
                  <a:pt x="159" y="455"/>
                  <a:pt x="159" y="453"/>
                  <a:pt x="158" y="450"/>
                </a:cubicBezTo>
                <a:cubicBezTo>
                  <a:pt x="157" y="448"/>
                  <a:pt x="156" y="445"/>
                  <a:pt x="157" y="443"/>
                </a:cubicBezTo>
                <a:cubicBezTo>
                  <a:pt x="157" y="440"/>
                  <a:pt x="158" y="438"/>
                  <a:pt x="161" y="436"/>
                </a:cubicBezTo>
                <a:cubicBezTo>
                  <a:pt x="164" y="433"/>
                  <a:pt x="166" y="431"/>
                  <a:pt x="166" y="430"/>
                </a:cubicBezTo>
                <a:cubicBezTo>
                  <a:pt x="166" y="430"/>
                  <a:pt x="165" y="429"/>
                  <a:pt x="165" y="429"/>
                </a:cubicBezTo>
                <a:lnTo>
                  <a:pt x="164" y="428"/>
                </a:lnTo>
                <a:cubicBezTo>
                  <a:pt x="162" y="430"/>
                  <a:pt x="161" y="431"/>
                  <a:pt x="160" y="432"/>
                </a:cubicBezTo>
                <a:cubicBezTo>
                  <a:pt x="159" y="433"/>
                  <a:pt x="158" y="433"/>
                  <a:pt x="157" y="433"/>
                </a:cubicBezTo>
                <a:cubicBezTo>
                  <a:pt x="148" y="431"/>
                  <a:pt x="143" y="428"/>
                  <a:pt x="144" y="425"/>
                </a:cubicBezTo>
                <a:cubicBezTo>
                  <a:pt x="144" y="424"/>
                  <a:pt x="144" y="422"/>
                  <a:pt x="146" y="421"/>
                </a:cubicBezTo>
                <a:cubicBezTo>
                  <a:pt x="144" y="421"/>
                  <a:pt x="141" y="420"/>
                  <a:pt x="138" y="419"/>
                </a:cubicBezTo>
                <a:cubicBezTo>
                  <a:pt x="136" y="419"/>
                  <a:pt x="134" y="419"/>
                  <a:pt x="134" y="419"/>
                </a:cubicBezTo>
                <a:cubicBezTo>
                  <a:pt x="132" y="420"/>
                  <a:pt x="130" y="421"/>
                  <a:pt x="129" y="424"/>
                </a:cubicBezTo>
                <a:lnTo>
                  <a:pt x="128" y="423"/>
                </a:lnTo>
                <a:cubicBezTo>
                  <a:pt x="129" y="416"/>
                  <a:pt x="126" y="411"/>
                  <a:pt x="121" y="407"/>
                </a:cubicBezTo>
                <a:cubicBezTo>
                  <a:pt x="118" y="405"/>
                  <a:pt x="113" y="402"/>
                  <a:pt x="104" y="399"/>
                </a:cubicBezTo>
                <a:cubicBezTo>
                  <a:pt x="96" y="396"/>
                  <a:pt x="91" y="394"/>
                  <a:pt x="87" y="391"/>
                </a:cubicBezTo>
                <a:cubicBezTo>
                  <a:pt x="83" y="387"/>
                  <a:pt x="81" y="381"/>
                  <a:pt x="82" y="374"/>
                </a:cubicBezTo>
                <a:cubicBezTo>
                  <a:pt x="80" y="374"/>
                  <a:pt x="77" y="374"/>
                  <a:pt x="74" y="375"/>
                </a:cubicBezTo>
                <a:cubicBezTo>
                  <a:pt x="71" y="374"/>
                  <a:pt x="66" y="371"/>
                  <a:pt x="60" y="364"/>
                </a:cubicBezTo>
                <a:cubicBezTo>
                  <a:pt x="60" y="364"/>
                  <a:pt x="60" y="363"/>
                  <a:pt x="59" y="363"/>
                </a:cubicBezTo>
                <a:cubicBezTo>
                  <a:pt x="59" y="363"/>
                  <a:pt x="60" y="364"/>
                  <a:pt x="59" y="365"/>
                </a:cubicBezTo>
                <a:cubicBezTo>
                  <a:pt x="58" y="365"/>
                  <a:pt x="57" y="366"/>
                  <a:pt x="55" y="366"/>
                </a:cubicBezTo>
                <a:cubicBezTo>
                  <a:pt x="53" y="366"/>
                  <a:pt x="52" y="367"/>
                  <a:pt x="52" y="368"/>
                </a:cubicBezTo>
                <a:cubicBezTo>
                  <a:pt x="53" y="369"/>
                  <a:pt x="53" y="370"/>
                  <a:pt x="53" y="371"/>
                </a:cubicBezTo>
                <a:cubicBezTo>
                  <a:pt x="53" y="373"/>
                  <a:pt x="52" y="375"/>
                  <a:pt x="51" y="376"/>
                </a:cubicBezTo>
                <a:cubicBezTo>
                  <a:pt x="49" y="378"/>
                  <a:pt x="47" y="379"/>
                  <a:pt x="46" y="378"/>
                </a:cubicBezTo>
                <a:cubicBezTo>
                  <a:pt x="43" y="378"/>
                  <a:pt x="40" y="377"/>
                  <a:pt x="36" y="375"/>
                </a:cubicBezTo>
                <a:cubicBezTo>
                  <a:pt x="31" y="374"/>
                  <a:pt x="29" y="372"/>
                  <a:pt x="29" y="370"/>
                </a:cubicBezTo>
                <a:cubicBezTo>
                  <a:pt x="29" y="368"/>
                  <a:pt x="30" y="366"/>
                  <a:pt x="31" y="365"/>
                </a:cubicBezTo>
                <a:cubicBezTo>
                  <a:pt x="32" y="364"/>
                  <a:pt x="33" y="362"/>
                  <a:pt x="33" y="361"/>
                </a:cubicBezTo>
                <a:cubicBezTo>
                  <a:pt x="34" y="356"/>
                  <a:pt x="33" y="350"/>
                  <a:pt x="31" y="344"/>
                </a:cubicBezTo>
                <a:cubicBezTo>
                  <a:pt x="28" y="338"/>
                  <a:pt x="26" y="334"/>
                  <a:pt x="23" y="333"/>
                </a:cubicBezTo>
                <a:cubicBezTo>
                  <a:pt x="20" y="331"/>
                  <a:pt x="16" y="330"/>
                  <a:pt x="10" y="327"/>
                </a:cubicBezTo>
                <a:cubicBezTo>
                  <a:pt x="4" y="325"/>
                  <a:pt x="1" y="322"/>
                  <a:pt x="0" y="319"/>
                </a:cubicBezTo>
                <a:cubicBezTo>
                  <a:pt x="1" y="318"/>
                  <a:pt x="5" y="318"/>
                  <a:pt x="13" y="317"/>
                </a:cubicBezTo>
                <a:cubicBezTo>
                  <a:pt x="20" y="317"/>
                  <a:pt x="24" y="317"/>
                  <a:pt x="27" y="317"/>
                </a:cubicBezTo>
                <a:cubicBezTo>
                  <a:pt x="37" y="318"/>
                  <a:pt x="42" y="319"/>
                  <a:pt x="42" y="319"/>
                </a:cubicBezTo>
                <a:cubicBezTo>
                  <a:pt x="49" y="319"/>
                  <a:pt x="53" y="317"/>
                  <a:pt x="53" y="314"/>
                </a:cubicBezTo>
                <a:cubicBezTo>
                  <a:pt x="54" y="308"/>
                  <a:pt x="50" y="302"/>
                  <a:pt x="40" y="297"/>
                </a:cubicBezTo>
                <a:cubicBezTo>
                  <a:pt x="39" y="302"/>
                  <a:pt x="37" y="304"/>
                  <a:pt x="34" y="303"/>
                </a:cubicBezTo>
                <a:cubicBezTo>
                  <a:pt x="31" y="303"/>
                  <a:pt x="29" y="301"/>
                  <a:pt x="27" y="296"/>
                </a:cubicBezTo>
                <a:cubicBezTo>
                  <a:pt x="25" y="292"/>
                  <a:pt x="24" y="288"/>
                  <a:pt x="24" y="284"/>
                </a:cubicBezTo>
                <a:cubicBezTo>
                  <a:pt x="25" y="280"/>
                  <a:pt x="26" y="278"/>
                  <a:pt x="29" y="278"/>
                </a:cubicBezTo>
                <a:cubicBezTo>
                  <a:pt x="40" y="283"/>
                  <a:pt x="49" y="287"/>
                  <a:pt x="58" y="289"/>
                </a:cubicBezTo>
                <a:cubicBezTo>
                  <a:pt x="62" y="291"/>
                  <a:pt x="65" y="292"/>
                  <a:pt x="69" y="293"/>
                </a:cubicBezTo>
                <a:cubicBezTo>
                  <a:pt x="67" y="290"/>
                  <a:pt x="64" y="287"/>
                  <a:pt x="59" y="285"/>
                </a:cubicBezTo>
                <a:cubicBezTo>
                  <a:pt x="53" y="282"/>
                  <a:pt x="50" y="279"/>
                  <a:pt x="49" y="277"/>
                </a:cubicBezTo>
                <a:cubicBezTo>
                  <a:pt x="56" y="275"/>
                  <a:pt x="62" y="272"/>
                  <a:pt x="66" y="269"/>
                </a:cubicBezTo>
                <a:cubicBezTo>
                  <a:pt x="62" y="269"/>
                  <a:pt x="56" y="270"/>
                  <a:pt x="48" y="272"/>
                </a:cubicBezTo>
                <a:cubicBezTo>
                  <a:pt x="41" y="273"/>
                  <a:pt x="35" y="273"/>
                  <a:pt x="31" y="273"/>
                </a:cubicBezTo>
                <a:cubicBezTo>
                  <a:pt x="31" y="272"/>
                  <a:pt x="30" y="272"/>
                  <a:pt x="29" y="272"/>
                </a:cubicBezTo>
                <a:cubicBezTo>
                  <a:pt x="24" y="272"/>
                  <a:pt x="17" y="270"/>
                  <a:pt x="9" y="268"/>
                </a:cubicBezTo>
                <a:lnTo>
                  <a:pt x="10" y="251"/>
                </a:lnTo>
                <a:cubicBezTo>
                  <a:pt x="12" y="249"/>
                  <a:pt x="15" y="245"/>
                  <a:pt x="18" y="239"/>
                </a:cubicBezTo>
                <a:cubicBezTo>
                  <a:pt x="21" y="234"/>
                  <a:pt x="24" y="231"/>
                  <a:pt x="30" y="230"/>
                </a:cubicBezTo>
                <a:cubicBezTo>
                  <a:pt x="45" y="227"/>
                  <a:pt x="56" y="225"/>
                  <a:pt x="61" y="224"/>
                </a:cubicBezTo>
                <a:lnTo>
                  <a:pt x="63" y="224"/>
                </a:lnTo>
                <a:cubicBezTo>
                  <a:pt x="65" y="225"/>
                  <a:pt x="67" y="225"/>
                  <a:pt x="70" y="226"/>
                </a:cubicBezTo>
                <a:cubicBezTo>
                  <a:pt x="71" y="226"/>
                  <a:pt x="71" y="227"/>
                  <a:pt x="72" y="227"/>
                </a:cubicBezTo>
                <a:cubicBezTo>
                  <a:pt x="76" y="229"/>
                  <a:pt x="79" y="229"/>
                  <a:pt x="81" y="230"/>
                </a:cubicBezTo>
                <a:cubicBezTo>
                  <a:pt x="101" y="227"/>
                  <a:pt x="112" y="226"/>
                  <a:pt x="113" y="226"/>
                </a:cubicBezTo>
                <a:cubicBezTo>
                  <a:pt x="113" y="226"/>
                  <a:pt x="114" y="228"/>
                  <a:pt x="116" y="234"/>
                </a:cubicBezTo>
                <a:cubicBezTo>
                  <a:pt x="118" y="239"/>
                  <a:pt x="120" y="243"/>
                  <a:pt x="124" y="244"/>
                </a:cubicBezTo>
                <a:cubicBezTo>
                  <a:pt x="123" y="242"/>
                  <a:pt x="124" y="240"/>
                  <a:pt x="127" y="238"/>
                </a:cubicBezTo>
                <a:cubicBezTo>
                  <a:pt x="130" y="237"/>
                  <a:pt x="132" y="237"/>
                  <a:pt x="134" y="237"/>
                </a:cubicBezTo>
                <a:cubicBezTo>
                  <a:pt x="136" y="237"/>
                  <a:pt x="141" y="239"/>
                  <a:pt x="147" y="243"/>
                </a:cubicBezTo>
                <a:cubicBezTo>
                  <a:pt x="153" y="247"/>
                  <a:pt x="158" y="250"/>
                  <a:pt x="161" y="252"/>
                </a:cubicBezTo>
                <a:lnTo>
                  <a:pt x="162" y="251"/>
                </a:lnTo>
                <a:cubicBezTo>
                  <a:pt x="164" y="244"/>
                  <a:pt x="165" y="239"/>
                  <a:pt x="166" y="236"/>
                </a:cubicBezTo>
                <a:cubicBezTo>
                  <a:pt x="169" y="230"/>
                  <a:pt x="172" y="227"/>
                  <a:pt x="175" y="227"/>
                </a:cubicBezTo>
                <a:cubicBezTo>
                  <a:pt x="182" y="231"/>
                  <a:pt x="187" y="233"/>
                  <a:pt x="189" y="234"/>
                </a:cubicBezTo>
                <a:cubicBezTo>
                  <a:pt x="194" y="232"/>
                  <a:pt x="197" y="232"/>
                  <a:pt x="199" y="232"/>
                </a:cubicBezTo>
                <a:cubicBezTo>
                  <a:pt x="202" y="232"/>
                  <a:pt x="203" y="234"/>
                  <a:pt x="204" y="238"/>
                </a:cubicBezTo>
                <a:cubicBezTo>
                  <a:pt x="212" y="236"/>
                  <a:pt x="218" y="235"/>
                  <a:pt x="222" y="233"/>
                </a:cubicBezTo>
                <a:cubicBezTo>
                  <a:pt x="222" y="234"/>
                  <a:pt x="222" y="234"/>
                  <a:pt x="223" y="234"/>
                </a:cubicBezTo>
                <a:lnTo>
                  <a:pt x="222" y="241"/>
                </a:lnTo>
                <a:cubicBezTo>
                  <a:pt x="220" y="242"/>
                  <a:pt x="219" y="245"/>
                  <a:pt x="218" y="248"/>
                </a:cubicBezTo>
                <a:cubicBezTo>
                  <a:pt x="225" y="247"/>
                  <a:pt x="230" y="250"/>
                  <a:pt x="234" y="257"/>
                </a:cubicBezTo>
                <a:cubicBezTo>
                  <a:pt x="235" y="259"/>
                  <a:pt x="236" y="262"/>
                  <a:pt x="237" y="265"/>
                </a:cubicBezTo>
                <a:cubicBezTo>
                  <a:pt x="239" y="269"/>
                  <a:pt x="241" y="272"/>
                  <a:pt x="242" y="273"/>
                </a:cubicBezTo>
                <a:cubicBezTo>
                  <a:pt x="244" y="275"/>
                  <a:pt x="245" y="278"/>
                  <a:pt x="245" y="283"/>
                </a:cubicBezTo>
                <a:cubicBezTo>
                  <a:pt x="245" y="288"/>
                  <a:pt x="245" y="291"/>
                  <a:pt x="245" y="291"/>
                </a:cubicBezTo>
                <a:cubicBezTo>
                  <a:pt x="247" y="294"/>
                  <a:pt x="249" y="296"/>
                  <a:pt x="252" y="298"/>
                </a:cubicBezTo>
                <a:cubicBezTo>
                  <a:pt x="253" y="300"/>
                  <a:pt x="254" y="303"/>
                  <a:pt x="256" y="306"/>
                </a:cubicBezTo>
                <a:cubicBezTo>
                  <a:pt x="267" y="299"/>
                  <a:pt x="273" y="295"/>
                  <a:pt x="275" y="294"/>
                </a:cubicBezTo>
                <a:cubicBezTo>
                  <a:pt x="285" y="289"/>
                  <a:pt x="294" y="287"/>
                  <a:pt x="301" y="288"/>
                </a:cubicBezTo>
                <a:cubicBezTo>
                  <a:pt x="302" y="288"/>
                  <a:pt x="303" y="288"/>
                  <a:pt x="304" y="289"/>
                </a:cubicBezTo>
                <a:cubicBezTo>
                  <a:pt x="301" y="293"/>
                  <a:pt x="302" y="296"/>
                  <a:pt x="305" y="300"/>
                </a:cubicBezTo>
                <a:cubicBezTo>
                  <a:pt x="307" y="303"/>
                  <a:pt x="311" y="304"/>
                  <a:pt x="315" y="305"/>
                </a:cubicBezTo>
                <a:cubicBezTo>
                  <a:pt x="323" y="304"/>
                  <a:pt x="327" y="304"/>
                  <a:pt x="329" y="304"/>
                </a:cubicBezTo>
                <a:cubicBezTo>
                  <a:pt x="330" y="305"/>
                  <a:pt x="332" y="306"/>
                  <a:pt x="332" y="308"/>
                </a:cubicBezTo>
                <a:cubicBezTo>
                  <a:pt x="333" y="310"/>
                  <a:pt x="333" y="312"/>
                  <a:pt x="334" y="314"/>
                </a:cubicBezTo>
                <a:lnTo>
                  <a:pt x="334" y="314"/>
                </a:lnTo>
                <a:lnTo>
                  <a:pt x="333" y="315"/>
                </a:lnTo>
                <a:cubicBezTo>
                  <a:pt x="334" y="320"/>
                  <a:pt x="334" y="323"/>
                  <a:pt x="335" y="325"/>
                </a:cubicBezTo>
                <a:cubicBezTo>
                  <a:pt x="335" y="325"/>
                  <a:pt x="335" y="325"/>
                  <a:pt x="335" y="325"/>
                </a:cubicBezTo>
                <a:lnTo>
                  <a:pt x="335" y="324"/>
                </a:lnTo>
                <a:cubicBezTo>
                  <a:pt x="334" y="321"/>
                  <a:pt x="335" y="317"/>
                  <a:pt x="335" y="314"/>
                </a:cubicBezTo>
                <a:lnTo>
                  <a:pt x="335" y="314"/>
                </a:lnTo>
                <a:cubicBezTo>
                  <a:pt x="335" y="312"/>
                  <a:pt x="336" y="309"/>
                  <a:pt x="337" y="307"/>
                </a:cubicBezTo>
                <a:cubicBezTo>
                  <a:pt x="340" y="302"/>
                  <a:pt x="344" y="300"/>
                  <a:pt x="350" y="300"/>
                </a:cubicBezTo>
                <a:cubicBezTo>
                  <a:pt x="352" y="300"/>
                  <a:pt x="354" y="301"/>
                  <a:pt x="354" y="304"/>
                </a:cubicBezTo>
                <a:cubicBezTo>
                  <a:pt x="355" y="305"/>
                  <a:pt x="355" y="307"/>
                  <a:pt x="354" y="310"/>
                </a:cubicBezTo>
                <a:cubicBezTo>
                  <a:pt x="354" y="316"/>
                  <a:pt x="360" y="320"/>
                  <a:pt x="372" y="321"/>
                </a:cubicBezTo>
                <a:cubicBezTo>
                  <a:pt x="374" y="321"/>
                  <a:pt x="377" y="321"/>
                  <a:pt x="381" y="320"/>
                </a:cubicBezTo>
                <a:cubicBezTo>
                  <a:pt x="384" y="320"/>
                  <a:pt x="387" y="320"/>
                  <a:pt x="389" y="320"/>
                </a:cubicBezTo>
                <a:cubicBezTo>
                  <a:pt x="393" y="320"/>
                  <a:pt x="399" y="322"/>
                  <a:pt x="408" y="325"/>
                </a:cubicBezTo>
                <a:cubicBezTo>
                  <a:pt x="404" y="319"/>
                  <a:pt x="400" y="315"/>
                  <a:pt x="398" y="311"/>
                </a:cubicBezTo>
                <a:cubicBezTo>
                  <a:pt x="394" y="305"/>
                  <a:pt x="392" y="299"/>
                  <a:pt x="393" y="293"/>
                </a:cubicBezTo>
                <a:cubicBezTo>
                  <a:pt x="393" y="291"/>
                  <a:pt x="395" y="284"/>
                  <a:pt x="399" y="273"/>
                </a:cubicBezTo>
                <a:cubicBezTo>
                  <a:pt x="403" y="262"/>
                  <a:pt x="405" y="256"/>
                  <a:pt x="405" y="256"/>
                </a:cubicBezTo>
                <a:cubicBezTo>
                  <a:pt x="405" y="254"/>
                  <a:pt x="404" y="252"/>
                  <a:pt x="403" y="249"/>
                </a:cubicBezTo>
                <a:cubicBezTo>
                  <a:pt x="402" y="247"/>
                  <a:pt x="401" y="245"/>
                  <a:pt x="401" y="244"/>
                </a:cubicBezTo>
                <a:cubicBezTo>
                  <a:pt x="406" y="233"/>
                  <a:pt x="408" y="227"/>
                  <a:pt x="408" y="225"/>
                </a:cubicBezTo>
                <a:cubicBezTo>
                  <a:pt x="405" y="216"/>
                  <a:pt x="403" y="210"/>
                  <a:pt x="404" y="207"/>
                </a:cubicBezTo>
                <a:cubicBezTo>
                  <a:pt x="404" y="200"/>
                  <a:pt x="402" y="195"/>
                  <a:pt x="400" y="192"/>
                </a:cubicBezTo>
                <a:cubicBezTo>
                  <a:pt x="394" y="187"/>
                  <a:pt x="391" y="175"/>
                  <a:pt x="392" y="156"/>
                </a:cubicBezTo>
                <a:cubicBezTo>
                  <a:pt x="392" y="153"/>
                  <a:pt x="394" y="151"/>
                  <a:pt x="397" y="149"/>
                </a:cubicBezTo>
                <a:cubicBezTo>
                  <a:pt x="399" y="147"/>
                  <a:pt x="401" y="145"/>
                  <a:pt x="401" y="143"/>
                </a:cubicBezTo>
                <a:cubicBezTo>
                  <a:pt x="401" y="143"/>
                  <a:pt x="399" y="140"/>
                  <a:pt x="396" y="136"/>
                </a:cubicBezTo>
                <a:cubicBezTo>
                  <a:pt x="393" y="132"/>
                  <a:pt x="391" y="129"/>
                  <a:pt x="392" y="127"/>
                </a:cubicBezTo>
                <a:cubicBezTo>
                  <a:pt x="392" y="126"/>
                  <a:pt x="393" y="125"/>
                  <a:pt x="393" y="125"/>
                </a:cubicBezTo>
                <a:cubicBezTo>
                  <a:pt x="401" y="128"/>
                  <a:pt x="415" y="135"/>
                  <a:pt x="435" y="144"/>
                </a:cubicBezTo>
                <a:cubicBezTo>
                  <a:pt x="438" y="144"/>
                  <a:pt x="441" y="143"/>
                  <a:pt x="444" y="141"/>
                </a:cubicBezTo>
                <a:cubicBezTo>
                  <a:pt x="447" y="140"/>
                  <a:pt x="450" y="139"/>
                  <a:pt x="455" y="139"/>
                </a:cubicBezTo>
                <a:cubicBezTo>
                  <a:pt x="466" y="140"/>
                  <a:pt x="471" y="147"/>
                  <a:pt x="469" y="159"/>
                </a:cubicBezTo>
                <a:cubicBezTo>
                  <a:pt x="469" y="160"/>
                  <a:pt x="467" y="161"/>
                  <a:pt x="464" y="163"/>
                </a:cubicBezTo>
                <a:cubicBezTo>
                  <a:pt x="460" y="166"/>
                  <a:pt x="458" y="167"/>
                  <a:pt x="458" y="167"/>
                </a:cubicBezTo>
                <a:cubicBezTo>
                  <a:pt x="458" y="171"/>
                  <a:pt x="459" y="175"/>
                  <a:pt x="461" y="180"/>
                </a:cubicBezTo>
                <a:cubicBezTo>
                  <a:pt x="462" y="184"/>
                  <a:pt x="464" y="187"/>
                  <a:pt x="465" y="188"/>
                </a:cubicBezTo>
                <a:cubicBezTo>
                  <a:pt x="465" y="189"/>
                  <a:pt x="465" y="189"/>
                  <a:pt x="465" y="189"/>
                </a:cubicBezTo>
                <a:cubicBezTo>
                  <a:pt x="465" y="189"/>
                  <a:pt x="466" y="190"/>
                  <a:pt x="465" y="190"/>
                </a:cubicBezTo>
                <a:cubicBezTo>
                  <a:pt x="467" y="192"/>
                  <a:pt x="468" y="194"/>
                  <a:pt x="467" y="196"/>
                </a:cubicBezTo>
                <a:cubicBezTo>
                  <a:pt x="467" y="198"/>
                  <a:pt x="466" y="200"/>
                  <a:pt x="465" y="201"/>
                </a:cubicBezTo>
                <a:cubicBezTo>
                  <a:pt x="464" y="202"/>
                  <a:pt x="463" y="203"/>
                  <a:pt x="463" y="204"/>
                </a:cubicBezTo>
                <a:cubicBezTo>
                  <a:pt x="463" y="205"/>
                  <a:pt x="463" y="206"/>
                  <a:pt x="464" y="207"/>
                </a:cubicBezTo>
                <a:cubicBezTo>
                  <a:pt x="466" y="209"/>
                  <a:pt x="467" y="210"/>
                  <a:pt x="468" y="210"/>
                </a:cubicBezTo>
                <a:cubicBezTo>
                  <a:pt x="470" y="210"/>
                  <a:pt x="471" y="209"/>
                  <a:pt x="472" y="207"/>
                </a:cubicBezTo>
                <a:cubicBezTo>
                  <a:pt x="473" y="205"/>
                  <a:pt x="477" y="204"/>
                  <a:pt x="483" y="205"/>
                </a:cubicBezTo>
                <a:cubicBezTo>
                  <a:pt x="489" y="206"/>
                  <a:pt x="492" y="207"/>
                  <a:pt x="494" y="208"/>
                </a:cubicBezTo>
                <a:cubicBezTo>
                  <a:pt x="496" y="212"/>
                  <a:pt x="500" y="215"/>
                  <a:pt x="505" y="217"/>
                </a:cubicBezTo>
                <a:cubicBezTo>
                  <a:pt x="516" y="223"/>
                  <a:pt x="524" y="226"/>
                  <a:pt x="531" y="227"/>
                </a:cubicBezTo>
                <a:cubicBezTo>
                  <a:pt x="543" y="229"/>
                  <a:pt x="552" y="233"/>
                  <a:pt x="557" y="238"/>
                </a:cubicBezTo>
                <a:cubicBezTo>
                  <a:pt x="560" y="241"/>
                  <a:pt x="562" y="243"/>
                  <a:pt x="564" y="244"/>
                </a:cubicBezTo>
                <a:cubicBezTo>
                  <a:pt x="567" y="245"/>
                  <a:pt x="572" y="247"/>
                  <a:pt x="578" y="247"/>
                </a:cubicBezTo>
                <a:cubicBezTo>
                  <a:pt x="585" y="248"/>
                  <a:pt x="591" y="247"/>
                  <a:pt x="596" y="245"/>
                </a:cubicBezTo>
                <a:cubicBezTo>
                  <a:pt x="603" y="241"/>
                  <a:pt x="609" y="239"/>
                  <a:pt x="614" y="237"/>
                </a:cubicBezTo>
                <a:cubicBezTo>
                  <a:pt x="616" y="236"/>
                  <a:pt x="618" y="235"/>
                  <a:pt x="621" y="235"/>
                </a:cubicBezTo>
                <a:cubicBezTo>
                  <a:pt x="624" y="235"/>
                  <a:pt x="628" y="235"/>
                  <a:pt x="633" y="235"/>
                </a:cubicBezTo>
                <a:cubicBezTo>
                  <a:pt x="639" y="236"/>
                  <a:pt x="644" y="236"/>
                  <a:pt x="648" y="234"/>
                </a:cubicBezTo>
                <a:lnTo>
                  <a:pt x="648" y="234"/>
                </a:lnTo>
                <a:cubicBezTo>
                  <a:pt x="648" y="234"/>
                  <a:pt x="648" y="234"/>
                  <a:pt x="649" y="234"/>
                </a:cubicBezTo>
                <a:cubicBezTo>
                  <a:pt x="649" y="234"/>
                  <a:pt x="650" y="233"/>
                  <a:pt x="651" y="233"/>
                </a:cubicBezTo>
                <a:lnTo>
                  <a:pt x="648" y="232"/>
                </a:lnTo>
                <a:cubicBezTo>
                  <a:pt x="644" y="233"/>
                  <a:pt x="639" y="233"/>
                  <a:pt x="633" y="232"/>
                </a:cubicBezTo>
                <a:cubicBezTo>
                  <a:pt x="633" y="232"/>
                  <a:pt x="632" y="232"/>
                  <a:pt x="632" y="232"/>
                </a:cubicBezTo>
                <a:cubicBezTo>
                  <a:pt x="629" y="232"/>
                  <a:pt x="626" y="230"/>
                  <a:pt x="622" y="227"/>
                </a:cubicBezTo>
                <a:cubicBezTo>
                  <a:pt x="621" y="226"/>
                  <a:pt x="620" y="225"/>
                  <a:pt x="620" y="224"/>
                </a:cubicBezTo>
                <a:cubicBezTo>
                  <a:pt x="614" y="219"/>
                  <a:pt x="611" y="215"/>
                  <a:pt x="612" y="211"/>
                </a:cubicBezTo>
                <a:cubicBezTo>
                  <a:pt x="612" y="210"/>
                  <a:pt x="615" y="206"/>
                  <a:pt x="620" y="198"/>
                </a:cubicBezTo>
                <a:cubicBezTo>
                  <a:pt x="625" y="191"/>
                  <a:pt x="629" y="186"/>
                  <a:pt x="630" y="185"/>
                </a:cubicBezTo>
                <a:cubicBezTo>
                  <a:pt x="633" y="183"/>
                  <a:pt x="637" y="181"/>
                  <a:pt x="644" y="179"/>
                </a:cubicBezTo>
                <a:cubicBezTo>
                  <a:pt x="647" y="178"/>
                  <a:pt x="652" y="177"/>
                  <a:pt x="658" y="175"/>
                </a:cubicBezTo>
                <a:cubicBezTo>
                  <a:pt x="668" y="171"/>
                  <a:pt x="680" y="169"/>
                  <a:pt x="694" y="169"/>
                </a:cubicBezTo>
                <a:cubicBezTo>
                  <a:pt x="716" y="167"/>
                  <a:pt x="728" y="167"/>
                  <a:pt x="729" y="167"/>
                </a:cubicBezTo>
                <a:lnTo>
                  <a:pt x="731" y="167"/>
                </a:lnTo>
                <a:cubicBezTo>
                  <a:pt x="731" y="168"/>
                  <a:pt x="731" y="168"/>
                  <a:pt x="732" y="168"/>
                </a:cubicBezTo>
                <a:cubicBezTo>
                  <a:pt x="735" y="167"/>
                  <a:pt x="740" y="166"/>
                  <a:pt x="750" y="165"/>
                </a:cubicBezTo>
                <a:cubicBezTo>
                  <a:pt x="751" y="165"/>
                  <a:pt x="754" y="164"/>
                  <a:pt x="757" y="161"/>
                </a:cubicBezTo>
                <a:cubicBezTo>
                  <a:pt x="760" y="159"/>
                  <a:pt x="763" y="158"/>
                  <a:pt x="765" y="157"/>
                </a:cubicBezTo>
                <a:cubicBezTo>
                  <a:pt x="767" y="156"/>
                  <a:pt x="770" y="155"/>
                  <a:pt x="774" y="154"/>
                </a:cubicBezTo>
                <a:cubicBezTo>
                  <a:pt x="778" y="153"/>
                  <a:pt x="781" y="152"/>
                  <a:pt x="783" y="150"/>
                </a:cubicBezTo>
                <a:cubicBezTo>
                  <a:pt x="790" y="145"/>
                  <a:pt x="794" y="141"/>
                  <a:pt x="795" y="137"/>
                </a:cubicBezTo>
                <a:cubicBezTo>
                  <a:pt x="795" y="132"/>
                  <a:pt x="797" y="129"/>
                  <a:pt x="801" y="130"/>
                </a:cubicBezTo>
                <a:cubicBezTo>
                  <a:pt x="803" y="130"/>
                  <a:pt x="807" y="132"/>
                  <a:pt x="812" y="135"/>
                </a:cubicBezTo>
                <a:lnTo>
                  <a:pt x="812" y="135"/>
                </a:lnTo>
                <a:lnTo>
                  <a:pt x="812" y="135"/>
                </a:lnTo>
                <a:cubicBezTo>
                  <a:pt x="812" y="134"/>
                  <a:pt x="810" y="132"/>
                  <a:pt x="807" y="127"/>
                </a:cubicBezTo>
                <a:cubicBezTo>
                  <a:pt x="805" y="124"/>
                  <a:pt x="804" y="121"/>
                  <a:pt x="804" y="119"/>
                </a:cubicBezTo>
                <a:cubicBezTo>
                  <a:pt x="805" y="113"/>
                  <a:pt x="806" y="109"/>
                  <a:pt x="807" y="107"/>
                </a:cubicBezTo>
                <a:cubicBezTo>
                  <a:pt x="807" y="105"/>
                  <a:pt x="809" y="103"/>
                  <a:pt x="811" y="104"/>
                </a:cubicBezTo>
                <a:cubicBezTo>
                  <a:pt x="813" y="104"/>
                  <a:pt x="814" y="103"/>
                  <a:pt x="815" y="101"/>
                </a:cubicBezTo>
                <a:cubicBezTo>
                  <a:pt x="815" y="100"/>
                  <a:pt x="814" y="99"/>
                  <a:pt x="812" y="97"/>
                </a:cubicBezTo>
                <a:cubicBezTo>
                  <a:pt x="811" y="96"/>
                  <a:pt x="810" y="94"/>
                  <a:pt x="810" y="93"/>
                </a:cubicBezTo>
                <a:cubicBezTo>
                  <a:pt x="811" y="90"/>
                  <a:pt x="812" y="86"/>
                  <a:pt x="815" y="82"/>
                </a:cubicBezTo>
                <a:cubicBezTo>
                  <a:pt x="818" y="77"/>
                  <a:pt x="819" y="73"/>
                  <a:pt x="820" y="68"/>
                </a:cubicBezTo>
                <a:cubicBezTo>
                  <a:pt x="820" y="53"/>
                  <a:pt x="820" y="45"/>
                  <a:pt x="820" y="45"/>
                </a:cubicBezTo>
                <a:cubicBezTo>
                  <a:pt x="821" y="44"/>
                  <a:pt x="821" y="42"/>
                  <a:pt x="823" y="40"/>
                </a:cubicBezTo>
                <a:cubicBezTo>
                  <a:pt x="825" y="38"/>
                  <a:pt x="826" y="37"/>
                  <a:pt x="826" y="36"/>
                </a:cubicBezTo>
                <a:cubicBezTo>
                  <a:pt x="829" y="29"/>
                  <a:pt x="831" y="25"/>
                  <a:pt x="831" y="25"/>
                </a:cubicBezTo>
                <a:cubicBezTo>
                  <a:pt x="830" y="21"/>
                  <a:pt x="830" y="19"/>
                  <a:pt x="830" y="18"/>
                </a:cubicBezTo>
                <a:cubicBezTo>
                  <a:pt x="830" y="15"/>
                  <a:pt x="838" y="11"/>
                  <a:pt x="853" y="5"/>
                </a:cubicBezTo>
                <a:cubicBezTo>
                  <a:pt x="857" y="4"/>
                  <a:pt x="867" y="3"/>
                  <a:pt x="882" y="3"/>
                </a:cubicBezTo>
                <a:cubicBezTo>
                  <a:pt x="884" y="3"/>
                  <a:pt x="893" y="3"/>
                  <a:pt x="908" y="2"/>
                </a:cubicBezTo>
                <a:cubicBezTo>
                  <a:pt x="921" y="2"/>
                  <a:pt x="930" y="2"/>
                  <a:pt x="936" y="2"/>
                </a:cubicBezTo>
                <a:cubicBezTo>
                  <a:pt x="936" y="2"/>
                  <a:pt x="937" y="2"/>
                  <a:pt x="937" y="2"/>
                </a:cubicBezTo>
                <a:cubicBezTo>
                  <a:pt x="937" y="2"/>
                  <a:pt x="937" y="2"/>
                  <a:pt x="938" y="2"/>
                </a:cubicBezTo>
                <a:cubicBezTo>
                  <a:pt x="938" y="2"/>
                  <a:pt x="938" y="2"/>
                  <a:pt x="938" y="2"/>
                </a:cubicBezTo>
                <a:lnTo>
                  <a:pt x="938" y="2"/>
                </a:lnTo>
                <a:cubicBezTo>
                  <a:pt x="939" y="2"/>
                  <a:pt x="942" y="1"/>
                  <a:pt x="944" y="0"/>
                </a:cubicBezTo>
                <a:cubicBezTo>
                  <a:pt x="945" y="3"/>
                  <a:pt x="945" y="8"/>
                  <a:pt x="945" y="15"/>
                </a:cubicBezTo>
                <a:cubicBezTo>
                  <a:pt x="946" y="21"/>
                  <a:pt x="948" y="25"/>
                  <a:pt x="953" y="26"/>
                </a:cubicBezTo>
                <a:cubicBezTo>
                  <a:pt x="952" y="28"/>
                  <a:pt x="951" y="30"/>
                  <a:pt x="951" y="31"/>
                </a:cubicBezTo>
                <a:cubicBezTo>
                  <a:pt x="951" y="32"/>
                  <a:pt x="951" y="34"/>
                  <a:pt x="953" y="37"/>
                </a:cubicBezTo>
                <a:cubicBezTo>
                  <a:pt x="955" y="40"/>
                  <a:pt x="955" y="45"/>
                  <a:pt x="954" y="50"/>
                </a:cubicBezTo>
                <a:cubicBezTo>
                  <a:pt x="954" y="53"/>
                  <a:pt x="956" y="55"/>
                  <a:pt x="960" y="57"/>
                </a:cubicBezTo>
                <a:cubicBezTo>
                  <a:pt x="965" y="59"/>
                  <a:pt x="969" y="61"/>
                  <a:pt x="970" y="63"/>
                </a:cubicBezTo>
                <a:cubicBezTo>
                  <a:pt x="970" y="64"/>
                  <a:pt x="971" y="68"/>
                  <a:pt x="972" y="74"/>
                </a:cubicBezTo>
                <a:cubicBezTo>
                  <a:pt x="973" y="80"/>
                  <a:pt x="975" y="84"/>
                  <a:pt x="977" y="84"/>
                </a:cubicBezTo>
                <a:cubicBezTo>
                  <a:pt x="977" y="84"/>
                  <a:pt x="985" y="82"/>
                  <a:pt x="1002" y="79"/>
                </a:cubicBezTo>
                <a:cubicBezTo>
                  <a:pt x="1007" y="80"/>
                  <a:pt x="1010" y="81"/>
                  <a:pt x="1011" y="85"/>
                </a:cubicBezTo>
                <a:cubicBezTo>
                  <a:pt x="1011" y="86"/>
                  <a:pt x="1011" y="90"/>
                  <a:pt x="1010" y="97"/>
                </a:cubicBezTo>
                <a:cubicBezTo>
                  <a:pt x="1009" y="104"/>
                  <a:pt x="1011" y="111"/>
                  <a:pt x="1014" y="116"/>
                </a:cubicBezTo>
                <a:cubicBezTo>
                  <a:pt x="1018" y="122"/>
                  <a:pt x="1024" y="124"/>
                  <a:pt x="1031" y="122"/>
                </a:cubicBezTo>
                <a:cubicBezTo>
                  <a:pt x="1034" y="121"/>
                  <a:pt x="1040" y="124"/>
                  <a:pt x="1047" y="129"/>
                </a:cubicBezTo>
                <a:cubicBezTo>
                  <a:pt x="1049" y="131"/>
                  <a:pt x="1050" y="134"/>
                  <a:pt x="1049" y="139"/>
                </a:cubicBezTo>
                <a:cubicBezTo>
                  <a:pt x="1048" y="141"/>
                  <a:pt x="1048" y="144"/>
                  <a:pt x="1046" y="148"/>
                </a:cubicBezTo>
                <a:cubicBezTo>
                  <a:pt x="1046" y="151"/>
                  <a:pt x="1046" y="154"/>
                  <a:pt x="1047" y="158"/>
                </a:cubicBezTo>
                <a:cubicBezTo>
                  <a:pt x="1049" y="158"/>
                  <a:pt x="1051" y="158"/>
                  <a:pt x="1054" y="157"/>
                </a:cubicBezTo>
                <a:cubicBezTo>
                  <a:pt x="1056" y="156"/>
                  <a:pt x="1058" y="155"/>
                  <a:pt x="1060" y="156"/>
                </a:cubicBezTo>
                <a:cubicBezTo>
                  <a:pt x="1069" y="157"/>
                  <a:pt x="1074" y="159"/>
                  <a:pt x="1076" y="163"/>
                </a:cubicBezTo>
                <a:cubicBezTo>
                  <a:pt x="1077" y="163"/>
                  <a:pt x="1081" y="162"/>
                  <a:pt x="1086" y="159"/>
                </a:cubicBezTo>
                <a:cubicBezTo>
                  <a:pt x="1088" y="159"/>
                  <a:pt x="1090" y="161"/>
                  <a:pt x="1091" y="164"/>
                </a:cubicBezTo>
                <a:cubicBezTo>
                  <a:pt x="1091" y="166"/>
                  <a:pt x="1092" y="169"/>
                  <a:pt x="1092" y="172"/>
                </a:cubicBezTo>
                <a:cubicBezTo>
                  <a:pt x="1093" y="174"/>
                  <a:pt x="1095" y="176"/>
                  <a:pt x="1099" y="177"/>
                </a:cubicBezTo>
                <a:cubicBezTo>
                  <a:pt x="1103" y="179"/>
                  <a:pt x="1105" y="181"/>
                  <a:pt x="1105" y="182"/>
                </a:cubicBezTo>
                <a:cubicBezTo>
                  <a:pt x="1105" y="182"/>
                  <a:pt x="1103" y="184"/>
                  <a:pt x="1100" y="188"/>
                </a:cubicBezTo>
                <a:cubicBezTo>
                  <a:pt x="1097" y="191"/>
                  <a:pt x="1095" y="194"/>
                  <a:pt x="1095" y="196"/>
                </a:cubicBezTo>
                <a:cubicBezTo>
                  <a:pt x="1095" y="198"/>
                  <a:pt x="1095" y="201"/>
                  <a:pt x="1097" y="204"/>
                </a:cubicBezTo>
                <a:cubicBezTo>
                  <a:pt x="1098" y="207"/>
                  <a:pt x="1098" y="210"/>
                  <a:pt x="1098" y="211"/>
                </a:cubicBezTo>
                <a:cubicBezTo>
                  <a:pt x="1098" y="212"/>
                  <a:pt x="1097" y="213"/>
                  <a:pt x="1094" y="216"/>
                </a:cubicBezTo>
                <a:cubicBezTo>
                  <a:pt x="1092" y="218"/>
                  <a:pt x="1090" y="220"/>
                  <a:pt x="1090" y="222"/>
                </a:cubicBezTo>
                <a:cubicBezTo>
                  <a:pt x="1089" y="227"/>
                  <a:pt x="1090" y="230"/>
                  <a:pt x="1091" y="231"/>
                </a:cubicBezTo>
                <a:cubicBezTo>
                  <a:pt x="1093" y="232"/>
                  <a:pt x="1097" y="232"/>
                  <a:pt x="1104" y="233"/>
                </a:cubicBezTo>
                <a:cubicBezTo>
                  <a:pt x="1106" y="234"/>
                  <a:pt x="1113" y="236"/>
                  <a:pt x="1125" y="240"/>
                </a:cubicBezTo>
                <a:cubicBezTo>
                  <a:pt x="1126" y="240"/>
                  <a:pt x="1130" y="239"/>
                  <a:pt x="1137" y="237"/>
                </a:cubicBezTo>
                <a:cubicBezTo>
                  <a:pt x="1144" y="235"/>
                  <a:pt x="1149" y="234"/>
                  <a:pt x="1152" y="233"/>
                </a:cubicBezTo>
                <a:cubicBezTo>
                  <a:pt x="1152" y="230"/>
                  <a:pt x="1152" y="228"/>
                  <a:pt x="1152" y="227"/>
                </a:cubicBezTo>
                <a:cubicBezTo>
                  <a:pt x="1152" y="221"/>
                  <a:pt x="1155" y="218"/>
                  <a:pt x="1159" y="216"/>
                </a:cubicBezTo>
                <a:cubicBezTo>
                  <a:pt x="1165" y="212"/>
                  <a:pt x="1168" y="210"/>
                  <a:pt x="1170" y="208"/>
                </a:cubicBezTo>
                <a:cubicBezTo>
                  <a:pt x="1170" y="211"/>
                  <a:pt x="1170" y="216"/>
                  <a:pt x="1172" y="223"/>
                </a:cubicBezTo>
                <a:cubicBezTo>
                  <a:pt x="1171" y="225"/>
                  <a:pt x="1169" y="229"/>
                  <a:pt x="1165" y="236"/>
                </a:cubicBezTo>
                <a:cubicBezTo>
                  <a:pt x="1161" y="242"/>
                  <a:pt x="1159" y="246"/>
                  <a:pt x="1158" y="247"/>
                </a:cubicBezTo>
                <a:cubicBezTo>
                  <a:pt x="1158" y="248"/>
                  <a:pt x="1159" y="249"/>
                  <a:pt x="1162" y="250"/>
                </a:cubicBezTo>
                <a:cubicBezTo>
                  <a:pt x="1164" y="252"/>
                  <a:pt x="1165" y="255"/>
                  <a:pt x="1164" y="260"/>
                </a:cubicBezTo>
                <a:cubicBezTo>
                  <a:pt x="1164" y="264"/>
                  <a:pt x="1164" y="266"/>
                  <a:pt x="1165" y="268"/>
                </a:cubicBezTo>
                <a:cubicBezTo>
                  <a:pt x="1166" y="270"/>
                  <a:pt x="1169" y="272"/>
                  <a:pt x="1172" y="273"/>
                </a:cubicBezTo>
                <a:cubicBezTo>
                  <a:pt x="1176" y="274"/>
                  <a:pt x="1180" y="277"/>
                  <a:pt x="1184" y="281"/>
                </a:cubicBezTo>
                <a:cubicBezTo>
                  <a:pt x="1189" y="289"/>
                  <a:pt x="1192" y="293"/>
                  <a:pt x="1193" y="294"/>
                </a:cubicBezTo>
                <a:cubicBezTo>
                  <a:pt x="1195" y="296"/>
                  <a:pt x="1200" y="299"/>
                  <a:pt x="1207" y="301"/>
                </a:cubicBezTo>
                <a:cubicBezTo>
                  <a:pt x="1209" y="303"/>
                  <a:pt x="1210" y="305"/>
                  <a:pt x="1210" y="309"/>
                </a:cubicBezTo>
                <a:cubicBezTo>
                  <a:pt x="1210" y="312"/>
                  <a:pt x="1211" y="314"/>
                  <a:pt x="1213" y="314"/>
                </a:cubicBezTo>
                <a:cubicBezTo>
                  <a:pt x="1218" y="315"/>
                  <a:pt x="1222" y="319"/>
                  <a:pt x="1224" y="325"/>
                </a:cubicBezTo>
                <a:cubicBezTo>
                  <a:pt x="1225" y="329"/>
                  <a:pt x="1226" y="334"/>
                  <a:pt x="1228" y="341"/>
                </a:cubicBezTo>
                <a:lnTo>
                  <a:pt x="1230" y="341"/>
                </a:lnTo>
                <a:cubicBezTo>
                  <a:pt x="1232" y="341"/>
                  <a:pt x="1244" y="340"/>
                  <a:pt x="1265" y="336"/>
                </a:cubicBezTo>
                <a:cubicBezTo>
                  <a:pt x="1265" y="338"/>
                  <a:pt x="1265" y="339"/>
                  <a:pt x="1266" y="340"/>
                </a:cubicBezTo>
                <a:cubicBezTo>
                  <a:pt x="1267" y="340"/>
                  <a:pt x="1267" y="340"/>
                  <a:pt x="1267" y="340"/>
                </a:cubicBezTo>
                <a:cubicBezTo>
                  <a:pt x="1268" y="342"/>
                  <a:pt x="1270" y="343"/>
                  <a:pt x="1273" y="343"/>
                </a:cubicBezTo>
                <a:cubicBezTo>
                  <a:pt x="1275" y="343"/>
                  <a:pt x="1277" y="344"/>
                  <a:pt x="1279" y="344"/>
                </a:cubicBezTo>
                <a:cubicBezTo>
                  <a:pt x="1279" y="344"/>
                  <a:pt x="1280" y="345"/>
                  <a:pt x="1280" y="345"/>
                </a:cubicBezTo>
                <a:cubicBezTo>
                  <a:pt x="1281" y="346"/>
                  <a:pt x="1282" y="348"/>
                  <a:pt x="1282" y="350"/>
                </a:cubicBezTo>
                <a:cubicBezTo>
                  <a:pt x="1282" y="351"/>
                  <a:pt x="1283" y="351"/>
                  <a:pt x="1283" y="352"/>
                </a:cubicBezTo>
                <a:cubicBezTo>
                  <a:pt x="1283" y="352"/>
                  <a:pt x="1283" y="352"/>
                  <a:pt x="1284" y="353"/>
                </a:cubicBezTo>
                <a:cubicBezTo>
                  <a:pt x="1286" y="353"/>
                  <a:pt x="1288" y="353"/>
                  <a:pt x="1289" y="353"/>
                </a:cubicBezTo>
                <a:cubicBezTo>
                  <a:pt x="1289" y="352"/>
                  <a:pt x="1290" y="352"/>
                  <a:pt x="1290" y="352"/>
                </a:cubicBezTo>
                <a:cubicBezTo>
                  <a:pt x="1293" y="353"/>
                  <a:pt x="1295" y="353"/>
                  <a:pt x="1297" y="352"/>
                </a:cubicBezTo>
                <a:cubicBezTo>
                  <a:pt x="1298" y="352"/>
                  <a:pt x="1298" y="351"/>
                  <a:pt x="1298" y="351"/>
                </a:cubicBezTo>
                <a:cubicBezTo>
                  <a:pt x="1298" y="350"/>
                  <a:pt x="1298" y="350"/>
                  <a:pt x="1298" y="350"/>
                </a:cubicBezTo>
                <a:cubicBezTo>
                  <a:pt x="1299" y="349"/>
                  <a:pt x="1300" y="348"/>
                  <a:pt x="1302" y="348"/>
                </a:cubicBezTo>
                <a:cubicBezTo>
                  <a:pt x="1303" y="348"/>
                  <a:pt x="1303" y="348"/>
                  <a:pt x="1303" y="348"/>
                </a:cubicBezTo>
                <a:cubicBezTo>
                  <a:pt x="1305" y="348"/>
                  <a:pt x="1306" y="348"/>
                  <a:pt x="1306" y="348"/>
                </a:cubicBezTo>
                <a:cubicBezTo>
                  <a:pt x="1307" y="347"/>
                  <a:pt x="1307" y="347"/>
                  <a:pt x="1307" y="347"/>
                </a:cubicBezTo>
                <a:cubicBezTo>
                  <a:pt x="1307" y="348"/>
                  <a:pt x="1308" y="348"/>
                  <a:pt x="1308" y="348"/>
                </a:cubicBezTo>
                <a:cubicBezTo>
                  <a:pt x="1309" y="348"/>
                  <a:pt x="1309" y="348"/>
                  <a:pt x="1309" y="348"/>
                </a:cubicBezTo>
                <a:cubicBezTo>
                  <a:pt x="1311" y="349"/>
                  <a:pt x="1312" y="349"/>
                  <a:pt x="1313" y="350"/>
                </a:cubicBezTo>
                <a:cubicBezTo>
                  <a:pt x="1313" y="351"/>
                  <a:pt x="1314" y="351"/>
                  <a:pt x="1314" y="351"/>
                </a:cubicBezTo>
                <a:cubicBezTo>
                  <a:pt x="1314" y="351"/>
                  <a:pt x="1315" y="352"/>
                  <a:pt x="1316" y="352"/>
                </a:cubicBezTo>
                <a:cubicBezTo>
                  <a:pt x="1317" y="354"/>
                  <a:pt x="1319" y="355"/>
                  <a:pt x="1322" y="356"/>
                </a:cubicBezTo>
                <a:cubicBezTo>
                  <a:pt x="1322" y="356"/>
                  <a:pt x="1323" y="356"/>
                  <a:pt x="1323" y="357"/>
                </a:cubicBezTo>
                <a:cubicBezTo>
                  <a:pt x="1324" y="357"/>
                  <a:pt x="1325" y="357"/>
                  <a:pt x="1326" y="358"/>
                </a:cubicBezTo>
                <a:cubicBezTo>
                  <a:pt x="1326" y="358"/>
                  <a:pt x="1327" y="358"/>
                  <a:pt x="1327" y="358"/>
                </a:cubicBezTo>
                <a:cubicBezTo>
                  <a:pt x="1327" y="358"/>
                  <a:pt x="1328" y="358"/>
                  <a:pt x="1328" y="358"/>
                </a:cubicBezTo>
                <a:cubicBezTo>
                  <a:pt x="1328" y="358"/>
                  <a:pt x="1328" y="357"/>
                  <a:pt x="1328" y="357"/>
                </a:cubicBezTo>
                <a:cubicBezTo>
                  <a:pt x="1330" y="359"/>
                  <a:pt x="1334" y="362"/>
                  <a:pt x="1338" y="365"/>
                </a:cubicBezTo>
                <a:cubicBezTo>
                  <a:pt x="1341" y="366"/>
                  <a:pt x="1342" y="370"/>
                  <a:pt x="1342" y="375"/>
                </a:cubicBezTo>
                <a:cubicBezTo>
                  <a:pt x="1341" y="378"/>
                  <a:pt x="1343" y="382"/>
                  <a:pt x="1346" y="388"/>
                </a:cubicBezTo>
                <a:cubicBezTo>
                  <a:pt x="1349" y="394"/>
                  <a:pt x="1351" y="398"/>
                  <a:pt x="1351" y="398"/>
                </a:cubicBezTo>
                <a:cubicBezTo>
                  <a:pt x="1351" y="399"/>
                  <a:pt x="1353" y="402"/>
                  <a:pt x="1354" y="409"/>
                </a:cubicBezTo>
                <a:cubicBezTo>
                  <a:pt x="1357" y="415"/>
                  <a:pt x="1360" y="418"/>
                  <a:pt x="1363" y="419"/>
                </a:cubicBezTo>
                <a:cubicBezTo>
                  <a:pt x="1365" y="419"/>
                  <a:pt x="1367" y="418"/>
                  <a:pt x="1370" y="417"/>
                </a:cubicBezTo>
                <a:cubicBezTo>
                  <a:pt x="1373" y="415"/>
                  <a:pt x="1375" y="415"/>
                  <a:pt x="1378" y="415"/>
                </a:cubicBezTo>
                <a:cubicBezTo>
                  <a:pt x="1392" y="417"/>
                  <a:pt x="1399" y="420"/>
                  <a:pt x="1398" y="426"/>
                </a:cubicBezTo>
                <a:cubicBezTo>
                  <a:pt x="1398" y="426"/>
                  <a:pt x="1397" y="428"/>
                  <a:pt x="1395" y="429"/>
                </a:cubicBezTo>
                <a:cubicBezTo>
                  <a:pt x="1397" y="431"/>
                  <a:pt x="1400" y="432"/>
                  <a:pt x="1403" y="432"/>
                </a:cubicBezTo>
                <a:cubicBezTo>
                  <a:pt x="1404" y="432"/>
                  <a:pt x="1406" y="432"/>
                  <a:pt x="1408" y="431"/>
                </a:cubicBezTo>
                <a:cubicBezTo>
                  <a:pt x="1410" y="432"/>
                  <a:pt x="1414" y="433"/>
                  <a:pt x="1420" y="435"/>
                </a:cubicBezTo>
                <a:cubicBezTo>
                  <a:pt x="1424" y="435"/>
                  <a:pt x="1430" y="434"/>
                  <a:pt x="1438" y="431"/>
                </a:cubicBezTo>
                <a:cubicBezTo>
                  <a:pt x="1455" y="446"/>
                  <a:pt x="1467" y="454"/>
                  <a:pt x="1471" y="455"/>
                </a:cubicBezTo>
                <a:cubicBezTo>
                  <a:pt x="1474" y="455"/>
                  <a:pt x="1480" y="457"/>
                  <a:pt x="1487" y="460"/>
                </a:cubicBezTo>
                <a:cubicBezTo>
                  <a:pt x="1489" y="460"/>
                  <a:pt x="1491" y="459"/>
                  <a:pt x="1495" y="458"/>
                </a:cubicBezTo>
                <a:cubicBezTo>
                  <a:pt x="1496" y="458"/>
                  <a:pt x="1501" y="461"/>
                  <a:pt x="1510" y="466"/>
                </a:cubicBezTo>
                <a:cubicBezTo>
                  <a:pt x="1519" y="471"/>
                  <a:pt x="1526" y="475"/>
                  <a:pt x="1529" y="477"/>
                </a:cubicBezTo>
                <a:lnTo>
                  <a:pt x="1529" y="477"/>
                </a:lnTo>
                <a:close/>
                <a:moveTo>
                  <a:pt x="146" y="489"/>
                </a:moveTo>
                <a:lnTo>
                  <a:pt x="146" y="489"/>
                </a:lnTo>
                <a:cubicBezTo>
                  <a:pt x="145" y="488"/>
                  <a:pt x="144" y="487"/>
                  <a:pt x="143" y="486"/>
                </a:cubicBezTo>
                <a:cubicBezTo>
                  <a:pt x="143" y="486"/>
                  <a:pt x="142" y="485"/>
                  <a:pt x="140" y="485"/>
                </a:cubicBezTo>
                <a:cubicBezTo>
                  <a:pt x="138" y="485"/>
                  <a:pt x="136" y="485"/>
                  <a:pt x="134" y="486"/>
                </a:cubicBezTo>
                <a:cubicBezTo>
                  <a:pt x="133" y="487"/>
                  <a:pt x="131" y="488"/>
                  <a:pt x="131" y="490"/>
                </a:cubicBezTo>
                <a:cubicBezTo>
                  <a:pt x="131" y="493"/>
                  <a:pt x="133" y="496"/>
                  <a:pt x="138" y="499"/>
                </a:cubicBezTo>
                <a:cubicBezTo>
                  <a:pt x="140" y="500"/>
                  <a:pt x="144" y="502"/>
                  <a:pt x="148" y="504"/>
                </a:cubicBezTo>
                <a:cubicBezTo>
                  <a:pt x="149" y="504"/>
                  <a:pt x="149" y="503"/>
                  <a:pt x="149" y="502"/>
                </a:cubicBezTo>
                <a:cubicBezTo>
                  <a:pt x="150" y="501"/>
                  <a:pt x="149" y="498"/>
                  <a:pt x="147" y="495"/>
                </a:cubicBezTo>
                <a:cubicBezTo>
                  <a:pt x="146" y="492"/>
                  <a:pt x="145" y="490"/>
                  <a:pt x="146" y="489"/>
                </a:cubicBezTo>
                <a:lnTo>
                  <a:pt x="146" y="489"/>
                </a:lnTo>
                <a:close/>
                <a:moveTo>
                  <a:pt x="240" y="595"/>
                </a:moveTo>
                <a:lnTo>
                  <a:pt x="240" y="595"/>
                </a:lnTo>
                <a:cubicBezTo>
                  <a:pt x="240" y="595"/>
                  <a:pt x="240" y="594"/>
                  <a:pt x="241" y="593"/>
                </a:cubicBezTo>
                <a:cubicBezTo>
                  <a:pt x="241" y="589"/>
                  <a:pt x="241" y="585"/>
                  <a:pt x="239" y="583"/>
                </a:cubicBezTo>
                <a:cubicBezTo>
                  <a:pt x="238" y="579"/>
                  <a:pt x="236" y="578"/>
                  <a:pt x="233" y="579"/>
                </a:cubicBezTo>
                <a:cubicBezTo>
                  <a:pt x="230" y="586"/>
                  <a:pt x="232" y="592"/>
                  <a:pt x="238" y="596"/>
                </a:cubicBezTo>
                <a:cubicBezTo>
                  <a:pt x="239" y="596"/>
                  <a:pt x="239" y="596"/>
                  <a:pt x="240" y="595"/>
                </a:cubicBezTo>
                <a:lnTo>
                  <a:pt x="240" y="595"/>
                </a:lnTo>
                <a:close/>
                <a:moveTo>
                  <a:pt x="297" y="778"/>
                </a:moveTo>
                <a:lnTo>
                  <a:pt x="297" y="778"/>
                </a:lnTo>
                <a:cubicBezTo>
                  <a:pt x="296" y="778"/>
                  <a:pt x="296" y="778"/>
                  <a:pt x="296" y="778"/>
                </a:cubicBezTo>
                <a:cubicBezTo>
                  <a:pt x="294" y="778"/>
                  <a:pt x="293" y="779"/>
                  <a:pt x="292" y="781"/>
                </a:cubicBezTo>
                <a:cubicBezTo>
                  <a:pt x="291" y="783"/>
                  <a:pt x="290" y="784"/>
                  <a:pt x="290" y="785"/>
                </a:cubicBezTo>
                <a:cubicBezTo>
                  <a:pt x="289" y="791"/>
                  <a:pt x="291" y="797"/>
                  <a:pt x="295" y="803"/>
                </a:cubicBezTo>
                <a:cubicBezTo>
                  <a:pt x="299" y="808"/>
                  <a:pt x="301" y="813"/>
                  <a:pt x="301" y="817"/>
                </a:cubicBezTo>
                <a:cubicBezTo>
                  <a:pt x="302" y="818"/>
                  <a:pt x="303" y="818"/>
                  <a:pt x="303" y="819"/>
                </a:cubicBezTo>
                <a:cubicBezTo>
                  <a:pt x="303" y="819"/>
                  <a:pt x="304" y="818"/>
                  <a:pt x="304" y="818"/>
                </a:cubicBezTo>
                <a:cubicBezTo>
                  <a:pt x="305" y="818"/>
                  <a:pt x="306" y="816"/>
                  <a:pt x="307" y="815"/>
                </a:cubicBezTo>
                <a:cubicBezTo>
                  <a:pt x="307" y="814"/>
                  <a:pt x="307" y="813"/>
                  <a:pt x="307" y="811"/>
                </a:cubicBezTo>
                <a:cubicBezTo>
                  <a:pt x="308" y="806"/>
                  <a:pt x="307" y="800"/>
                  <a:pt x="305" y="793"/>
                </a:cubicBezTo>
                <a:cubicBezTo>
                  <a:pt x="303" y="785"/>
                  <a:pt x="301" y="780"/>
                  <a:pt x="297" y="778"/>
                </a:cubicBezTo>
                <a:lnTo>
                  <a:pt x="297" y="778"/>
                </a:lnTo>
                <a:close/>
                <a:moveTo>
                  <a:pt x="1557" y="1703"/>
                </a:moveTo>
                <a:lnTo>
                  <a:pt x="1557" y="1703"/>
                </a:lnTo>
                <a:cubicBezTo>
                  <a:pt x="1557" y="1698"/>
                  <a:pt x="1557" y="1691"/>
                  <a:pt x="1555" y="1682"/>
                </a:cubicBezTo>
                <a:cubicBezTo>
                  <a:pt x="1554" y="1673"/>
                  <a:pt x="1553" y="1667"/>
                  <a:pt x="1554" y="1665"/>
                </a:cubicBezTo>
                <a:cubicBezTo>
                  <a:pt x="1556" y="1660"/>
                  <a:pt x="1557" y="1656"/>
                  <a:pt x="1557" y="1654"/>
                </a:cubicBezTo>
                <a:cubicBezTo>
                  <a:pt x="1558" y="1648"/>
                  <a:pt x="1557" y="1640"/>
                  <a:pt x="1553" y="1631"/>
                </a:cubicBezTo>
                <a:cubicBezTo>
                  <a:pt x="1550" y="1622"/>
                  <a:pt x="1549" y="1618"/>
                  <a:pt x="1549" y="1616"/>
                </a:cubicBezTo>
                <a:cubicBezTo>
                  <a:pt x="1553" y="1598"/>
                  <a:pt x="1555" y="1588"/>
                  <a:pt x="1556" y="1584"/>
                </a:cubicBezTo>
                <a:cubicBezTo>
                  <a:pt x="1556" y="1579"/>
                  <a:pt x="1556" y="1573"/>
                  <a:pt x="1554" y="1566"/>
                </a:cubicBezTo>
                <a:cubicBezTo>
                  <a:pt x="1552" y="1559"/>
                  <a:pt x="1550" y="1554"/>
                  <a:pt x="1548" y="1553"/>
                </a:cubicBezTo>
                <a:cubicBezTo>
                  <a:pt x="1548" y="1553"/>
                  <a:pt x="1548" y="1553"/>
                  <a:pt x="1548" y="1552"/>
                </a:cubicBezTo>
                <a:cubicBezTo>
                  <a:pt x="1547" y="1552"/>
                  <a:pt x="1547" y="1552"/>
                  <a:pt x="1546" y="1552"/>
                </a:cubicBezTo>
                <a:cubicBezTo>
                  <a:pt x="1543" y="1564"/>
                  <a:pt x="1541" y="1572"/>
                  <a:pt x="1541" y="1576"/>
                </a:cubicBezTo>
                <a:cubicBezTo>
                  <a:pt x="1541" y="1579"/>
                  <a:pt x="1541" y="1585"/>
                  <a:pt x="1540" y="1594"/>
                </a:cubicBezTo>
                <a:cubicBezTo>
                  <a:pt x="1539" y="1604"/>
                  <a:pt x="1536" y="1609"/>
                  <a:pt x="1531" y="1609"/>
                </a:cubicBezTo>
                <a:cubicBezTo>
                  <a:pt x="1530" y="1609"/>
                  <a:pt x="1527" y="1607"/>
                  <a:pt x="1522" y="1604"/>
                </a:cubicBezTo>
                <a:cubicBezTo>
                  <a:pt x="1518" y="1601"/>
                  <a:pt x="1514" y="1599"/>
                  <a:pt x="1512" y="1599"/>
                </a:cubicBezTo>
                <a:cubicBezTo>
                  <a:pt x="1509" y="1598"/>
                  <a:pt x="1505" y="1600"/>
                  <a:pt x="1500" y="1605"/>
                </a:cubicBezTo>
                <a:cubicBezTo>
                  <a:pt x="1495" y="1610"/>
                  <a:pt x="1492" y="1612"/>
                  <a:pt x="1490" y="1612"/>
                </a:cubicBezTo>
                <a:cubicBezTo>
                  <a:pt x="1490" y="1613"/>
                  <a:pt x="1487" y="1613"/>
                  <a:pt x="1483" y="1613"/>
                </a:cubicBezTo>
                <a:cubicBezTo>
                  <a:pt x="1479" y="1613"/>
                  <a:pt x="1476" y="1614"/>
                  <a:pt x="1475" y="1615"/>
                </a:cubicBezTo>
                <a:cubicBezTo>
                  <a:pt x="1473" y="1615"/>
                  <a:pt x="1470" y="1618"/>
                  <a:pt x="1465" y="1622"/>
                </a:cubicBezTo>
                <a:cubicBezTo>
                  <a:pt x="1462" y="1624"/>
                  <a:pt x="1458" y="1625"/>
                  <a:pt x="1452" y="1626"/>
                </a:cubicBezTo>
                <a:cubicBezTo>
                  <a:pt x="1448" y="1628"/>
                  <a:pt x="1446" y="1632"/>
                  <a:pt x="1445" y="1637"/>
                </a:cubicBezTo>
                <a:cubicBezTo>
                  <a:pt x="1445" y="1645"/>
                  <a:pt x="1443" y="1649"/>
                  <a:pt x="1438" y="1650"/>
                </a:cubicBezTo>
                <a:cubicBezTo>
                  <a:pt x="1435" y="1651"/>
                  <a:pt x="1433" y="1651"/>
                  <a:pt x="1433" y="1652"/>
                </a:cubicBezTo>
                <a:cubicBezTo>
                  <a:pt x="1431" y="1653"/>
                  <a:pt x="1430" y="1655"/>
                  <a:pt x="1430" y="1658"/>
                </a:cubicBezTo>
                <a:cubicBezTo>
                  <a:pt x="1430" y="1660"/>
                  <a:pt x="1431" y="1662"/>
                  <a:pt x="1435" y="1665"/>
                </a:cubicBezTo>
                <a:cubicBezTo>
                  <a:pt x="1439" y="1667"/>
                  <a:pt x="1441" y="1669"/>
                  <a:pt x="1441" y="1670"/>
                </a:cubicBezTo>
                <a:cubicBezTo>
                  <a:pt x="1441" y="1672"/>
                  <a:pt x="1439" y="1674"/>
                  <a:pt x="1435" y="1676"/>
                </a:cubicBezTo>
                <a:cubicBezTo>
                  <a:pt x="1431" y="1677"/>
                  <a:pt x="1428" y="1680"/>
                  <a:pt x="1428" y="1683"/>
                </a:cubicBezTo>
                <a:cubicBezTo>
                  <a:pt x="1428" y="1687"/>
                  <a:pt x="1430" y="1694"/>
                  <a:pt x="1436" y="1701"/>
                </a:cubicBezTo>
                <a:cubicBezTo>
                  <a:pt x="1438" y="1705"/>
                  <a:pt x="1441" y="1709"/>
                  <a:pt x="1444" y="1712"/>
                </a:cubicBezTo>
                <a:cubicBezTo>
                  <a:pt x="1444" y="1715"/>
                  <a:pt x="1441" y="1718"/>
                  <a:pt x="1436" y="1723"/>
                </a:cubicBezTo>
                <a:cubicBezTo>
                  <a:pt x="1432" y="1728"/>
                  <a:pt x="1429" y="1731"/>
                  <a:pt x="1429" y="1732"/>
                </a:cubicBezTo>
                <a:cubicBezTo>
                  <a:pt x="1429" y="1735"/>
                  <a:pt x="1433" y="1737"/>
                  <a:pt x="1440" y="1739"/>
                </a:cubicBezTo>
                <a:cubicBezTo>
                  <a:pt x="1448" y="1741"/>
                  <a:pt x="1451" y="1744"/>
                  <a:pt x="1451" y="1748"/>
                </a:cubicBezTo>
                <a:cubicBezTo>
                  <a:pt x="1450" y="1754"/>
                  <a:pt x="1448" y="1757"/>
                  <a:pt x="1445" y="1758"/>
                </a:cubicBezTo>
                <a:cubicBezTo>
                  <a:pt x="1440" y="1760"/>
                  <a:pt x="1436" y="1764"/>
                  <a:pt x="1434" y="1769"/>
                </a:cubicBezTo>
                <a:cubicBezTo>
                  <a:pt x="1453" y="1778"/>
                  <a:pt x="1462" y="1783"/>
                  <a:pt x="1462" y="1785"/>
                </a:cubicBezTo>
                <a:cubicBezTo>
                  <a:pt x="1462" y="1788"/>
                  <a:pt x="1459" y="1789"/>
                  <a:pt x="1453" y="1790"/>
                </a:cubicBezTo>
                <a:cubicBezTo>
                  <a:pt x="1448" y="1790"/>
                  <a:pt x="1444" y="1792"/>
                  <a:pt x="1444" y="1795"/>
                </a:cubicBezTo>
                <a:cubicBezTo>
                  <a:pt x="1444" y="1800"/>
                  <a:pt x="1447" y="1805"/>
                  <a:pt x="1454" y="1812"/>
                </a:cubicBezTo>
                <a:cubicBezTo>
                  <a:pt x="1460" y="1817"/>
                  <a:pt x="1465" y="1820"/>
                  <a:pt x="1468" y="1822"/>
                </a:cubicBezTo>
                <a:cubicBezTo>
                  <a:pt x="1469" y="1822"/>
                  <a:pt x="1472" y="1823"/>
                  <a:pt x="1476" y="1824"/>
                </a:cubicBezTo>
                <a:cubicBezTo>
                  <a:pt x="1481" y="1825"/>
                  <a:pt x="1484" y="1827"/>
                  <a:pt x="1485" y="1831"/>
                </a:cubicBezTo>
                <a:cubicBezTo>
                  <a:pt x="1487" y="1834"/>
                  <a:pt x="1488" y="1837"/>
                  <a:pt x="1488" y="1840"/>
                </a:cubicBezTo>
                <a:cubicBezTo>
                  <a:pt x="1489" y="1841"/>
                  <a:pt x="1491" y="1842"/>
                  <a:pt x="1495" y="1842"/>
                </a:cubicBezTo>
                <a:cubicBezTo>
                  <a:pt x="1500" y="1843"/>
                  <a:pt x="1502" y="1841"/>
                  <a:pt x="1503" y="1837"/>
                </a:cubicBezTo>
                <a:cubicBezTo>
                  <a:pt x="1500" y="1834"/>
                  <a:pt x="1499" y="1831"/>
                  <a:pt x="1500" y="1829"/>
                </a:cubicBezTo>
                <a:cubicBezTo>
                  <a:pt x="1500" y="1826"/>
                  <a:pt x="1502" y="1824"/>
                  <a:pt x="1505" y="1824"/>
                </a:cubicBezTo>
                <a:cubicBezTo>
                  <a:pt x="1509" y="1823"/>
                  <a:pt x="1510" y="1821"/>
                  <a:pt x="1511" y="1819"/>
                </a:cubicBezTo>
                <a:cubicBezTo>
                  <a:pt x="1510" y="1817"/>
                  <a:pt x="1509" y="1815"/>
                  <a:pt x="1509" y="1814"/>
                </a:cubicBezTo>
                <a:cubicBezTo>
                  <a:pt x="1510" y="1812"/>
                  <a:pt x="1511" y="1811"/>
                  <a:pt x="1513" y="1811"/>
                </a:cubicBezTo>
                <a:cubicBezTo>
                  <a:pt x="1515" y="1810"/>
                  <a:pt x="1516" y="1809"/>
                  <a:pt x="1516" y="1807"/>
                </a:cubicBezTo>
                <a:cubicBezTo>
                  <a:pt x="1517" y="1805"/>
                  <a:pt x="1515" y="1802"/>
                  <a:pt x="1512" y="1799"/>
                </a:cubicBezTo>
                <a:cubicBezTo>
                  <a:pt x="1520" y="1797"/>
                  <a:pt x="1524" y="1791"/>
                  <a:pt x="1526" y="1779"/>
                </a:cubicBezTo>
                <a:cubicBezTo>
                  <a:pt x="1526" y="1764"/>
                  <a:pt x="1527" y="1753"/>
                  <a:pt x="1528" y="1746"/>
                </a:cubicBezTo>
                <a:cubicBezTo>
                  <a:pt x="1527" y="1741"/>
                  <a:pt x="1531" y="1735"/>
                  <a:pt x="1541" y="1726"/>
                </a:cubicBezTo>
                <a:cubicBezTo>
                  <a:pt x="1551" y="1718"/>
                  <a:pt x="1556" y="1710"/>
                  <a:pt x="1557" y="1703"/>
                </a:cubicBezTo>
                <a:lnTo>
                  <a:pt x="1557" y="1703"/>
                </a:lnTo>
                <a:close/>
                <a:moveTo>
                  <a:pt x="301" y="744"/>
                </a:moveTo>
                <a:lnTo>
                  <a:pt x="301" y="744"/>
                </a:lnTo>
                <a:cubicBezTo>
                  <a:pt x="296" y="739"/>
                  <a:pt x="292" y="736"/>
                  <a:pt x="290" y="734"/>
                </a:cubicBezTo>
                <a:cubicBezTo>
                  <a:pt x="289" y="734"/>
                  <a:pt x="288" y="733"/>
                  <a:pt x="288" y="733"/>
                </a:cubicBezTo>
                <a:lnTo>
                  <a:pt x="283" y="732"/>
                </a:lnTo>
                <a:cubicBezTo>
                  <a:pt x="283" y="736"/>
                  <a:pt x="284" y="739"/>
                  <a:pt x="287" y="741"/>
                </a:cubicBezTo>
                <a:cubicBezTo>
                  <a:pt x="289" y="742"/>
                  <a:pt x="292" y="744"/>
                  <a:pt x="296" y="746"/>
                </a:cubicBezTo>
                <a:cubicBezTo>
                  <a:pt x="297" y="747"/>
                  <a:pt x="300" y="749"/>
                  <a:pt x="303" y="753"/>
                </a:cubicBezTo>
                <a:cubicBezTo>
                  <a:pt x="305" y="756"/>
                  <a:pt x="308" y="758"/>
                  <a:pt x="310" y="758"/>
                </a:cubicBezTo>
                <a:cubicBezTo>
                  <a:pt x="311" y="758"/>
                  <a:pt x="311" y="758"/>
                  <a:pt x="311" y="756"/>
                </a:cubicBezTo>
                <a:cubicBezTo>
                  <a:pt x="311" y="755"/>
                  <a:pt x="308" y="750"/>
                  <a:pt x="301" y="744"/>
                </a:cubicBezTo>
                <a:lnTo>
                  <a:pt x="301" y="7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0" name="Freeform 254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6 w 958"/>
              <a:gd name="T5" fmla="*/ 1347 h 1918"/>
              <a:gd name="T6" fmla="*/ 142 w 958"/>
              <a:gd name="T7" fmla="*/ 1687 h 1918"/>
              <a:gd name="T8" fmla="*/ 188 w 958"/>
              <a:gd name="T9" fmla="*/ 1808 h 1918"/>
              <a:gd name="T10" fmla="*/ 172 w 958"/>
              <a:gd name="T11" fmla="*/ 1853 h 1918"/>
              <a:gd name="T12" fmla="*/ 207 w 958"/>
              <a:gd name="T13" fmla="*/ 1832 h 1918"/>
              <a:gd name="T14" fmla="*/ 137 w 958"/>
              <a:gd name="T15" fmla="*/ 1793 h 1918"/>
              <a:gd name="T16" fmla="*/ 81 w 958"/>
              <a:gd name="T17" fmla="*/ 1892 h 1918"/>
              <a:gd name="T18" fmla="*/ 243 w 958"/>
              <a:gd name="T19" fmla="*/ 1843 h 1918"/>
              <a:gd name="T20" fmla="*/ 280 w 958"/>
              <a:gd name="T21" fmla="*/ 1840 h 1918"/>
              <a:gd name="T22" fmla="*/ 248 w 958"/>
              <a:gd name="T23" fmla="*/ 1858 h 1918"/>
              <a:gd name="T24" fmla="*/ 258 w 958"/>
              <a:gd name="T25" fmla="*/ 1913 h 1918"/>
              <a:gd name="T26" fmla="*/ 344 w 958"/>
              <a:gd name="T27" fmla="*/ 1902 h 1918"/>
              <a:gd name="T28" fmla="*/ 291 w 958"/>
              <a:gd name="T29" fmla="*/ 1871 h 1918"/>
              <a:gd name="T30" fmla="*/ 297 w 958"/>
              <a:gd name="T31" fmla="*/ 1878 h 1918"/>
              <a:gd name="T32" fmla="*/ 294 w 958"/>
              <a:gd name="T33" fmla="*/ 1887 h 1918"/>
              <a:gd name="T34" fmla="*/ 191 w 958"/>
              <a:gd name="T35" fmla="*/ 1858 h 1918"/>
              <a:gd name="T36" fmla="*/ 235 w 958"/>
              <a:gd name="T37" fmla="*/ 1830 h 1918"/>
              <a:gd name="T38" fmla="*/ 235 w 958"/>
              <a:gd name="T39" fmla="*/ 1858 h 1918"/>
              <a:gd name="T40" fmla="*/ 237 w 958"/>
              <a:gd name="T41" fmla="*/ 1824 h 1918"/>
              <a:gd name="T42" fmla="*/ 37 w 958"/>
              <a:gd name="T43" fmla="*/ 1890 h 1918"/>
              <a:gd name="T44" fmla="*/ 25 w 958"/>
              <a:gd name="T45" fmla="*/ 1852 h 1918"/>
              <a:gd name="T46" fmla="*/ 15 w 958"/>
              <a:gd name="T47" fmla="*/ 1885 h 1918"/>
              <a:gd name="T48" fmla="*/ 137 w 958"/>
              <a:gd name="T49" fmla="*/ 1727 h 1918"/>
              <a:gd name="T50" fmla="*/ 114 w 958"/>
              <a:gd name="T51" fmla="*/ 1290 h 1918"/>
              <a:gd name="T52" fmla="*/ 175 w 958"/>
              <a:gd name="T53" fmla="*/ 1288 h 1918"/>
              <a:gd name="T54" fmla="*/ 222 w 958"/>
              <a:gd name="T55" fmla="*/ 1213 h 1918"/>
              <a:gd name="T56" fmla="*/ 363 w 958"/>
              <a:gd name="T57" fmla="*/ 976 h 1918"/>
              <a:gd name="T58" fmla="*/ 375 w 958"/>
              <a:gd name="T59" fmla="*/ 50 h 1918"/>
              <a:gd name="T60" fmla="*/ 556 w 958"/>
              <a:gd name="T61" fmla="*/ 59 h 1918"/>
              <a:gd name="T62" fmla="*/ 557 w 958"/>
              <a:gd name="T63" fmla="*/ 234 h 1918"/>
              <a:gd name="T64" fmla="*/ 636 w 958"/>
              <a:gd name="T65" fmla="*/ 569 h 1918"/>
              <a:gd name="T66" fmla="*/ 732 w 958"/>
              <a:gd name="T67" fmla="*/ 847 h 1918"/>
              <a:gd name="T68" fmla="*/ 776 w 958"/>
              <a:gd name="T69" fmla="*/ 995 h 1918"/>
              <a:gd name="T70" fmla="*/ 844 w 958"/>
              <a:gd name="T71" fmla="*/ 1169 h 1918"/>
              <a:gd name="T72" fmla="*/ 856 w 958"/>
              <a:gd name="T73" fmla="*/ 1513 h 1918"/>
              <a:gd name="T74" fmla="*/ 691 w 958"/>
              <a:gd name="T75" fmla="*/ 1755 h 1918"/>
              <a:gd name="T76" fmla="*/ 607 w 958"/>
              <a:gd name="T77" fmla="*/ 1774 h 1918"/>
              <a:gd name="T78" fmla="*/ 554 w 958"/>
              <a:gd name="T79" fmla="*/ 1806 h 1918"/>
              <a:gd name="T80" fmla="*/ 468 w 958"/>
              <a:gd name="T81" fmla="*/ 1841 h 1918"/>
              <a:gd name="T82" fmla="*/ 388 w 958"/>
              <a:gd name="T83" fmla="*/ 1871 h 1918"/>
              <a:gd name="T84" fmla="*/ 325 w 958"/>
              <a:gd name="T85" fmla="*/ 1890 h 1918"/>
              <a:gd name="T86" fmla="*/ 279 w 958"/>
              <a:gd name="T87" fmla="*/ 1838 h 1918"/>
              <a:gd name="T88" fmla="*/ 190 w 958"/>
              <a:gd name="T89" fmla="*/ 1803 h 1918"/>
              <a:gd name="T90" fmla="*/ 142 w 958"/>
              <a:gd name="T91" fmla="*/ 1739 h 1918"/>
              <a:gd name="T92" fmla="*/ 147 w 958"/>
              <a:gd name="T93" fmla="*/ 1638 h 1918"/>
              <a:gd name="T94" fmla="*/ 138 w 958"/>
              <a:gd name="T95" fmla="*/ 1552 h 1918"/>
              <a:gd name="T96" fmla="*/ 104 w 958"/>
              <a:gd name="T97" fmla="*/ 1424 h 1918"/>
              <a:gd name="T98" fmla="*/ 129 w 958"/>
              <a:gd name="T99" fmla="*/ 1341 h 1918"/>
              <a:gd name="T100" fmla="*/ 170 w 958"/>
              <a:gd name="T101" fmla="*/ 1315 h 1918"/>
              <a:gd name="T102" fmla="*/ 210 w 958"/>
              <a:gd name="T103" fmla="*/ 1233 h 1918"/>
              <a:gd name="T104" fmla="*/ 270 w 958"/>
              <a:gd name="T105" fmla="*/ 1154 h 1918"/>
              <a:gd name="T106" fmla="*/ 338 w 958"/>
              <a:gd name="T107" fmla="*/ 1033 h 1918"/>
              <a:gd name="T108" fmla="*/ 394 w 958"/>
              <a:gd name="T109" fmla="*/ 931 h 1918"/>
              <a:gd name="T110" fmla="*/ 336 w 958"/>
              <a:gd name="T111" fmla="*/ 840 h 1918"/>
              <a:gd name="T112" fmla="*/ 252 w 958"/>
              <a:gd name="T113" fmla="*/ 606 h 1918"/>
              <a:gd name="T114" fmla="*/ 151 w 958"/>
              <a:gd name="T115" fmla="*/ 354 h 1918"/>
              <a:gd name="T116" fmla="*/ 34 w 958"/>
              <a:gd name="T117" fmla="*/ 220 h 1918"/>
              <a:gd name="T118" fmla="*/ 221 w 958"/>
              <a:gd name="T119" fmla="*/ 275 h 1918"/>
              <a:gd name="T120" fmla="*/ 333 w 958"/>
              <a:gd name="T121" fmla="*/ 242 h 1918"/>
              <a:gd name="T122" fmla="*/ 375 w 958"/>
              <a:gd name="T123" fmla="*/ 53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 255"/>
          <p:cNvSpPr>
            <a:spLocks noEditPoints="1"/>
          </p:cNvSpPr>
          <p:nvPr/>
        </p:nvSpPr>
        <p:spPr bwMode="auto">
          <a:xfrm>
            <a:off x="9702324" y="194006"/>
            <a:ext cx="1000955" cy="2005403"/>
          </a:xfrm>
          <a:custGeom>
            <a:avLst/>
            <a:gdLst>
              <a:gd name="T0" fmla="*/ 237 w 958"/>
              <a:gd name="T1" fmla="*/ 1200 h 1918"/>
              <a:gd name="T2" fmla="*/ 123 w 958"/>
              <a:gd name="T3" fmla="*/ 1312 h 1918"/>
              <a:gd name="T4" fmla="*/ 123 w 958"/>
              <a:gd name="T5" fmla="*/ 1312 h 1918"/>
              <a:gd name="T6" fmla="*/ 140 w 958"/>
              <a:gd name="T7" fmla="*/ 1679 h 1918"/>
              <a:gd name="T8" fmla="*/ 200 w 958"/>
              <a:gd name="T9" fmla="*/ 1826 h 1918"/>
              <a:gd name="T10" fmla="*/ 154 w 958"/>
              <a:gd name="T11" fmla="*/ 1794 h 1918"/>
              <a:gd name="T12" fmla="*/ 170 w 958"/>
              <a:gd name="T13" fmla="*/ 1865 h 1918"/>
              <a:gd name="T14" fmla="*/ 200 w 958"/>
              <a:gd name="T15" fmla="*/ 1864 h 1918"/>
              <a:gd name="T16" fmla="*/ 64 w 958"/>
              <a:gd name="T17" fmla="*/ 1860 h 1918"/>
              <a:gd name="T18" fmla="*/ 235 w 958"/>
              <a:gd name="T19" fmla="*/ 1843 h 1918"/>
              <a:gd name="T20" fmla="*/ 241 w 958"/>
              <a:gd name="T21" fmla="*/ 1847 h 1918"/>
              <a:gd name="T22" fmla="*/ 280 w 958"/>
              <a:gd name="T23" fmla="*/ 1872 h 1918"/>
              <a:gd name="T24" fmla="*/ 283 w 958"/>
              <a:gd name="T25" fmla="*/ 1839 h 1918"/>
              <a:gd name="T26" fmla="*/ 258 w 958"/>
              <a:gd name="T27" fmla="*/ 1913 h 1918"/>
              <a:gd name="T28" fmla="*/ 535 w 958"/>
              <a:gd name="T29" fmla="*/ 1819 h 1918"/>
              <a:gd name="T30" fmla="*/ 286 w 958"/>
              <a:gd name="T31" fmla="*/ 1872 h 1918"/>
              <a:gd name="T32" fmla="*/ 303 w 958"/>
              <a:gd name="T33" fmla="*/ 1880 h 1918"/>
              <a:gd name="T34" fmla="*/ 315 w 958"/>
              <a:gd name="T35" fmla="*/ 1901 h 1918"/>
              <a:gd name="T36" fmla="*/ 180 w 958"/>
              <a:gd name="T37" fmla="*/ 1867 h 1918"/>
              <a:gd name="T38" fmla="*/ 241 w 958"/>
              <a:gd name="T39" fmla="*/ 1832 h 1918"/>
              <a:gd name="T40" fmla="*/ 237 w 958"/>
              <a:gd name="T41" fmla="*/ 1858 h 1918"/>
              <a:gd name="T42" fmla="*/ 242 w 958"/>
              <a:gd name="T43" fmla="*/ 1822 h 1918"/>
              <a:gd name="T44" fmla="*/ 34 w 958"/>
              <a:gd name="T45" fmla="*/ 1886 h 1918"/>
              <a:gd name="T46" fmla="*/ 23 w 958"/>
              <a:gd name="T47" fmla="*/ 1864 h 1918"/>
              <a:gd name="T48" fmla="*/ 0 w 958"/>
              <a:gd name="T49" fmla="*/ 1855 h 1918"/>
              <a:gd name="T50" fmla="*/ 135 w 958"/>
              <a:gd name="T51" fmla="*/ 1723 h 1918"/>
              <a:gd name="T52" fmla="*/ 119 w 958"/>
              <a:gd name="T53" fmla="*/ 1292 h 1918"/>
              <a:gd name="T54" fmla="*/ 170 w 958"/>
              <a:gd name="T55" fmla="*/ 1290 h 1918"/>
              <a:gd name="T56" fmla="*/ 222 w 958"/>
              <a:gd name="T57" fmla="*/ 1213 h 1918"/>
              <a:gd name="T58" fmla="*/ 372 w 958"/>
              <a:gd name="T59" fmla="*/ 970 h 1918"/>
              <a:gd name="T60" fmla="*/ 164 w 958"/>
              <a:gd name="T61" fmla="*/ 1615 h 1918"/>
              <a:gd name="T62" fmla="*/ 504 w 958"/>
              <a:gd name="T63" fmla="*/ 40 h 1918"/>
              <a:gd name="T64" fmla="*/ 549 w 958"/>
              <a:gd name="T65" fmla="*/ 215 h 1918"/>
              <a:gd name="T66" fmla="*/ 636 w 958"/>
              <a:gd name="T67" fmla="*/ 569 h 1918"/>
              <a:gd name="T68" fmla="*/ 726 w 958"/>
              <a:gd name="T69" fmla="*/ 865 h 1918"/>
              <a:gd name="T70" fmla="*/ 783 w 958"/>
              <a:gd name="T71" fmla="*/ 1013 h 1918"/>
              <a:gd name="T72" fmla="*/ 878 w 958"/>
              <a:gd name="T73" fmla="*/ 1189 h 1918"/>
              <a:gd name="T74" fmla="*/ 829 w 958"/>
              <a:gd name="T75" fmla="*/ 1554 h 1918"/>
              <a:gd name="T76" fmla="*/ 661 w 958"/>
              <a:gd name="T77" fmla="*/ 1745 h 1918"/>
              <a:gd name="T78" fmla="*/ 581 w 958"/>
              <a:gd name="T79" fmla="*/ 1778 h 1918"/>
              <a:gd name="T80" fmla="*/ 530 w 958"/>
              <a:gd name="T81" fmla="*/ 1812 h 1918"/>
              <a:gd name="T82" fmla="*/ 436 w 958"/>
              <a:gd name="T83" fmla="*/ 1866 h 1918"/>
              <a:gd name="T84" fmla="*/ 341 w 958"/>
              <a:gd name="T85" fmla="*/ 1894 h 1918"/>
              <a:gd name="T86" fmla="*/ 294 w 958"/>
              <a:gd name="T87" fmla="*/ 1867 h 1918"/>
              <a:gd name="T88" fmla="*/ 233 w 958"/>
              <a:gd name="T89" fmla="*/ 1821 h 1918"/>
              <a:gd name="T90" fmla="*/ 153 w 958"/>
              <a:gd name="T91" fmla="*/ 1782 h 1918"/>
              <a:gd name="T92" fmla="*/ 151 w 958"/>
              <a:gd name="T93" fmla="*/ 1677 h 1918"/>
              <a:gd name="T94" fmla="*/ 148 w 958"/>
              <a:gd name="T95" fmla="*/ 1580 h 1918"/>
              <a:gd name="T96" fmla="*/ 106 w 958"/>
              <a:gd name="T97" fmla="*/ 1450 h 1918"/>
              <a:gd name="T98" fmla="*/ 128 w 958"/>
              <a:gd name="T99" fmla="*/ 1354 h 1918"/>
              <a:gd name="T100" fmla="*/ 164 w 958"/>
              <a:gd name="T101" fmla="*/ 1319 h 1918"/>
              <a:gd name="T102" fmla="*/ 205 w 958"/>
              <a:gd name="T103" fmla="*/ 1244 h 1918"/>
              <a:gd name="T104" fmla="*/ 270 w 958"/>
              <a:gd name="T105" fmla="*/ 1154 h 1918"/>
              <a:gd name="T106" fmla="*/ 342 w 958"/>
              <a:gd name="T107" fmla="*/ 1024 h 1918"/>
              <a:gd name="T108" fmla="*/ 394 w 958"/>
              <a:gd name="T109" fmla="*/ 919 h 1918"/>
              <a:gd name="T110" fmla="*/ 332 w 958"/>
              <a:gd name="T111" fmla="*/ 825 h 1918"/>
              <a:gd name="T112" fmla="*/ 224 w 958"/>
              <a:gd name="T113" fmla="*/ 525 h 1918"/>
              <a:gd name="T114" fmla="*/ 75 w 958"/>
              <a:gd name="T115" fmla="*/ 307 h 1918"/>
              <a:gd name="T116" fmla="*/ 87 w 958"/>
              <a:gd name="T117" fmla="*/ 217 h 1918"/>
              <a:gd name="T118" fmla="*/ 269 w 958"/>
              <a:gd name="T119" fmla="*/ 290 h 1918"/>
              <a:gd name="T120" fmla="*/ 346 w 958"/>
              <a:gd name="T121" fmla="*/ 154 h 1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58" h="1918">
                <a:moveTo>
                  <a:pt x="187" y="1287"/>
                </a:moveTo>
                <a:lnTo>
                  <a:pt x="187" y="1287"/>
                </a:lnTo>
                <a:lnTo>
                  <a:pt x="187" y="1287"/>
                </a:lnTo>
                <a:lnTo>
                  <a:pt x="186" y="1287"/>
                </a:lnTo>
                <a:cubicBezTo>
                  <a:pt x="184" y="1288"/>
                  <a:pt x="183" y="1289"/>
                  <a:pt x="182" y="1290"/>
                </a:cubicBezTo>
                <a:cubicBezTo>
                  <a:pt x="179" y="1293"/>
                  <a:pt x="178" y="1295"/>
                  <a:pt x="177" y="1298"/>
                </a:cubicBezTo>
                <a:cubicBezTo>
                  <a:pt x="177" y="1299"/>
                  <a:pt x="178" y="1300"/>
                  <a:pt x="179" y="1301"/>
                </a:cubicBezTo>
                <a:cubicBezTo>
                  <a:pt x="181" y="1301"/>
                  <a:pt x="183" y="1300"/>
                  <a:pt x="186" y="1297"/>
                </a:cubicBezTo>
                <a:cubicBezTo>
                  <a:pt x="189" y="1295"/>
                  <a:pt x="191" y="1293"/>
                  <a:pt x="191" y="1292"/>
                </a:cubicBezTo>
                <a:cubicBezTo>
                  <a:pt x="191" y="1292"/>
                  <a:pt x="189" y="1290"/>
                  <a:pt x="187" y="1287"/>
                </a:cubicBezTo>
                <a:lnTo>
                  <a:pt x="187" y="1287"/>
                </a:lnTo>
                <a:close/>
                <a:moveTo>
                  <a:pt x="236" y="1202"/>
                </a:moveTo>
                <a:lnTo>
                  <a:pt x="236" y="1202"/>
                </a:lnTo>
                <a:cubicBezTo>
                  <a:pt x="236" y="1203"/>
                  <a:pt x="235" y="1203"/>
                  <a:pt x="234" y="1204"/>
                </a:cubicBezTo>
                <a:cubicBezTo>
                  <a:pt x="232" y="1204"/>
                  <a:pt x="230" y="1205"/>
                  <a:pt x="227" y="1205"/>
                </a:cubicBezTo>
                <a:cubicBezTo>
                  <a:pt x="222" y="1201"/>
                  <a:pt x="219" y="1199"/>
                  <a:pt x="218" y="1199"/>
                </a:cubicBezTo>
                <a:cubicBezTo>
                  <a:pt x="219" y="1198"/>
                  <a:pt x="220" y="1197"/>
                  <a:pt x="224" y="1195"/>
                </a:cubicBezTo>
                <a:cubicBezTo>
                  <a:pt x="225" y="1194"/>
                  <a:pt x="226" y="1193"/>
                  <a:pt x="228" y="1192"/>
                </a:cubicBezTo>
                <a:cubicBezTo>
                  <a:pt x="229" y="1193"/>
                  <a:pt x="231" y="1193"/>
                  <a:pt x="233" y="1194"/>
                </a:cubicBezTo>
                <a:cubicBezTo>
                  <a:pt x="236" y="1196"/>
                  <a:pt x="237" y="1198"/>
                  <a:pt x="237" y="1200"/>
                </a:cubicBezTo>
                <a:cubicBezTo>
                  <a:pt x="237" y="1201"/>
                  <a:pt x="237" y="1201"/>
                  <a:pt x="236" y="1202"/>
                </a:cubicBezTo>
                <a:lnTo>
                  <a:pt x="236" y="1202"/>
                </a:lnTo>
                <a:close/>
                <a:moveTo>
                  <a:pt x="136" y="1307"/>
                </a:moveTo>
                <a:lnTo>
                  <a:pt x="136" y="1307"/>
                </a:lnTo>
                <a:cubicBezTo>
                  <a:pt x="135" y="1309"/>
                  <a:pt x="135" y="1310"/>
                  <a:pt x="133" y="1311"/>
                </a:cubicBezTo>
                <a:lnTo>
                  <a:pt x="133" y="1310"/>
                </a:lnTo>
                <a:cubicBezTo>
                  <a:pt x="133" y="1309"/>
                  <a:pt x="132" y="1308"/>
                  <a:pt x="133" y="1307"/>
                </a:cubicBezTo>
                <a:cubicBezTo>
                  <a:pt x="133" y="1306"/>
                  <a:pt x="133" y="1306"/>
                  <a:pt x="133" y="1305"/>
                </a:cubicBezTo>
                <a:lnTo>
                  <a:pt x="133" y="1305"/>
                </a:lnTo>
                <a:cubicBezTo>
                  <a:pt x="134" y="1305"/>
                  <a:pt x="134" y="1305"/>
                  <a:pt x="134" y="1306"/>
                </a:cubicBezTo>
                <a:cubicBezTo>
                  <a:pt x="135" y="1306"/>
                  <a:pt x="136" y="1307"/>
                  <a:pt x="136" y="1307"/>
                </a:cubicBezTo>
                <a:lnTo>
                  <a:pt x="136" y="1307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3" y="1311"/>
                  <a:pt x="123" y="1311"/>
                  <a:pt x="123" y="1311"/>
                </a:cubicBez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lnTo>
                  <a:pt x="123" y="1311"/>
                </a:lnTo>
                <a:cubicBezTo>
                  <a:pt x="123" y="1311"/>
                  <a:pt x="123" y="1311"/>
                  <a:pt x="123" y="1312"/>
                </a:cubicBezTo>
                <a:lnTo>
                  <a:pt x="123" y="1312"/>
                </a:lnTo>
                <a:lnTo>
                  <a:pt x="123" y="1312"/>
                </a:lnTo>
                <a:close/>
                <a:moveTo>
                  <a:pt x="123" y="1312"/>
                </a:moveTo>
                <a:lnTo>
                  <a:pt x="123" y="1312"/>
                </a:lnTo>
                <a:cubicBezTo>
                  <a:pt x="124" y="1315"/>
                  <a:pt x="122" y="1317"/>
                  <a:pt x="119" y="1318"/>
                </a:cubicBezTo>
                <a:cubicBezTo>
                  <a:pt x="118" y="1319"/>
                  <a:pt x="117" y="1320"/>
                  <a:pt x="116" y="1322"/>
                </a:cubicBezTo>
                <a:cubicBezTo>
                  <a:pt x="116" y="1324"/>
                  <a:pt x="114" y="1325"/>
                  <a:pt x="112" y="1325"/>
                </a:cubicBezTo>
                <a:cubicBezTo>
                  <a:pt x="106" y="1321"/>
                  <a:pt x="103" y="1319"/>
                  <a:pt x="102" y="1318"/>
                </a:cubicBezTo>
                <a:cubicBezTo>
                  <a:pt x="102" y="1318"/>
                  <a:pt x="101" y="1316"/>
                  <a:pt x="100" y="1313"/>
                </a:cubicBezTo>
                <a:cubicBezTo>
                  <a:pt x="99" y="1309"/>
                  <a:pt x="99" y="1307"/>
                  <a:pt x="99" y="1306"/>
                </a:cubicBezTo>
                <a:cubicBezTo>
                  <a:pt x="99" y="1305"/>
                  <a:pt x="99" y="1304"/>
                  <a:pt x="101" y="1304"/>
                </a:cubicBezTo>
                <a:cubicBezTo>
                  <a:pt x="104" y="1305"/>
                  <a:pt x="106" y="1307"/>
                  <a:pt x="107" y="1310"/>
                </a:cubicBezTo>
                <a:cubicBezTo>
                  <a:pt x="108" y="1313"/>
                  <a:pt x="110" y="1315"/>
                  <a:pt x="112" y="1315"/>
                </a:cubicBezTo>
                <a:cubicBezTo>
                  <a:pt x="113" y="1316"/>
                  <a:pt x="116" y="1313"/>
                  <a:pt x="119" y="1307"/>
                </a:cubicBezTo>
                <a:cubicBezTo>
                  <a:pt x="119" y="1308"/>
                  <a:pt x="121" y="1310"/>
                  <a:pt x="123" y="1311"/>
                </a:cubicBezTo>
                <a:lnTo>
                  <a:pt x="123" y="1312"/>
                </a:lnTo>
                <a:lnTo>
                  <a:pt x="123" y="1312"/>
                </a:lnTo>
                <a:lnTo>
                  <a:pt x="123" y="1312"/>
                </a:lnTo>
                <a:close/>
                <a:moveTo>
                  <a:pt x="125" y="1345"/>
                </a:moveTo>
                <a:lnTo>
                  <a:pt x="125" y="1345"/>
                </a:lnTo>
                <a:lnTo>
                  <a:pt x="126" y="1347"/>
                </a:lnTo>
                <a:cubicBezTo>
                  <a:pt x="125" y="1348"/>
                  <a:pt x="125" y="1348"/>
                  <a:pt x="125" y="1350"/>
                </a:cubicBezTo>
                <a:cubicBezTo>
                  <a:pt x="124" y="1350"/>
                  <a:pt x="124" y="1351"/>
                  <a:pt x="123" y="1350"/>
                </a:cubicBezTo>
                <a:cubicBezTo>
                  <a:pt x="120" y="1350"/>
                  <a:pt x="119" y="1349"/>
                  <a:pt x="119" y="1347"/>
                </a:cubicBezTo>
                <a:cubicBezTo>
                  <a:pt x="119" y="1347"/>
                  <a:pt x="120" y="1346"/>
                  <a:pt x="122" y="1345"/>
                </a:cubicBezTo>
                <a:cubicBezTo>
                  <a:pt x="122" y="1345"/>
                  <a:pt x="123" y="1345"/>
                  <a:pt x="124" y="1345"/>
                </a:cubicBezTo>
                <a:cubicBezTo>
                  <a:pt x="125" y="1344"/>
                  <a:pt x="125" y="1345"/>
                  <a:pt x="125" y="1345"/>
                </a:cubicBezTo>
                <a:lnTo>
                  <a:pt x="125" y="1345"/>
                </a:lnTo>
                <a:close/>
                <a:moveTo>
                  <a:pt x="108" y="1358"/>
                </a:moveTo>
                <a:lnTo>
                  <a:pt x="108" y="1358"/>
                </a:lnTo>
                <a:cubicBezTo>
                  <a:pt x="107" y="1362"/>
                  <a:pt x="104" y="1366"/>
                  <a:pt x="99" y="1369"/>
                </a:cubicBezTo>
                <a:lnTo>
                  <a:pt x="99" y="1368"/>
                </a:lnTo>
                <a:cubicBezTo>
                  <a:pt x="99" y="1368"/>
                  <a:pt x="100" y="1365"/>
                  <a:pt x="102" y="1361"/>
                </a:cubicBezTo>
                <a:cubicBezTo>
                  <a:pt x="103" y="1359"/>
                  <a:pt x="104" y="1357"/>
                  <a:pt x="105" y="1356"/>
                </a:cubicBezTo>
                <a:cubicBezTo>
                  <a:pt x="107" y="1357"/>
                  <a:pt x="108" y="1357"/>
                  <a:pt x="108" y="1358"/>
                </a:cubicBezTo>
                <a:lnTo>
                  <a:pt x="108" y="1358"/>
                </a:lnTo>
                <a:close/>
                <a:moveTo>
                  <a:pt x="140" y="1679"/>
                </a:moveTo>
                <a:lnTo>
                  <a:pt x="140" y="1679"/>
                </a:lnTo>
                <a:cubicBezTo>
                  <a:pt x="141" y="1678"/>
                  <a:pt x="141" y="1678"/>
                  <a:pt x="142" y="1677"/>
                </a:cubicBezTo>
                <a:cubicBezTo>
                  <a:pt x="143" y="1677"/>
                  <a:pt x="144" y="1679"/>
                  <a:pt x="144" y="1682"/>
                </a:cubicBezTo>
                <a:cubicBezTo>
                  <a:pt x="143" y="1682"/>
                  <a:pt x="143" y="1683"/>
                  <a:pt x="143" y="1683"/>
                </a:cubicBezTo>
                <a:cubicBezTo>
                  <a:pt x="143" y="1685"/>
                  <a:pt x="143" y="1686"/>
                  <a:pt x="142" y="1687"/>
                </a:cubicBezTo>
                <a:lnTo>
                  <a:pt x="140" y="1687"/>
                </a:lnTo>
                <a:lnTo>
                  <a:pt x="140" y="1679"/>
                </a:lnTo>
                <a:lnTo>
                  <a:pt x="140" y="1679"/>
                </a:lnTo>
                <a:close/>
                <a:moveTo>
                  <a:pt x="200" y="1808"/>
                </a:moveTo>
                <a:lnTo>
                  <a:pt x="200" y="1808"/>
                </a:lnTo>
                <a:cubicBezTo>
                  <a:pt x="201" y="1809"/>
                  <a:pt x="201" y="1810"/>
                  <a:pt x="202" y="1812"/>
                </a:cubicBezTo>
                <a:cubicBezTo>
                  <a:pt x="200" y="1812"/>
                  <a:pt x="198" y="1810"/>
                  <a:pt x="196" y="1807"/>
                </a:cubicBezTo>
                <a:cubicBezTo>
                  <a:pt x="197" y="1806"/>
                  <a:pt x="198" y="1806"/>
                  <a:pt x="198" y="1806"/>
                </a:cubicBezTo>
                <a:cubicBezTo>
                  <a:pt x="199" y="1806"/>
                  <a:pt x="199" y="1807"/>
                  <a:pt x="200" y="1808"/>
                </a:cubicBezTo>
                <a:lnTo>
                  <a:pt x="200" y="1808"/>
                </a:lnTo>
                <a:close/>
                <a:moveTo>
                  <a:pt x="194" y="1811"/>
                </a:moveTo>
                <a:lnTo>
                  <a:pt x="194" y="1811"/>
                </a:lnTo>
                <a:cubicBezTo>
                  <a:pt x="194" y="1811"/>
                  <a:pt x="194" y="1811"/>
                  <a:pt x="194" y="1811"/>
                </a:cubicBezTo>
                <a:cubicBezTo>
                  <a:pt x="195" y="1813"/>
                  <a:pt x="196" y="1816"/>
                  <a:pt x="198" y="1818"/>
                </a:cubicBezTo>
                <a:cubicBezTo>
                  <a:pt x="200" y="1821"/>
                  <a:pt x="200" y="1822"/>
                  <a:pt x="200" y="1824"/>
                </a:cubicBezTo>
                <a:cubicBezTo>
                  <a:pt x="200" y="1825"/>
                  <a:pt x="200" y="1826"/>
                  <a:pt x="200" y="1826"/>
                </a:cubicBezTo>
                <a:cubicBezTo>
                  <a:pt x="199" y="1827"/>
                  <a:pt x="198" y="1828"/>
                  <a:pt x="196" y="1828"/>
                </a:cubicBezTo>
                <a:cubicBezTo>
                  <a:pt x="195" y="1828"/>
                  <a:pt x="194" y="1826"/>
                  <a:pt x="192" y="1825"/>
                </a:cubicBezTo>
                <a:cubicBezTo>
                  <a:pt x="190" y="1823"/>
                  <a:pt x="189" y="1822"/>
                  <a:pt x="189" y="1821"/>
                </a:cubicBezTo>
                <a:cubicBezTo>
                  <a:pt x="188" y="1817"/>
                  <a:pt x="187" y="1813"/>
                  <a:pt x="187" y="1810"/>
                </a:cubicBezTo>
                <a:cubicBezTo>
                  <a:pt x="187" y="1809"/>
                  <a:pt x="188" y="1809"/>
                  <a:pt x="188" y="1808"/>
                </a:cubicBezTo>
                <a:cubicBezTo>
                  <a:pt x="188" y="1808"/>
                  <a:pt x="188" y="1807"/>
                  <a:pt x="188" y="1807"/>
                </a:cubicBezTo>
                <a:cubicBezTo>
                  <a:pt x="190" y="1807"/>
                  <a:pt x="191" y="1808"/>
                  <a:pt x="193" y="1810"/>
                </a:cubicBezTo>
                <a:cubicBezTo>
                  <a:pt x="193" y="1810"/>
                  <a:pt x="193" y="1810"/>
                  <a:pt x="194" y="1811"/>
                </a:cubicBezTo>
                <a:lnTo>
                  <a:pt x="194" y="1811"/>
                </a:lnTo>
                <a:close/>
                <a:moveTo>
                  <a:pt x="154" y="1794"/>
                </a:moveTo>
                <a:lnTo>
                  <a:pt x="154" y="1794"/>
                </a:lnTo>
                <a:cubicBezTo>
                  <a:pt x="157" y="1795"/>
                  <a:pt x="159" y="1797"/>
                  <a:pt x="161" y="1797"/>
                </a:cubicBezTo>
                <a:cubicBezTo>
                  <a:pt x="161" y="1797"/>
                  <a:pt x="162" y="1797"/>
                  <a:pt x="163" y="1797"/>
                </a:cubicBezTo>
                <a:cubicBezTo>
                  <a:pt x="162" y="1798"/>
                  <a:pt x="162" y="1799"/>
                  <a:pt x="161" y="1803"/>
                </a:cubicBezTo>
                <a:cubicBezTo>
                  <a:pt x="161" y="1805"/>
                  <a:pt x="160" y="1805"/>
                  <a:pt x="158" y="1805"/>
                </a:cubicBezTo>
                <a:cubicBezTo>
                  <a:pt x="155" y="1805"/>
                  <a:pt x="152" y="1803"/>
                  <a:pt x="150" y="1800"/>
                </a:cubicBezTo>
                <a:cubicBezTo>
                  <a:pt x="147" y="1796"/>
                  <a:pt x="146" y="1792"/>
                  <a:pt x="146" y="1789"/>
                </a:cubicBezTo>
                <a:cubicBezTo>
                  <a:pt x="146" y="1789"/>
                  <a:pt x="147" y="1788"/>
                  <a:pt x="147" y="1788"/>
                </a:cubicBezTo>
                <a:cubicBezTo>
                  <a:pt x="148" y="1789"/>
                  <a:pt x="151" y="1791"/>
                  <a:pt x="154" y="1794"/>
                </a:cubicBezTo>
                <a:lnTo>
                  <a:pt x="154" y="1794"/>
                </a:lnTo>
                <a:close/>
                <a:moveTo>
                  <a:pt x="166" y="1853"/>
                </a:moveTo>
                <a:lnTo>
                  <a:pt x="166" y="1853"/>
                </a:lnTo>
                <a:lnTo>
                  <a:pt x="166" y="1852"/>
                </a:lnTo>
                <a:cubicBezTo>
                  <a:pt x="167" y="1852"/>
                  <a:pt x="168" y="1852"/>
                  <a:pt x="169" y="1851"/>
                </a:cubicBezTo>
                <a:cubicBezTo>
                  <a:pt x="169" y="1851"/>
                  <a:pt x="169" y="1851"/>
                  <a:pt x="169" y="1851"/>
                </a:cubicBezTo>
                <a:cubicBezTo>
                  <a:pt x="170" y="1852"/>
                  <a:pt x="171" y="1852"/>
                  <a:pt x="172" y="1853"/>
                </a:cubicBezTo>
                <a:cubicBezTo>
                  <a:pt x="172" y="1853"/>
                  <a:pt x="171" y="1854"/>
                  <a:pt x="171" y="1854"/>
                </a:cubicBezTo>
                <a:lnTo>
                  <a:pt x="167" y="1854"/>
                </a:lnTo>
                <a:lnTo>
                  <a:pt x="166" y="1853"/>
                </a:lnTo>
                <a:lnTo>
                  <a:pt x="166" y="1853"/>
                </a:lnTo>
                <a:close/>
                <a:moveTo>
                  <a:pt x="170" y="1865"/>
                </a:moveTo>
                <a:lnTo>
                  <a:pt x="170" y="1865"/>
                </a:lnTo>
                <a:cubicBezTo>
                  <a:pt x="171" y="1866"/>
                  <a:pt x="172" y="1866"/>
                  <a:pt x="174" y="1867"/>
                </a:cubicBezTo>
                <a:cubicBezTo>
                  <a:pt x="175" y="1867"/>
                  <a:pt x="175" y="1867"/>
                  <a:pt x="175" y="1868"/>
                </a:cubicBezTo>
                <a:cubicBezTo>
                  <a:pt x="176" y="1868"/>
                  <a:pt x="175" y="1869"/>
                  <a:pt x="175" y="1870"/>
                </a:cubicBezTo>
                <a:cubicBezTo>
                  <a:pt x="175" y="1872"/>
                  <a:pt x="174" y="1873"/>
                  <a:pt x="172" y="1874"/>
                </a:cubicBezTo>
                <a:cubicBezTo>
                  <a:pt x="170" y="1875"/>
                  <a:pt x="169" y="1875"/>
                  <a:pt x="167" y="1875"/>
                </a:cubicBezTo>
                <a:cubicBezTo>
                  <a:pt x="165" y="1875"/>
                  <a:pt x="164" y="1874"/>
                  <a:pt x="161" y="1873"/>
                </a:cubicBezTo>
                <a:cubicBezTo>
                  <a:pt x="163" y="1869"/>
                  <a:pt x="166" y="1866"/>
                  <a:pt x="169" y="1866"/>
                </a:cubicBezTo>
                <a:cubicBezTo>
                  <a:pt x="170" y="1865"/>
                  <a:pt x="170" y="1865"/>
                  <a:pt x="170" y="1865"/>
                </a:cubicBezTo>
                <a:lnTo>
                  <a:pt x="170" y="1865"/>
                </a:lnTo>
                <a:close/>
                <a:moveTo>
                  <a:pt x="203" y="1831"/>
                </a:moveTo>
                <a:lnTo>
                  <a:pt x="203" y="1831"/>
                </a:lnTo>
                <a:cubicBezTo>
                  <a:pt x="203" y="1829"/>
                  <a:pt x="204" y="1828"/>
                  <a:pt x="204" y="1826"/>
                </a:cubicBezTo>
                <a:cubicBezTo>
                  <a:pt x="206" y="1826"/>
                  <a:pt x="207" y="1827"/>
                  <a:pt x="207" y="1827"/>
                </a:cubicBezTo>
                <a:cubicBezTo>
                  <a:pt x="208" y="1828"/>
                  <a:pt x="208" y="1829"/>
                  <a:pt x="208" y="1830"/>
                </a:cubicBezTo>
                <a:cubicBezTo>
                  <a:pt x="208" y="1831"/>
                  <a:pt x="208" y="1831"/>
                  <a:pt x="207" y="1832"/>
                </a:cubicBezTo>
                <a:cubicBezTo>
                  <a:pt x="207" y="1832"/>
                  <a:pt x="206" y="1832"/>
                  <a:pt x="205" y="1833"/>
                </a:cubicBezTo>
                <a:lnTo>
                  <a:pt x="203" y="1833"/>
                </a:lnTo>
                <a:cubicBezTo>
                  <a:pt x="203" y="1832"/>
                  <a:pt x="203" y="1831"/>
                  <a:pt x="203" y="1831"/>
                </a:cubicBezTo>
                <a:lnTo>
                  <a:pt x="203" y="1831"/>
                </a:lnTo>
                <a:close/>
                <a:moveTo>
                  <a:pt x="202" y="1861"/>
                </a:moveTo>
                <a:lnTo>
                  <a:pt x="202" y="1861"/>
                </a:lnTo>
                <a:cubicBezTo>
                  <a:pt x="202" y="1860"/>
                  <a:pt x="203" y="1859"/>
                  <a:pt x="204" y="1859"/>
                </a:cubicBezTo>
                <a:cubicBezTo>
                  <a:pt x="205" y="1858"/>
                  <a:pt x="205" y="1858"/>
                  <a:pt x="206" y="1858"/>
                </a:cubicBezTo>
                <a:cubicBezTo>
                  <a:pt x="207" y="1858"/>
                  <a:pt x="208" y="1859"/>
                  <a:pt x="210" y="1860"/>
                </a:cubicBezTo>
                <a:cubicBezTo>
                  <a:pt x="212" y="1862"/>
                  <a:pt x="213" y="1863"/>
                  <a:pt x="213" y="1864"/>
                </a:cubicBezTo>
                <a:cubicBezTo>
                  <a:pt x="213" y="1865"/>
                  <a:pt x="212" y="1865"/>
                  <a:pt x="211" y="1866"/>
                </a:cubicBezTo>
                <a:cubicBezTo>
                  <a:pt x="210" y="1867"/>
                  <a:pt x="208" y="1867"/>
                  <a:pt x="207" y="1867"/>
                </a:cubicBezTo>
                <a:cubicBezTo>
                  <a:pt x="204" y="1865"/>
                  <a:pt x="202" y="1864"/>
                  <a:pt x="200" y="1864"/>
                </a:cubicBezTo>
                <a:cubicBezTo>
                  <a:pt x="201" y="1863"/>
                  <a:pt x="201" y="1863"/>
                  <a:pt x="201" y="1862"/>
                </a:cubicBezTo>
                <a:cubicBezTo>
                  <a:pt x="202" y="1862"/>
                  <a:pt x="202" y="1861"/>
                  <a:pt x="202" y="1861"/>
                </a:cubicBezTo>
                <a:lnTo>
                  <a:pt x="202" y="1861"/>
                </a:lnTo>
                <a:close/>
                <a:moveTo>
                  <a:pt x="142" y="1789"/>
                </a:moveTo>
                <a:lnTo>
                  <a:pt x="142" y="1789"/>
                </a:lnTo>
                <a:lnTo>
                  <a:pt x="142" y="1794"/>
                </a:lnTo>
                <a:cubicBezTo>
                  <a:pt x="141" y="1795"/>
                  <a:pt x="141" y="1797"/>
                  <a:pt x="140" y="1800"/>
                </a:cubicBezTo>
                <a:cubicBezTo>
                  <a:pt x="139" y="1799"/>
                  <a:pt x="138" y="1796"/>
                  <a:pt x="137" y="1793"/>
                </a:cubicBezTo>
                <a:cubicBezTo>
                  <a:pt x="136" y="1790"/>
                  <a:pt x="136" y="1789"/>
                  <a:pt x="136" y="1788"/>
                </a:cubicBezTo>
                <a:cubicBezTo>
                  <a:pt x="136" y="1788"/>
                  <a:pt x="136" y="1788"/>
                  <a:pt x="136" y="1787"/>
                </a:cubicBezTo>
                <a:cubicBezTo>
                  <a:pt x="140" y="1788"/>
                  <a:pt x="142" y="1789"/>
                  <a:pt x="142" y="1789"/>
                </a:cubicBezTo>
                <a:lnTo>
                  <a:pt x="142" y="1789"/>
                </a:lnTo>
                <a:close/>
                <a:moveTo>
                  <a:pt x="64" y="1860"/>
                </a:moveTo>
                <a:lnTo>
                  <a:pt x="64" y="1860"/>
                </a:lnTo>
                <a:lnTo>
                  <a:pt x="64" y="1861"/>
                </a:lnTo>
                <a:cubicBezTo>
                  <a:pt x="62" y="1860"/>
                  <a:pt x="61" y="1861"/>
                  <a:pt x="59" y="1863"/>
                </a:cubicBezTo>
                <a:lnTo>
                  <a:pt x="55" y="1862"/>
                </a:lnTo>
                <a:cubicBezTo>
                  <a:pt x="56" y="1859"/>
                  <a:pt x="57" y="1857"/>
                  <a:pt x="59" y="1856"/>
                </a:cubicBezTo>
                <a:cubicBezTo>
                  <a:pt x="61" y="1857"/>
                  <a:pt x="63" y="1858"/>
                  <a:pt x="64" y="1860"/>
                </a:cubicBezTo>
                <a:lnTo>
                  <a:pt x="64" y="1860"/>
                </a:lnTo>
                <a:close/>
                <a:moveTo>
                  <a:pt x="63" y="1898"/>
                </a:moveTo>
                <a:lnTo>
                  <a:pt x="63" y="1898"/>
                </a:lnTo>
                <a:cubicBezTo>
                  <a:pt x="61" y="1899"/>
                  <a:pt x="60" y="1899"/>
                  <a:pt x="58" y="1899"/>
                </a:cubicBezTo>
                <a:cubicBezTo>
                  <a:pt x="57" y="1899"/>
                  <a:pt x="55" y="1898"/>
                  <a:pt x="54" y="1897"/>
                </a:cubicBezTo>
                <a:cubicBezTo>
                  <a:pt x="54" y="1896"/>
                  <a:pt x="55" y="1896"/>
                  <a:pt x="55" y="1896"/>
                </a:cubicBezTo>
                <a:cubicBezTo>
                  <a:pt x="56" y="1896"/>
                  <a:pt x="56" y="1896"/>
                  <a:pt x="57" y="1896"/>
                </a:cubicBezTo>
                <a:cubicBezTo>
                  <a:pt x="59" y="1896"/>
                  <a:pt x="61" y="1897"/>
                  <a:pt x="63" y="1898"/>
                </a:cubicBezTo>
                <a:lnTo>
                  <a:pt x="63" y="1898"/>
                </a:lnTo>
                <a:close/>
                <a:moveTo>
                  <a:pt x="81" y="1892"/>
                </a:moveTo>
                <a:lnTo>
                  <a:pt x="81" y="1892"/>
                </a:lnTo>
                <a:lnTo>
                  <a:pt x="80" y="1895"/>
                </a:lnTo>
                <a:cubicBezTo>
                  <a:pt x="78" y="1897"/>
                  <a:pt x="75" y="1898"/>
                  <a:pt x="72" y="1898"/>
                </a:cubicBezTo>
                <a:cubicBezTo>
                  <a:pt x="69" y="1897"/>
                  <a:pt x="68" y="1896"/>
                  <a:pt x="68" y="1896"/>
                </a:cubicBezTo>
                <a:cubicBezTo>
                  <a:pt x="69" y="1895"/>
                  <a:pt x="70" y="1894"/>
                  <a:pt x="72" y="1893"/>
                </a:cubicBezTo>
                <a:cubicBezTo>
                  <a:pt x="75" y="1892"/>
                  <a:pt x="76" y="1891"/>
                  <a:pt x="77" y="1891"/>
                </a:cubicBezTo>
                <a:cubicBezTo>
                  <a:pt x="77" y="1891"/>
                  <a:pt x="78" y="1891"/>
                  <a:pt x="79" y="1891"/>
                </a:cubicBezTo>
                <a:cubicBezTo>
                  <a:pt x="79" y="1891"/>
                  <a:pt x="80" y="1892"/>
                  <a:pt x="81" y="1892"/>
                </a:cubicBezTo>
                <a:lnTo>
                  <a:pt x="81" y="1892"/>
                </a:lnTo>
                <a:close/>
                <a:moveTo>
                  <a:pt x="235" y="1843"/>
                </a:moveTo>
                <a:lnTo>
                  <a:pt x="235" y="1843"/>
                </a:lnTo>
                <a:cubicBezTo>
                  <a:pt x="236" y="1844"/>
                  <a:pt x="237" y="1844"/>
                  <a:pt x="237" y="1845"/>
                </a:cubicBezTo>
                <a:cubicBezTo>
                  <a:pt x="237" y="1846"/>
                  <a:pt x="236" y="1848"/>
                  <a:pt x="234" y="1850"/>
                </a:cubicBezTo>
                <a:cubicBezTo>
                  <a:pt x="233" y="1851"/>
                  <a:pt x="232" y="1852"/>
                  <a:pt x="232" y="1852"/>
                </a:cubicBezTo>
                <a:cubicBezTo>
                  <a:pt x="231" y="1853"/>
                  <a:pt x="231" y="1853"/>
                  <a:pt x="230" y="1853"/>
                </a:cubicBezTo>
                <a:cubicBezTo>
                  <a:pt x="228" y="1852"/>
                  <a:pt x="227" y="1852"/>
                  <a:pt x="227" y="1851"/>
                </a:cubicBezTo>
                <a:cubicBezTo>
                  <a:pt x="230" y="1847"/>
                  <a:pt x="232" y="1844"/>
                  <a:pt x="234" y="1843"/>
                </a:cubicBezTo>
                <a:cubicBezTo>
                  <a:pt x="234" y="1843"/>
                  <a:pt x="235" y="1843"/>
                  <a:pt x="235" y="1843"/>
                </a:cubicBezTo>
                <a:lnTo>
                  <a:pt x="235" y="1843"/>
                </a:lnTo>
                <a:close/>
                <a:moveTo>
                  <a:pt x="244" y="1843"/>
                </a:moveTo>
                <a:lnTo>
                  <a:pt x="244" y="1843"/>
                </a:lnTo>
                <a:cubicBezTo>
                  <a:pt x="244" y="1843"/>
                  <a:pt x="243" y="1843"/>
                  <a:pt x="243" y="1843"/>
                </a:cubicBezTo>
                <a:lnTo>
                  <a:pt x="243" y="1843"/>
                </a:lnTo>
                <a:lnTo>
                  <a:pt x="244" y="1843"/>
                </a:lnTo>
                <a:lnTo>
                  <a:pt x="244" y="1843"/>
                </a:lnTo>
                <a:close/>
                <a:moveTo>
                  <a:pt x="246" y="1843"/>
                </a:moveTo>
                <a:lnTo>
                  <a:pt x="246" y="1843"/>
                </a:lnTo>
                <a:cubicBezTo>
                  <a:pt x="248" y="1843"/>
                  <a:pt x="249" y="1844"/>
                  <a:pt x="250" y="1844"/>
                </a:cubicBezTo>
                <a:cubicBezTo>
                  <a:pt x="249" y="1846"/>
                  <a:pt x="248" y="1846"/>
                  <a:pt x="247" y="1847"/>
                </a:cubicBezTo>
                <a:cubicBezTo>
                  <a:pt x="246" y="1847"/>
                  <a:pt x="245" y="1847"/>
                  <a:pt x="244" y="1847"/>
                </a:cubicBezTo>
                <a:lnTo>
                  <a:pt x="241" y="1847"/>
                </a:lnTo>
                <a:lnTo>
                  <a:pt x="242" y="1844"/>
                </a:lnTo>
                <a:lnTo>
                  <a:pt x="243" y="1843"/>
                </a:lnTo>
                <a:cubicBezTo>
                  <a:pt x="243" y="1843"/>
                  <a:pt x="244" y="1843"/>
                  <a:pt x="244" y="1843"/>
                </a:cubicBezTo>
                <a:lnTo>
                  <a:pt x="246" y="1843"/>
                </a:lnTo>
                <a:lnTo>
                  <a:pt x="246" y="1843"/>
                </a:lnTo>
                <a:close/>
                <a:moveTo>
                  <a:pt x="255" y="1855"/>
                </a:moveTo>
                <a:lnTo>
                  <a:pt x="255" y="1855"/>
                </a:lnTo>
                <a:cubicBezTo>
                  <a:pt x="256" y="1855"/>
                  <a:pt x="257" y="1856"/>
                  <a:pt x="260" y="1857"/>
                </a:cubicBezTo>
                <a:cubicBezTo>
                  <a:pt x="261" y="1857"/>
                  <a:pt x="263" y="1855"/>
                  <a:pt x="267" y="1853"/>
                </a:cubicBezTo>
                <a:cubicBezTo>
                  <a:pt x="270" y="1850"/>
                  <a:pt x="273" y="1849"/>
                  <a:pt x="275" y="1850"/>
                </a:cubicBezTo>
                <a:cubicBezTo>
                  <a:pt x="277" y="1846"/>
                  <a:pt x="278" y="1844"/>
                  <a:pt x="278" y="1842"/>
                </a:cubicBezTo>
                <a:cubicBezTo>
                  <a:pt x="279" y="1841"/>
                  <a:pt x="280" y="1840"/>
                  <a:pt x="280" y="1840"/>
                </a:cubicBezTo>
                <a:cubicBezTo>
                  <a:pt x="281" y="1839"/>
                  <a:pt x="282" y="1839"/>
                  <a:pt x="282" y="1839"/>
                </a:cubicBezTo>
                <a:cubicBezTo>
                  <a:pt x="283" y="1839"/>
                  <a:pt x="283" y="1839"/>
                  <a:pt x="283" y="1839"/>
                </a:cubicBezTo>
                <a:cubicBezTo>
                  <a:pt x="284" y="1839"/>
                  <a:pt x="284" y="1839"/>
                  <a:pt x="285" y="1839"/>
                </a:cubicBezTo>
                <a:cubicBezTo>
                  <a:pt x="285" y="1841"/>
                  <a:pt x="284" y="1842"/>
                  <a:pt x="283" y="1844"/>
                </a:cubicBezTo>
                <a:cubicBezTo>
                  <a:pt x="283" y="1847"/>
                  <a:pt x="283" y="1850"/>
                  <a:pt x="283" y="1854"/>
                </a:cubicBezTo>
                <a:cubicBezTo>
                  <a:pt x="284" y="1858"/>
                  <a:pt x="284" y="1861"/>
                  <a:pt x="284" y="1862"/>
                </a:cubicBezTo>
                <a:cubicBezTo>
                  <a:pt x="283" y="1865"/>
                  <a:pt x="283" y="1867"/>
                  <a:pt x="281" y="1870"/>
                </a:cubicBezTo>
                <a:cubicBezTo>
                  <a:pt x="281" y="1870"/>
                  <a:pt x="281" y="1871"/>
                  <a:pt x="280" y="1872"/>
                </a:cubicBezTo>
                <a:cubicBezTo>
                  <a:pt x="278" y="1874"/>
                  <a:pt x="277" y="1878"/>
                  <a:pt x="277" y="1883"/>
                </a:cubicBezTo>
                <a:cubicBezTo>
                  <a:pt x="277" y="1883"/>
                  <a:pt x="277" y="1883"/>
                  <a:pt x="277" y="1883"/>
                </a:cubicBezTo>
                <a:cubicBezTo>
                  <a:pt x="276" y="1884"/>
                  <a:pt x="276" y="1884"/>
                  <a:pt x="275" y="1884"/>
                </a:cubicBezTo>
                <a:cubicBezTo>
                  <a:pt x="271" y="1882"/>
                  <a:pt x="268" y="1881"/>
                  <a:pt x="267" y="1881"/>
                </a:cubicBezTo>
                <a:cubicBezTo>
                  <a:pt x="265" y="1881"/>
                  <a:pt x="262" y="1882"/>
                  <a:pt x="258" y="1885"/>
                </a:cubicBezTo>
                <a:cubicBezTo>
                  <a:pt x="253" y="1888"/>
                  <a:pt x="250" y="1889"/>
                  <a:pt x="247" y="1889"/>
                </a:cubicBezTo>
                <a:cubicBezTo>
                  <a:pt x="247" y="1889"/>
                  <a:pt x="245" y="1887"/>
                  <a:pt x="244" y="1883"/>
                </a:cubicBezTo>
                <a:cubicBezTo>
                  <a:pt x="243" y="1880"/>
                  <a:pt x="242" y="1878"/>
                  <a:pt x="242" y="1877"/>
                </a:cubicBezTo>
                <a:cubicBezTo>
                  <a:pt x="242" y="1875"/>
                  <a:pt x="245" y="1872"/>
                  <a:pt x="249" y="1869"/>
                </a:cubicBezTo>
                <a:cubicBezTo>
                  <a:pt x="253" y="1865"/>
                  <a:pt x="255" y="1863"/>
                  <a:pt x="255" y="1863"/>
                </a:cubicBezTo>
                <a:cubicBezTo>
                  <a:pt x="250" y="1861"/>
                  <a:pt x="248" y="1858"/>
                  <a:pt x="248" y="1858"/>
                </a:cubicBezTo>
                <a:cubicBezTo>
                  <a:pt x="248" y="1857"/>
                  <a:pt x="249" y="1856"/>
                  <a:pt x="250" y="1856"/>
                </a:cubicBezTo>
                <a:cubicBezTo>
                  <a:pt x="251" y="1855"/>
                  <a:pt x="253" y="1855"/>
                  <a:pt x="255" y="1855"/>
                </a:cubicBezTo>
                <a:lnTo>
                  <a:pt x="255" y="1855"/>
                </a:lnTo>
                <a:close/>
                <a:moveTo>
                  <a:pt x="283" y="1839"/>
                </a:moveTo>
                <a:lnTo>
                  <a:pt x="283" y="1839"/>
                </a:lnTo>
                <a:cubicBezTo>
                  <a:pt x="283" y="1839"/>
                  <a:pt x="283" y="1839"/>
                  <a:pt x="282" y="1839"/>
                </a:cubicBezTo>
                <a:cubicBezTo>
                  <a:pt x="282" y="1839"/>
                  <a:pt x="283" y="1839"/>
                  <a:pt x="283" y="1839"/>
                </a:cubicBezTo>
                <a:cubicBezTo>
                  <a:pt x="283" y="1839"/>
                  <a:pt x="283" y="1839"/>
                  <a:pt x="283" y="1839"/>
                </a:cubicBezTo>
                <a:lnTo>
                  <a:pt x="283" y="1839"/>
                </a:lnTo>
                <a:close/>
                <a:moveTo>
                  <a:pt x="315" y="1887"/>
                </a:moveTo>
                <a:lnTo>
                  <a:pt x="315" y="1887"/>
                </a:lnTo>
                <a:cubicBezTo>
                  <a:pt x="317" y="1887"/>
                  <a:pt x="317" y="1888"/>
                  <a:pt x="317" y="1888"/>
                </a:cubicBezTo>
                <a:cubicBezTo>
                  <a:pt x="319" y="1889"/>
                  <a:pt x="320" y="1890"/>
                  <a:pt x="322" y="1892"/>
                </a:cubicBezTo>
                <a:cubicBezTo>
                  <a:pt x="322" y="1893"/>
                  <a:pt x="320" y="1894"/>
                  <a:pt x="317" y="1896"/>
                </a:cubicBezTo>
                <a:cubicBezTo>
                  <a:pt x="316" y="1896"/>
                  <a:pt x="315" y="1896"/>
                  <a:pt x="314" y="1897"/>
                </a:cubicBezTo>
                <a:cubicBezTo>
                  <a:pt x="313" y="1897"/>
                  <a:pt x="312" y="1897"/>
                  <a:pt x="312" y="1897"/>
                </a:cubicBezTo>
                <a:cubicBezTo>
                  <a:pt x="311" y="1897"/>
                  <a:pt x="310" y="1896"/>
                  <a:pt x="309" y="1894"/>
                </a:cubicBezTo>
                <a:cubicBezTo>
                  <a:pt x="308" y="1892"/>
                  <a:pt x="308" y="1890"/>
                  <a:pt x="308" y="1889"/>
                </a:cubicBezTo>
                <a:cubicBezTo>
                  <a:pt x="308" y="1889"/>
                  <a:pt x="308" y="1888"/>
                  <a:pt x="309" y="1888"/>
                </a:cubicBezTo>
                <a:cubicBezTo>
                  <a:pt x="310" y="1887"/>
                  <a:pt x="312" y="1887"/>
                  <a:pt x="315" y="1887"/>
                </a:cubicBezTo>
                <a:lnTo>
                  <a:pt x="315" y="1887"/>
                </a:lnTo>
                <a:close/>
                <a:moveTo>
                  <a:pt x="258" y="1913"/>
                </a:moveTo>
                <a:lnTo>
                  <a:pt x="258" y="1913"/>
                </a:lnTo>
                <a:cubicBezTo>
                  <a:pt x="256" y="1914"/>
                  <a:pt x="255" y="1915"/>
                  <a:pt x="254" y="1916"/>
                </a:cubicBezTo>
                <a:cubicBezTo>
                  <a:pt x="253" y="1917"/>
                  <a:pt x="251" y="1917"/>
                  <a:pt x="249" y="1917"/>
                </a:cubicBezTo>
                <a:lnTo>
                  <a:pt x="249" y="1916"/>
                </a:lnTo>
                <a:cubicBezTo>
                  <a:pt x="249" y="1916"/>
                  <a:pt x="250" y="1914"/>
                  <a:pt x="251" y="1912"/>
                </a:cubicBezTo>
                <a:cubicBezTo>
                  <a:pt x="252" y="1910"/>
                  <a:pt x="254" y="1910"/>
                  <a:pt x="255" y="1910"/>
                </a:cubicBezTo>
                <a:cubicBezTo>
                  <a:pt x="257" y="1911"/>
                  <a:pt x="257" y="1912"/>
                  <a:pt x="258" y="1913"/>
                </a:cubicBezTo>
                <a:lnTo>
                  <a:pt x="258" y="1913"/>
                </a:lnTo>
                <a:close/>
                <a:moveTo>
                  <a:pt x="344" y="1902"/>
                </a:moveTo>
                <a:lnTo>
                  <a:pt x="344" y="1902"/>
                </a:lnTo>
                <a:cubicBezTo>
                  <a:pt x="344" y="1902"/>
                  <a:pt x="345" y="1902"/>
                  <a:pt x="345" y="1902"/>
                </a:cubicBezTo>
                <a:cubicBezTo>
                  <a:pt x="345" y="1903"/>
                  <a:pt x="346" y="1903"/>
                  <a:pt x="346" y="1904"/>
                </a:cubicBezTo>
                <a:cubicBezTo>
                  <a:pt x="345" y="1905"/>
                  <a:pt x="344" y="1906"/>
                  <a:pt x="340" y="1905"/>
                </a:cubicBezTo>
                <a:cubicBezTo>
                  <a:pt x="336" y="1905"/>
                  <a:pt x="334" y="1904"/>
                  <a:pt x="333" y="1903"/>
                </a:cubicBezTo>
                <a:cubicBezTo>
                  <a:pt x="333" y="1903"/>
                  <a:pt x="333" y="1902"/>
                  <a:pt x="333" y="1901"/>
                </a:cubicBezTo>
                <a:cubicBezTo>
                  <a:pt x="333" y="1900"/>
                  <a:pt x="333" y="1899"/>
                  <a:pt x="333" y="1899"/>
                </a:cubicBezTo>
                <a:lnTo>
                  <a:pt x="335" y="1899"/>
                </a:lnTo>
                <a:cubicBezTo>
                  <a:pt x="337" y="1900"/>
                  <a:pt x="339" y="1901"/>
                  <a:pt x="342" y="1902"/>
                </a:cubicBezTo>
                <a:cubicBezTo>
                  <a:pt x="342" y="1902"/>
                  <a:pt x="343" y="1902"/>
                  <a:pt x="343" y="1902"/>
                </a:cubicBezTo>
                <a:cubicBezTo>
                  <a:pt x="343" y="1902"/>
                  <a:pt x="344" y="1902"/>
                  <a:pt x="344" y="1902"/>
                </a:cubicBezTo>
                <a:lnTo>
                  <a:pt x="344" y="1902"/>
                </a:lnTo>
                <a:close/>
                <a:moveTo>
                  <a:pt x="535" y="1819"/>
                </a:moveTo>
                <a:lnTo>
                  <a:pt x="535" y="1819"/>
                </a:lnTo>
                <a:cubicBezTo>
                  <a:pt x="531" y="1825"/>
                  <a:pt x="529" y="1828"/>
                  <a:pt x="528" y="1829"/>
                </a:cubicBezTo>
                <a:cubicBezTo>
                  <a:pt x="527" y="1822"/>
                  <a:pt x="526" y="1818"/>
                  <a:pt x="526" y="1817"/>
                </a:cubicBezTo>
                <a:cubicBezTo>
                  <a:pt x="526" y="1816"/>
                  <a:pt x="526" y="1816"/>
                  <a:pt x="526" y="1816"/>
                </a:cubicBezTo>
                <a:cubicBezTo>
                  <a:pt x="530" y="1816"/>
                  <a:pt x="533" y="1817"/>
                  <a:pt x="535" y="1819"/>
                </a:cubicBezTo>
                <a:lnTo>
                  <a:pt x="535" y="1819"/>
                </a:lnTo>
                <a:close/>
                <a:moveTo>
                  <a:pt x="287" y="1884"/>
                </a:moveTo>
                <a:lnTo>
                  <a:pt x="287" y="1884"/>
                </a:lnTo>
                <a:cubicBezTo>
                  <a:pt x="285" y="1884"/>
                  <a:pt x="284" y="1885"/>
                  <a:pt x="283" y="1885"/>
                </a:cubicBezTo>
                <a:cubicBezTo>
                  <a:pt x="282" y="1885"/>
                  <a:pt x="281" y="1884"/>
                  <a:pt x="282" y="1883"/>
                </a:cubicBezTo>
                <a:cubicBezTo>
                  <a:pt x="282" y="1883"/>
                  <a:pt x="282" y="1882"/>
                  <a:pt x="283" y="1881"/>
                </a:cubicBezTo>
                <a:lnTo>
                  <a:pt x="283" y="1881"/>
                </a:lnTo>
                <a:cubicBezTo>
                  <a:pt x="283" y="1880"/>
                  <a:pt x="284" y="1880"/>
                  <a:pt x="284" y="1880"/>
                </a:cubicBezTo>
                <a:lnTo>
                  <a:pt x="286" y="1881"/>
                </a:lnTo>
                <a:cubicBezTo>
                  <a:pt x="286" y="1881"/>
                  <a:pt x="287" y="1881"/>
                  <a:pt x="288" y="1882"/>
                </a:cubicBezTo>
                <a:lnTo>
                  <a:pt x="287" y="1884"/>
                </a:lnTo>
                <a:lnTo>
                  <a:pt x="287" y="1884"/>
                </a:lnTo>
                <a:close/>
                <a:moveTo>
                  <a:pt x="291" y="1871"/>
                </a:moveTo>
                <a:lnTo>
                  <a:pt x="291" y="1871"/>
                </a:lnTo>
                <a:cubicBezTo>
                  <a:pt x="291" y="1871"/>
                  <a:pt x="291" y="1871"/>
                  <a:pt x="291" y="1871"/>
                </a:cubicBezTo>
                <a:cubicBezTo>
                  <a:pt x="291" y="1872"/>
                  <a:pt x="292" y="1872"/>
                  <a:pt x="292" y="1872"/>
                </a:cubicBezTo>
                <a:cubicBezTo>
                  <a:pt x="293" y="1873"/>
                  <a:pt x="294" y="1874"/>
                  <a:pt x="294" y="1875"/>
                </a:cubicBezTo>
                <a:lnTo>
                  <a:pt x="294" y="1877"/>
                </a:lnTo>
                <a:lnTo>
                  <a:pt x="290" y="1877"/>
                </a:lnTo>
                <a:cubicBezTo>
                  <a:pt x="287" y="1874"/>
                  <a:pt x="286" y="1873"/>
                  <a:pt x="286" y="1872"/>
                </a:cubicBezTo>
                <a:cubicBezTo>
                  <a:pt x="286" y="1872"/>
                  <a:pt x="287" y="1872"/>
                  <a:pt x="289" y="1872"/>
                </a:cubicBezTo>
                <a:cubicBezTo>
                  <a:pt x="289" y="1872"/>
                  <a:pt x="289" y="1872"/>
                  <a:pt x="289" y="1871"/>
                </a:cubicBezTo>
                <a:cubicBezTo>
                  <a:pt x="290" y="1871"/>
                  <a:pt x="290" y="1871"/>
                  <a:pt x="291" y="1871"/>
                </a:cubicBezTo>
                <a:lnTo>
                  <a:pt x="291" y="1871"/>
                </a:lnTo>
                <a:close/>
                <a:moveTo>
                  <a:pt x="303" y="1880"/>
                </a:moveTo>
                <a:lnTo>
                  <a:pt x="303" y="1880"/>
                </a:lnTo>
                <a:cubicBezTo>
                  <a:pt x="303" y="1880"/>
                  <a:pt x="304" y="1881"/>
                  <a:pt x="304" y="1881"/>
                </a:cubicBezTo>
                <a:cubicBezTo>
                  <a:pt x="305" y="1881"/>
                  <a:pt x="305" y="1882"/>
                  <a:pt x="305" y="1882"/>
                </a:cubicBezTo>
                <a:cubicBezTo>
                  <a:pt x="305" y="1882"/>
                  <a:pt x="305" y="1882"/>
                  <a:pt x="305" y="1882"/>
                </a:cubicBezTo>
                <a:cubicBezTo>
                  <a:pt x="304" y="1883"/>
                  <a:pt x="304" y="1883"/>
                  <a:pt x="303" y="1883"/>
                </a:cubicBezTo>
                <a:cubicBezTo>
                  <a:pt x="302" y="1883"/>
                  <a:pt x="301" y="1883"/>
                  <a:pt x="300" y="1883"/>
                </a:cubicBezTo>
                <a:cubicBezTo>
                  <a:pt x="300" y="1883"/>
                  <a:pt x="300" y="1883"/>
                  <a:pt x="299" y="1883"/>
                </a:cubicBezTo>
                <a:cubicBezTo>
                  <a:pt x="297" y="1882"/>
                  <a:pt x="295" y="1882"/>
                  <a:pt x="295" y="1880"/>
                </a:cubicBezTo>
                <a:cubicBezTo>
                  <a:pt x="295" y="1880"/>
                  <a:pt x="296" y="1880"/>
                  <a:pt x="296" y="1880"/>
                </a:cubicBezTo>
                <a:cubicBezTo>
                  <a:pt x="296" y="1879"/>
                  <a:pt x="297" y="1879"/>
                  <a:pt x="297" y="1878"/>
                </a:cubicBezTo>
                <a:lnTo>
                  <a:pt x="299" y="1878"/>
                </a:lnTo>
                <a:cubicBezTo>
                  <a:pt x="299" y="1878"/>
                  <a:pt x="300" y="1878"/>
                  <a:pt x="300" y="1878"/>
                </a:cubicBezTo>
                <a:lnTo>
                  <a:pt x="301" y="1878"/>
                </a:lnTo>
                <a:cubicBezTo>
                  <a:pt x="301" y="1879"/>
                  <a:pt x="301" y="1879"/>
                  <a:pt x="301" y="1879"/>
                </a:cubicBezTo>
                <a:cubicBezTo>
                  <a:pt x="302" y="1879"/>
                  <a:pt x="302" y="1879"/>
                  <a:pt x="303" y="1880"/>
                </a:cubicBezTo>
                <a:lnTo>
                  <a:pt x="303" y="1880"/>
                </a:lnTo>
                <a:close/>
                <a:moveTo>
                  <a:pt x="300" y="1888"/>
                </a:moveTo>
                <a:lnTo>
                  <a:pt x="300" y="1888"/>
                </a:lnTo>
                <a:cubicBezTo>
                  <a:pt x="300" y="1888"/>
                  <a:pt x="301" y="1889"/>
                  <a:pt x="301" y="1889"/>
                </a:cubicBezTo>
                <a:cubicBezTo>
                  <a:pt x="302" y="1891"/>
                  <a:pt x="304" y="1893"/>
                  <a:pt x="305" y="1895"/>
                </a:cubicBezTo>
                <a:cubicBezTo>
                  <a:pt x="305" y="1896"/>
                  <a:pt x="305" y="1896"/>
                  <a:pt x="305" y="1896"/>
                </a:cubicBezTo>
                <a:lnTo>
                  <a:pt x="305" y="1899"/>
                </a:lnTo>
                <a:cubicBezTo>
                  <a:pt x="303" y="1899"/>
                  <a:pt x="302" y="1898"/>
                  <a:pt x="301" y="1897"/>
                </a:cubicBezTo>
                <a:cubicBezTo>
                  <a:pt x="299" y="1896"/>
                  <a:pt x="298" y="1895"/>
                  <a:pt x="298" y="1895"/>
                </a:cubicBezTo>
                <a:cubicBezTo>
                  <a:pt x="297" y="1895"/>
                  <a:pt x="296" y="1896"/>
                  <a:pt x="296" y="1896"/>
                </a:cubicBezTo>
                <a:cubicBezTo>
                  <a:pt x="297" y="1900"/>
                  <a:pt x="296" y="1902"/>
                  <a:pt x="294" y="1902"/>
                </a:cubicBezTo>
                <a:cubicBezTo>
                  <a:pt x="292" y="1902"/>
                  <a:pt x="291" y="1901"/>
                  <a:pt x="289" y="1899"/>
                </a:cubicBezTo>
                <a:cubicBezTo>
                  <a:pt x="287" y="1896"/>
                  <a:pt x="286" y="1894"/>
                  <a:pt x="287" y="1892"/>
                </a:cubicBezTo>
                <a:cubicBezTo>
                  <a:pt x="287" y="1890"/>
                  <a:pt x="288" y="1889"/>
                  <a:pt x="290" y="1888"/>
                </a:cubicBezTo>
                <a:cubicBezTo>
                  <a:pt x="291" y="1887"/>
                  <a:pt x="292" y="1887"/>
                  <a:pt x="294" y="1887"/>
                </a:cubicBezTo>
                <a:cubicBezTo>
                  <a:pt x="295" y="1887"/>
                  <a:pt x="296" y="1887"/>
                  <a:pt x="298" y="1887"/>
                </a:cubicBezTo>
                <a:cubicBezTo>
                  <a:pt x="298" y="1887"/>
                  <a:pt x="298" y="1887"/>
                  <a:pt x="299" y="1887"/>
                </a:cubicBezTo>
                <a:cubicBezTo>
                  <a:pt x="299" y="1887"/>
                  <a:pt x="300" y="1887"/>
                  <a:pt x="300" y="1888"/>
                </a:cubicBezTo>
                <a:lnTo>
                  <a:pt x="300" y="1888"/>
                </a:lnTo>
                <a:close/>
                <a:moveTo>
                  <a:pt x="315" y="1901"/>
                </a:moveTo>
                <a:lnTo>
                  <a:pt x="315" y="1901"/>
                </a:lnTo>
                <a:cubicBezTo>
                  <a:pt x="316" y="1901"/>
                  <a:pt x="317" y="1901"/>
                  <a:pt x="318" y="1901"/>
                </a:cubicBezTo>
                <a:cubicBezTo>
                  <a:pt x="318" y="1901"/>
                  <a:pt x="319" y="1901"/>
                  <a:pt x="320" y="1902"/>
                </a:cubicBezTo>
                <a:cubicBezTo>
                  <a:pt x="320" y="1902"/>
                  <a:pt x="321" y="1903"/>
                  <a:pt x="321" y="1903"/>
                </a:cubicBezTo>
                <a:cubicBezTo>
                  <a:pt x="323" y="1904"/>
                  <a:pt x="324" y="1905"/>
                  <a:pt x="324" y="1906"/>
                </a:cubicBezTo>
                <a:cubicBezTo>
                  <a:pt x="324" y="1906"/>
                  <a:pt x="324" y="1907"/>
                  <a:pt x="324" y="1907"/>
                </a:cubicBezTo>
                <a:cubicBezTo>
                  <a:pt x="323" y="1910"/>
                  <a:pt x="320" y="1913"/>
                  <a:pt x="315" y="1915"/>
                </a:cubicBezTo>
                <a:cubicBezTo>
                  <a:pt x="310" y="1917"/>
                  <a:pt x="306" y="1918"/>
                  <a:pt x="301" y="1918"/>
                </a:cubicBezTo>
                <a:cubicBezTo>
                  <a:pt x="299" y="1918"/>
                  <a:pt x="298" y="1917"/>
                  <a:pt x="298" y="1916"/>
                </a:cubicBezTo>
                <a:cubicBezTo>
                  <a:pt x="301" y="1913"/>
                  <a:pt x="305" y="1911"/>
                  <a:pt x="309" y="1909"/>
                </a:cubicBezTo>
                <a:cubicBezTo>
                  <a:pt x="309" y="1909"/>
                  <a:pt x="310" y="1908"/>
                  <a:pt x="312" y="1905"/>
                </a:cubicBezTo>
                <a:cubicBezTo>
                  <a:pt x="312" y="1905"/>
                  <a:pt x="312" y="1905"/>
                  <a:pt x="312" y="1904"/>
                </a:cubicBezTo>
                <a:cubicBezTo>
                  <a:pt x="313" y="1903"/>
                  <a:pt x="314" y="1902"/>
                  <a:pt x="315" y="1901"/>
                </a:cubicBezTo>
                <a:lnTo>
                  <a:pt x="315" y="1901"/>
                </a:lnTo>
                <a:close/>
                <a:moveTo>
                  <a:pt x="191" y="1858"/>
                </a:moveTo>
                <a:lnTo>
                  <a:pt x="191" y="1858"/>
                </a:lnTo>
                <a:cubicBezTo>
                  <a:pt x="193" y="1859"/>
                  <a:pt x="196" y="1859"/>
                  <a:pt x="198" y="1861"/>
                </a:cubicBezTo>
                <a:lnTo>
                  <a:pt x="198" y="1861"/>
                </a:lnTo>
                <a:cubicBezTo>
                  <a:pt x="191" y="1864"/>
                  <a:pt x="186" y="1866"/>
                  <a:pt x="182" y="1867"/>
                </a:cubicBezTo>
                <a:lnTo>
                  <a:pt x="180" y="1867"/>
                </a:lnTo>
                <a:lnTo>
                  <a:pt x="180" y="1866"/>
                </a:lnTo>
                <a:cubicBezTo>
                  <a:pt x="181" y="1865"/>
                  <a:pt x="182" y="1863"/>
                  <a:pt x="183" y="1860"/>
                </a:cubicBezTo>
                <a:cubicBezTo>
                  <a:pt x="184" y="1859"/>
                  <a:pt x="186" y="1857"/>
                  <a:pt x="188" y="1857"/>
                </a:cubicBezTo>
                <a:cubicBezTo>
                  <a:pt x="188" y="1857"/>
                  <a:pt x="188" y="1857"/>
                  <a:pt x="188" y="1857"/>
                </a:cubicBezTo>
                <a:cubicBezTo>
                  <a:pt x="189" y="1858"/>
                  <a:pt x="190" y="1858"/>
                  <a:pt x="191" y="1858"/>
                </a:cubicBezTo>
                <a:lnTo>
                  <a:pt x="191" y="1858"/>
                </a:lnTo>
                <a:close/>
                <a:moveTo>
                  <a:pt x="150" y="1858"/>
                </a:moveTo>
                <a:lnTo>
                  <a:pt x="150" y="1858"/>
                </a:lnTo>
                <a:cubicBezTo>
                  <a:pt x="152" y="1859"/>
                  <a:pt x="153" y="1860"/>
                  <a:pt x="154" y="1860"/>
                </a:cubicBezTo>
                <a:cubicBezTo>
                  <a:pt x="154" y="1860"/>
                  <a:pt x="155" y="1860"/>
                  <a:pt x="155" y="1860"/>
                </a:cubicBezTo>
                <a:cubicBezTo>
                  <a:pt x="154" y="1861"/>
                  <a:pt x="153" y="1862"/>
                  <a:pt x="151" y="1863"/>
                </a:cubicBezTo>
                <a:cubicBezTo>
                  <a:pt x="148" y="1864"/>
                  <a:pt x="146" y="1865"/>
                  <a:pt x="145" y="1865"/>
                </a:cubicBezTo>
                <a:cubicBezTo>
                  <a:pt x="142" y="1861"/>
                  <a:pt x="140" y="1859"/>
                  <a:pt x="140" y="1859"/>
                </a:cubicBezTo>
                <a:cubicBezTo>
                  <a:pt x="141" y="1859"/>
                  <a:pt x="144" y="1859"/>
                  <a:pt x="149" y="1858"/>
                </a:cubicBezTo>
                <a:cubicBezTo>
                  <a:pt x="149" y="1858"/>
                  <a:pt x="150" y="1858"/>
                  <a:pt x="150" y="1858"/>
                </a:cubicBezTo>
                <a:lnTo>
                  <a:pt x="150" y="1858"/>
                </a:lnTo>
                <a:close/>
                <a:moveTo>
                  <a:pt x="235" y="1830"/>
                </a:moveTo>
                <a:lnTo>
                  <a:pt x="235" y="1830"/>
                </a:lnTo>
                <a:cubicBezTo>
                  <a:pt x="236" y="1830"/>
                  <a:pt x="238" y="1831"/>
                  <a:pt x="238" y="1832"/>
                </a:cubicBezTo>
                <a:cubicBezTo>
                  <a:pt x="239" y="1832"/>
                  <a:pt x="240" y="1832"/>
                  <a:pt x="241" y="1832"/>
                </a:cubicBezTo>
                <a:cubicBezTo>
                  <a:pt x="244" y="1833"/>
                  <a:pt x="247" y="1833"/>
                  <a:pt x="249" y="1834"/>
                </a:cubicBezTo>
                <a:cubicBezTo>
                  <a:pt x="247" y="1836"/>
                  <a:pt x="246" y="1838"/>
                  <a:pt x="245" y="1839"/>
                </a:cubicBezTo>
                <a:cubicBezTo>
                  <a:pt x="244" y="1840"/>
                  <a:pt x="243" y="1840"/>
                  <a:pt x="242" y="1840"/>
                </a:cubicBezTo>
                <a:cubicBezTo>
                  <a:pt x="241" y="1841"/>
                  <a:pt x="239" y="1841"/>
                  <a:pt x="237" y="1840"/>
                </a:cubicBezTo>
                <a:cubicBezTo>
                  <a:pt x="235" y="1840"/>
                  <a:pt x="233" y="1840"/>
                  <a:pt x="230" y="1840"/>
                </a:cubicBezTo>
                <a:cubicBezTo>
                  <a:pt x="229" y="1841"/>
                  <a:pt x="228" y="1841"/>
                  <a:pt x="228" y="1841"/>
                </a:cubicBezTo>
                <a:cubicBezTo>
                  <a:pt x="224" y="1842"/>
                  <a:pt x="222" y="1842"/>
                  <a:pt x="222" y="1842"/>
                </a:cubicBezTo>
                <a:cubicBezTo>
                  <a:pt x="219" y="1842"/>
                  <a:pt x="218" y="1841"/>
                  <a:pt x="218" y="1838"/>
                </a:cubicBezTo>
                <a:cubicBezTo>
                  <a:pt x="218" y="1835"/>
                  <a:pt x="220" y="1833"/>
                  <a:pt x="224" y="1832"/>
                </a:cubicBezTo>
                <a:cubicBezTo>
                  <a:pt x="227" y="1831"/>
                  <a:pt x="229" y="1830"/>
                  <a:pt x="232" y="1830"/>
                </a:cubicBezTo>
                <a:cubicBezTo>
                  <a:pt x="233" y="1830"/>
                  <a:pt x="234" y="1830"/>
                  <a:pt x="235" y="1830"/>
                </a:cubicBezTo>
                <a:lnTo>
                  <a:pt x="235" y="1830"/>
                </a:lnTo>
                <a:close/>
                <a:moveTo>
                  <a:pt x="238" y="1858"/>
                </a:moveTo>
                <a:lnTo>
                  <a:pt x="238" y="1858"/>
                </a:lnTo>
                <a:cubicBezTo>
                  <a:pt x="238" y="1859"/>
                  <a:pt x="238" y="1860"/>
                  <a:pt x="238" y="1860"/>
                </a:cubicBezTo>
                <a:cubicBezTo>
                  <a:pt x="238" y="1863"/>
                  <a:pt x="237" y="1865"/>
                  <a:pt x="234" y="1865"/>
                </a:cubicBezTo>
                <a:lnTo>
                  <a:pt x="235" y="1858"/>
                </a:lnTo>
                <a:cubicBezTo>
                  <a:pt x="235" y="1858"/>
                  <a:pt x="235" y="1857"/>
                  <a:pt x="236" y="1857"/>
                </a:cubicBezTo>
                <a:cubicBezTo>
                  <a:pt x="236" y="1857"/>
                  <a:pt x="236" y="1857"/>
                  <a:pt x="237" y="1858"/>
                </a:cubicBezTo>
                <a:lnTo>
                  <a:pt x="237" y="1858"/>
                </a:lnTo>
                <a:cubicBezTo>
                  <a:pt x="238" y="1858"/>
                  <a:pt x="238" y="1858"/>
                  <a:pt x="238" y="1858"/>
                </a:cubicBezTo>
                <a:lnTo>
                  <a:pt x="238" y="1858"/>
                </a:lnTo>
                <a:close/>
                <a:moveTo>
                  <a:pt x="185" y="1804"/>
                </a:moveTo>
                <a:lnTo>
                  <a:pt x="185" y="1804"/>
                </a:lnTo>
                <a:cubicBezTo>
                  <a:pt x="185" y="1805"/>
                  <a:pt x="184" y="1805"/>
                  <a:pt x="184" y="1807"/>
                </a:cubicBezTo>
                <a:cubicBezTo>
                  <a:pt x="183" y="1809"/>
                  <a:pt x="182" y="1812"/>
                  <a:pt x="181" y="1815"/>
                </a:cubicBezTo>
                <a:lnTo>
                  <a:pt x="178" y="1815"/>
                </a:lnTo>
                <a:cubicBezTo>
                  <a:pt x="178" y="1811"/>
                  <a:pt x="178" y="1808"/>
                  <a:pt x="178" y="1807"/>
                </a:cubicBezTo>
                <a:cubicBezTo>
                  <a:pt x="179" y="1805"/>
                  <a:pt x="179" y="1802"/>
                  <a:pt x="180" y="1801"/>
                </a:cubicBezTo>
                <a:cubicBezTo>
                  <a:pt x="180" y="1801"/>
                  <a:pt x="181" y="1801"/>
                  <a:pt x="181" y="1801"/>
                </a:cubicBezTo>
                <a:cubicBezTo>
                  <a:pt x="183" y="1801"/>
                  <a:pt x="184" y="1802"/>
                  <a:pt x="185" y="1802"/>
                </a:cubicBezTo>
                <a:lnTo>
                  <a:pt x="185" y="1804"/>
                </a:lnTo>
                <a:lnTo>
                  <a:pt x="185" y="1804"/>
                </a:lnTo>
                <a:close/>
                <a:moveTo>
                  <a:pt x="245" y="1828"/>
                </a:moveTo>
                <a:lnTo>
                  <a:pt x="245" y="1828"/>
                </a:lnTo>
                <a:cubicBezTo>
                  <a:pt x="244" y="1828"/>
                  <a:pt x="243" y="1828"/>
                  <a:pt x="242" y="1828"/>
                </a:cubicBezTo>
                <a:cubicBezTo>
                  <a:pt x="239" y="1827"/>
                  <a:pt x="237" y="1826"/>
                  <a:pt x="237" y="1824"/>
                </a:cubicBezTo>
                <a:cubicBezTo>
                  <a:pt x="237" y="1824"/>
                  <a:pt x="237" y="1824"/>
                  <a:pt x="237" y="1824"/>
                </a:cubicBezTo>
                <a:cubicBezTo>
                  <a:pt x="238" y="1823"/>
                  <a:pt x="239" y="1823"/>
                  <a:pt x="241" y="1823"/>
                </a:cubicBezTo>
                <a:cubicBezTo>
                  <a:pt x="241" y="1822"/>
                  <a:pt x="242" y="1822"/>
                  <a:pt x="242" y="1822"/>
                </a:cubicBezTo>
                <a:lnTo>
                  <a:pt x="245" y="1823"/>
                </a:lnTo>
                <a:cubicBezTo>
                  <a:pt x="249" y="1823"/>
                  <a:pt x="252" y="1824"/>
                  <a:pt x="251" y="1826"/>
                </a:cubicBezTo>
                <a:cubicBezTo>
                  <a:pt x="251" y="1828"/>
                  <a:pt x="249" y="1829"/>
                  <a:pt x="245" y="1828"/>
                </a:cubicBezTo>
                <a:lnTo>
                  <a:pt x="245" y="1828"/>
                </a:lnTo>
                <a:close/>
                <a:moveTo>
                  <a:pt x="96" y="1851"/>
                </a:moveTo>
                <a:lnTo>
                  <a:pt x="96" y="1851"/>
                </a:lnTo>
                <a:cubicBezTo>
                  <a:pt x="96" y="1851"/>
                  <a:pt x="97" y="1851"/>
                  <a:pt x="97" y="1851"/>
                </a:cubicBezTo>
                <a:cubicBezTo>
                  <a:pt x="98" y="1851"/>
                  <a:pt x="99" y="1850"/>
                  <a:pt x="98" y="1851"/>
                </a:cubicBezTo>
                <a:cubicBezTo>
                  <a:pt x="99" y="1851"/>
                  <a:pt x="100" y="1851"/>
                  <a:pt x="100" y="1852"/>
                </a:cubicBezTo>
                <a:lnTo>
                  <a:pt x="100" y="1854"/>
                </a:lnTo>
                <a:cubicBezTo>
                  <a:pt x="99" y="1855"/>
                  <a:pt x="97" y="1855"/>
                  <a:pt x="96" y="1855"/>
                </a:cubicBezTo>
                <a:cubicBezTo>
                  <a:pt x="95" y="1855"/>
                  <a:pt x="94" y="1855"/>
                  <a:pt x="94" y="1855"/>
                </a:cubicBezTo>
                <a:cubicBezTo>
                  <a:pt x="94" y="1853"/>
                  <a:pt x="94" y="1852"/>
                  <a:pt x="95" y="1852"/>
                </a:cubicBezTo>
                <a:cubicBezTo>
                  <a:pt x="95" y="1852"/>
                  <a:pt x="95" y="1852"/>
                  <a:pt x="96" y="1852"/>
                </a:cubicBezTo>
                <a:cubicBezTo>
                  <a:pt x="96" y="1852"/>
                  <a:pt x="96" y="1851"/>
                  <a:pt x="96" y="1851"/>
                </a:cubicBezTo>
                <a:lnTo>
                  <a:pt x="96" y="1851"/>
                </a:lnTo>
                <a:close/>
                <a:moveTo>
                  <a:pt x="46" y="1887"/>
                </a:moveTo>
                <a:lnTo>
                  <a:pt x="46" y="1887"/>
                </a:lnTo>
                <a:cubicBezTo>
                  <a:pt x="43" y="1888"/>
                  <a:pt x="40" y="1889"/>
                  <a:pt x="37" y="1890"/>
                </a:cubicBezTo>
                <a:cubicBezTo>
                  <a:pt x="37" y="1889"/>
                  <a:pt x="36" y="1888"/>
                  <a:pt x="34" y="1886"/>
                </a:cubicBezTo>
                <a:cubicBezTo>
                  <a:pt x="31" y="1885"/>
                  <a:pt x="30" y="1884"/>
                  <a:pt x="30" y="1883"/>
                </a:cubicBezTo>
                <a:cubicBezTo>
                  <a:pt x="30" y="1883"/>
                  <a:pt x="34" y="1881"/>
                  <a:pt x="39" y="1877"/>
                </a:cubicBezTo>
                <a:cubicBezTo>
                  <a:pt x="40" y="1877"/>
                  <a:pt x="40" y="1877"/>
                  <a:pt x="40" y="1877"/>
                </a:cubicBezTo>
                <a:cubicBezTo>
                  <a:pt x="44" y="1880"/>
                  <a:pt x="46" y="1883"/>
                  <a:pt x="46" y="1887"/>
                </a:cubicBezTo>
                <a:lnTo>
                  <a:pt x="46" y="1887"/>
                </a:lnTo>
                <a:close/>
                <a:moveTo>
                  <a:pt x="53" y="1855"/>
                </a:moveTo>
                <a:lnTo>
                  <a:pt x="53" y="1855"/>
                </a:lnTo>
                <a:cubicBezTo>
                  <a:pt x="52" y="1856"/>
                  <a:pt x="51" y="1857"/>
                  <a:pt x="50" y="1858"/>
                </a:cubicBezTo>
                <a:cubicBezTo>
                  <a:pt x="48" y="1861"/>
                  <a:pt x="47" y="1863"/>
                  <a:pt x="47" y="1863"/>
                </a:cubicBezTo>
                <a:lnTo>
                  <a:pt x="39" y="1864"/>
                </a:lnTo>
                <a:cubicBezTo>
                  <a:pt x="36" y="1865"/>
                  <a:pt x="34" y="1866"/>
                  <a:pt x="32" y="1867"/>
                </a:cubicBezTo>
                <a:lnTo>
                  <a:pt x="32" y="1866"/>
                </a:lnTo>
                <a:cubicBezTo>
                  <a:pt x="32" y="1864"/>
                  <a:pt x="32" y="1862"/>
                  <a:pt x="33" y="1861"/>
                </a:cubicBezTo>
                <a:cubicBezTo>
                  <a:pt x="32" y="1861"/>
                  <a:pt x="31" y="1861"/>
                  <a:pt x="31" y="1860"/>
                </a:cubicBezTo>
                <a:cubicBezTo>
                  <a:pt x="31" y="1860"/>
                  <a:pt x="31" y="1860"/>
                  <a:pt x="30" y="1859"/>
                </a:cubicBezTo>
                <a:cubicBezTo>
                  <a:pt x="30" y="1858"/>
                  <a:pt x="30" y="1856"/>
                  <a:pt x="29" y="1854"/>
                </a:cubicBezTo>
                <a:cubicBezTo>
                  <a:pt x="29" y="1852"/>
                  <a:pt x="29" y="1850"/>
                  <a:pt x="29" y="1849"/>
                </a:cubicBezTo>
                <a:lnTo>
                  <a:pt x="27" y="1848"/>
                </a:lnTo>
                <a:cubicBezTo>
                  <a:pt x="26" y="1849"/>
                  <a:pt x="26" y="1851"/>
                  <a:pt x="25" y="1852"/>
                </a:cubicBezTo>
                <a:lnTo>
                  <a:pt x="23" y="1864"/>
                </a:lnTo>
                <a:cubicBezTo>
                  <a:pt x="23" y="1864"/>
                  <a:pt x="23" y="1864"/>
                  <a:pt x="23" y="1865"/>
                </a:cubicBezTo>
                <a:cubicBezTo>
                  <a:pt x="22" y="1864"/>
                  <a:pt x="21" y="1863"/>
                  <a:pt x="21" y="1862"/>
                </a:cubicBezTo>
                <a:cubicBezTo>
                  <a:pt x="21" y="1863"/>
                  <a:pt x="22" y="1864"/>
                  <a:pt x="23" y="1865"/>
                </a:cubicBezTo>
                <a:cubicBezTo>
                  <a:pt x="23" y="1866"/>
                  <a:pt x="24" y="1866"/>
                  <a:pt x="25" y="1867"/>
                </a:cubicBezTo>
                <a:lnTo>
                  <a:pt x="25" y="1867"/>
                </a:lnTo>
                <a:cubicBezTo>
                  <a:pt x="27" y="1867"/>
                  <a:pt x="28" y="1868"/>
                  <a:pt x="28" y="1870"/>
                </a:cubicBezTo>
                <a:cubicBezTo>
                  <a:pt x="30" y="1872"/>
                  <a:pt x="32" y="1873"/>
                  <a:pt x="35" y="1874"/>
                </a:cubicBezTo>
                <a:lnTo>
                  <a:pt x="35" y="1875"/>
                </a:lnTo>
                <a:cubicBezTo>
                  <a:pt x="30" y="1877"/>
                  <a:pt x="28" y="1878"/>
                  <a:pt x="28" y="1880"/>
                </a:cubicBezTo>
                <a:lnTo>
                  <a:pt x="27" y="1880"/>
                </a:lnTo>
                <a:cubicBezTo>
                  <a:pt x="26" y="1879"/>
                  <a:pt x="26" y="1878"/>
                  <a:pt x="25" y="1877"/>
                </a:cubicBezTo>
                <a:lnTo>
                  <a:pt x="24" y="1877"/>
                </a:lnTo>
                <a:lnTo>
                  <a:pt x="21" y="1877"/>
                </a:lnTo>
                <a:lnTo>
                  <a:pt x="24" y="1877"/>
                </a:lnTo>
                <a:cubicBezTo>
                  <a:pt x="24" y="1878"/>
                  <a:pt x="23" y="1878"/>
                  <a:pt x="23" y="1878"/>
                </a:cubicBezTo>
                <a:cubicBezTo>
                  <a:pt x="23" y="1878"/>
                  <a:pt x="23" y="1879"/>
                  <a:pt x="23" y="1879"/>
                </a:cubicBezTo>
                <a:cubicBezTo>
                  <a:pt x="22" y="1880"/>
                  <a:pt x="21" y="1882"/>
                  <a:pt x="21" y="1883"/>
                </a:cubicBezTo>
                <a:cubicBezTo>
                  <a:pt x="20" y="1885"/>
                  <a:pt x="18" y="1885"/>
                  <a:pt x="15" y="1885"/>
                </a:cubicBezTo>
                <a:cubicBezTo>
                  <a:pt x="13" y="1884"/>
                  <a:pt x="9" y="1880"/>
                  <a:pt x="6" y="1872"/>
                </a:cubicBezTo>
                <a:cubicBezTo>
                  <a:pt x="2" y="1864"/>
                  <a:pt x="0" y="1858"/>
                  <a:pt x="0" y="1855"/>
                </a:cubicBezTo>
                <a:cubicBezTo>
                  <a:pt x="0" y="1854"/>
                  <a:pt x="1" y="1854"/>
                  <a:pt x="2" y="1853"/>
                </a:cubicBezTo>
                <a:cubicBezTo>
                  <a:pt x="3" y="1852"/>
                  <a:pt x="3" y="1851"/>
                  <a:pt x="4" y="1851"/>
                </a:cubicBezTo>
                <a:cubicBezTo>
                  <a:pt x="7" y="1852"/>
                  <a:pt x="10" y="1854"/>
                  <a:pt x="13" y="1857"/>
                </a:cubicBezTo>
                <a:lnTo>
                  <a:pt x="14" y="1857"/>
                </a:lnTo>
                <a:cubicBezTo>
                  <a:pt x="14" y="1854"/>
                  <a:pt x="14" y="1852"/>
                  <a:pt x="15" y="1850"/>
                </a:cubicBezTo>
                <a:cubicBezTo>
                  <a:pt x="16" y="1847"/>
                  <a:pt x="17" y="1845"/>
                  <a:pt x="17" y="1844"/>
                </a:cubicBezTo>
                <a:cubicBezTo>
                  <a:pt x="13" y="1843"/>
                  <a:pt x="10" y="1841"/>
                  <a:pt x="9" y="1840"/>
                </a:cubicBezTo>
                <a:cubicBezTo>
                  <a:pt x="12" y="1836"/>
                  <a:pt x="14" y="1832"/>
                  <a:pt x="14" y="1830"/>
                </a:cubicBezTo>
                <a:cubicBezTo>
                  <a:pt x="16" y="1831"/>
                  <a:pt x="19" y="1833"/>
                  <a:pt x="21" y="1836"/>
                </a:cubicBezTo>
                <a:cubicBezTo>
                  <a:pt x="22" y="1836"/>
                  <a:pt x="24" y="1835"/>
                  <a:pt x="27" y="1835"/>
                </a:cubicBezTo>
                <a:cubicBezTo>
                  <a:pt x="31" y="1835"/>
                  <a:pt x="34" y="1837"/>
                  <a:pt x="36" y="1840"/>
                </a:cubicBezTo>
                <a:cubicBezTo>
                  <a:pt x="37" y="1842"/>
                  <a:pt x="39" y="1843"/>
                  <a:pt x="40" y="1845"/>
                </a:cubicBezTo>
                <a:cubicBezTo>
                  <a:pt x="41" y="1846"/>
                  <a:pt x="42" y="1847"/>
                  <a:pt x="43" y="1848"/>
                </a:cubicBezTo>
                <a:cubicBezTo>
                  <a:pt x="44" y="1848"/>
                  <a:pt x="44" y="1849"/>
                  <a:pt x="45" y="1850"/>
                </a:cubicBezTo>
                <a:cubicBezTo>
                  <a:pt x="45" y="1850"/>
                  <a:pt x="48" y="1851"/>
                  <a:pt x="53" y="1852"/>
                </a:cubicBezTo>
                <a:cubicBezTo>
                  <a:pt x="53" y="1853"/>
                  <a:pt x="53" y="1854"/>
                  <a:pt x="53" y="1855"/>
                </a:cubicBezTo>
                <a:lnTo>
                  <a:pt x="53" y="1855"/>
                </a:lnTo>
                <a:close/>
                <a:moveTo>
                  <a:pt x="137" y="1727"/>
                </a:moveTo>
                <a:lnTo>
                  <a:pt x="137" y="1727"/>
                </a:lnTo>
                <a:cubicBezTo>
                  <a:pt x="136" y="1727"/>
                  <a:pt x="135" y="1726"/>
                  <a:pt x="135" y="1723"/>
                </a:cubicBezTo>
                <a:cubicBezTo>
                  <a:pt x="135" y="1723"/>
                  <a:pt x="135" y="1722"/>
                  <a:pt x="136" y="1722"/>
                </a:cubicBezTo>
                <a:cubicBezTo>
                  <a:pt x="136" y="1721"/>
                  <a:pt x="136" y="1721"/>
                  <a:pt x="136" y="1721"/>
                </a:cubicBezTo>
                <a:cubicBezTo>
                  <a:pt x="137" y="1721"/>
                  <a:pt x="137" y="1720"/>
                  <a:pt x="137" y="1720"/>
                </a:cubicBezTo>
                <a:lnTo>
                  <a:pt x="139" y="1721"/>
                </a:lnTo>
                <a:cubicBezTo>
                  <a:pt x="139" y="1721"/>
                  <a:pt x="139" y="1721"/>
                  <a:pt x="139" y="1721"/>
                </a:cubicBezTo>
                <a:cubicBezTo>
                  <a:pt x="140" y="1721"/>
                  <a:pt x="141" y="1722"/>
                  <a:pt x="142" y="1723"/>
                </a:cubicBezTo>
                <a:cubicBezTo>
                  <a:pt x="142" y="1724"/>
                  <a:pt x="142" y="1725"/>
                  <a:pt x="141" y="1726"/>
                </a:cubicBezTo>
                <a:cubicBezTo>
                  <a:pt x="139" y="1727"/>
                  <a:pt x="138" y="1727"/>
                  <a:pt x="137" y="1727"/>
                </a:cubicBezTo>
                <a:lnTo>
                  <a:pt x="137" y="1727"/>
                </a:lnTo>
                <a:close/>
                <a:moveTo>
                  <a:pt x="119" y="1292"/>
                </a:moveTo>
                <a:lnTo>
                  <a:pt x="119" y="1292"/>
                </a:lnTo>
                <a:cubicBezTo>
                  <a:pt x="121" y="1294"/>
                  <a:pt x="122" y="1295"/>
                  <a:pt x="122" y="1296"/>
                </a:cubicBezTo>
                <a:cubicBezTo>
                  <a:pt x="122" y="1298"/>
                  <a:pt x="120" y="1299"/>
                  <a:pt x="118" y="1300"/>
                </a:cubicBezTo>
                <a:cubicBezTo>
                  <a:pt x="118" y="1300"/>
                  <a:pt x="117" y="1300"/>
                  <a:pt x="116" y="1300"/>
                </a:cubicBezTo>
                <a:cubicBezTo>
                  <a:pt x="115" y="1300"/>
                  <a:pt x="114" y="1299"/>
                  <a:pt x="113" y="1296"/>
                </a:cubicBezTo>
                <a:cubicBezTo>
                  <a:pt x="112" y="1295"/>
                  <a:pt x="112" y="1293"/>
                  <a:pt x="112" y="1292"/>
                </a:cubicBezTo>
                <a:cubicBezTo>
                  <a:pt x="112" y="1291"/>
                  <a:pt x="112" y="1291"/>
                  <a:pt x="113" y="1290"/>
                </a:cubicBezTo>
                <a:cubicBezTo>
                  <a:pt x="113" y="1290"/>
                  <a:pt x="113" y="1290"/>
                  <a:pt x="114" y="1290"/>
                </a:cubicBezTo>
                <a:cubicBezTo>
                  <a:pt x="114" y="1290"/>
                  <a:pt x="115" y="1290"/>
                  <a:pt x="116" y="1291"/>
                </a:cubicBezTo>
                <a:cubicBezTo>
                  <a:pt x="117" y="1291"/>
                  <a:pt x="118" y="1292"/>
                  <a:pt x="119" y="1292"/>
                </a:cubicBezTo>
                <a:lnTo>
                  <a:pt x="119" y="1292"/>
                </a:lnTo>
                <a:close/>
                <a:moveTo>
                  <a:pt x="144" y="1303"/>
                </a:moveTo>
                <a:lnTo>
                  <a:pt x="144" y="1303"/>
                </a:lnTo>
                <a:cubicBezTo>
                  <a:pt x="144" y="1304"/>
                  <a:pt x="143" y="1305"/>
                  <a:pt x="142" y="1306"/>
                </a:cubicBezTo>
                <a:lnTo>
                  <a:pt x="139" y="1306"/>
                </a:lnTo>
                <a:lnTo>
                  <a:pt x="139" y="1304"/>
                </a:lnTo>
                <a:cubicBezTo>
                  <a:pt x="140" y="1303"/>
                  <a:pt x="141" y="1302"/>
                  <a:pt x="141" y="1300"/>
                </a:cubicBezTo>
                <a:cubicBezTo>
                  <a:pt x="141" y="1299"/>
                  <a:pt x="141" y="1299"/>
                  <a:pt x="141" y="1299"/>
                </a:cubicBezTo>
                <a:cubicBezTo>
                  <a:pt x="142" y="1299"/>
                  <a:pt x="142" y="1298"/>
                  <a:pt x="142" y="1298"/>
                </a:cubicBezTo>
                <a:cubicBezTo>
                  <a:pt x="142" y="1298"/>
                  <a:pt x="142" y="1298"/>
                  <a:pt x="142" y="1299"/>
                </a:cubicBezTo>
                <a:cubicBezTo>
                  <a:pt x="142" y="1299"/>
                  <a:pt x="143" y="1299"/>
                  <a:pt x="143" y="1300"/>
                </a:cubicBezTo>
                <a:cubicBezTo>
                  <a:pt x="144" y="1301"/>
                  <a:pt x="144" y="1302"/>
                  <a:pt x="144" y="1303"/>
                </a:cubicBezTo>
                <a:lnTo>
                  <a:pt x="144" y="1303"/>
                </a:lnTo>
                <a:close/>
                <a:moveTo>
                  <a:pt x="173" y="1282"/>
                </a:moveTo>
                <a:lnTo>
                  <a:pt x="173" y="1282"/>
                </a:lnTo>
                <a:lnTo>
                  <a:pt x="175" y="1283"/>
                </a:lnTo>
                <a:lnTo>
                  <a:pt x="178" y="1284"/>
                </a:lnTo>
                <a:cubicBezTo>
                  <a:pt x="178" y="1285"/>
                  <a:pt x="178" y="1285"/>
                  <a:pt x="177" y="1286"/>
                </a:cubicBezTo>
                <a:cubicBezTo>
                  <a:pt x="177" y="1287"/>
                  <a:pt x="176" y="1287"/>
                  <a:pt x="175" y="1288"/>
                </a:cubicBezTo>
                <a:cubicBezTo>
                  <a:pt x="173" y="1290"/>
                  <a:pt x="172" y="1290"/>
                  <a:pt x="170" y="1290"/>
                </a:cubicBezTo>
                <a:cubicBezTo>
                  <a:pt x="168" y="1290"/>
                  <a:pt x="167" y="1289"/>
                  <a:pt x="168" y="1287"/>
                </a:cubicBezTo>
                <a:cubicBezTo>
                  <a:pt x="168" y="1286"/>
                  <a:pt x="168" y="1285"/>
                  <a:pt x="169" y="1284"/>
                </a:cubicBezTo>
                <a:cubicBezTo>
                  <a:pt x="170" y="1284"/>
                  <a:pt x="171" y="1283"/>
                  <a:pt x="172" y="1283"/>
                </a:cubicBezTo>
                <a:cubicBezTo>
                  <a:pt x="172" y="1282"/>
                  <a:pt x="173" y="1283"/>
                  <a:pt x="173" y="1282"/>
                </a:cubicBezTo>
                <a:lnTo>
                  <a:pt x="173" y="1282"/>
                </a:lnTo>
                <a:close/>
                <a:moveTo>
                  <a:pt x="239" y="1185"/>
                </a:moveTo>
                <a:lnTo>
                  <a:pt x="239" y="1185"/>
                </a:lnTo>
                <a:cubicBezTo>
                  <a:pt x="241" y="1186"/>
                  <a:pt x="242" y="1187"/>
                  <a:pt x="241" y="1189"/>
                </a:cubicBezTo>
                <a:cubicBezTo>
                  <a:pt x="241" y="1190"/>
                  <a:pt x="240" y="1191"/>
                  <a:pt x="236" y="1191"/>
                </a:cubicBezTo>
                <a:cubicBezTo>
                  <a:pt x="235" y="1190"/>
                  <a:pt x="234" y="1190"/>
                  <a:pt x="233" y="1190"/>
                </a:cubicBezTo>
                <a:cubicBezTo>
                  <a:pt x="233" y="1190"/>
                  <a:pt x="232" y="1189"/>
                  <a:pt x="232" y="1189"/>
                </a:cubicBezTo>
                <a:cubicBezTo>
                  <a:pt x="232" y="1188"/>
                  <a:pt x="233" y="1187"/>
                  <a:pt x="234" y="1186"/>
                </a:cubicBezTo>
                <a:cubicBezTo>
                  <a:pt x="235" y="1185"/>
                  <a:pt x="236" y="1185"/>
                  <a:pt x="237" y="1185"/>
                </a:cubicBezTo>
                <a:cubicBezTo>
                  <a:pt x="237" y="1185"/>
                  <a:pt x="238" y="1185"/>
                  <a:pt x="239" y="1185"/>
                </a:cubicBezTo>
                <a:lnTo>
                  <a:pt x="239" y="1185"/>
                </a:lnTo>
                <a:close/>
                <a:moveTo>
                  <a:pt x="227" y="1214"/>
                </a:moveTo>
                <a:lnTo>
                  <a:pt x="227" y="1214"/>
                </a:lnTo>
                <a:cubicBezTo>
                  <a:pt x="225" y="1216"/>
                  <a:pt x="224" y="1217"/>
                  <a:pt x="222" y="1217"/>
                </a:cubicBezTo>
                <a:cubicBezTo>
                  <a:pt x="221" y="1217"/>
                  <a:pt x="220" y="1216"/>
                  <a:pt x="220" y="1215"/>
                </a:cubicBezTo>
                <a:cubicBezTo>
                  <a:pt x="220" y="1214"/>
                  <a:pt x="221" y="1213"/>
                  <a:pt x="222" y="1213"/>
                </a:cubicBezTo>
                <a:cubicBezTo>
                  <a:pt x="223" y="1212"/>
                  <a:pt x="224" y="1212"/>
                  <a:pt x="224" y="1212"/>
                </a:cubicBezTo>
                <a:cubicBezTo>
                  <a:pt x="225" y="1212"/>
                  <a:pt x="226" y="1212"/>
                  <a:pt x="226" y="1212"/>
                </a:cubicBezTo>
                <a:cubicBezTo>
                  <a:pt x="227" y="1213"/>
                  <a:pt x="227" y="1213"/>
                  <a:pt x="227" y="1214"/>
                </a:cubicBezTo>
                <a:lnTo>
                  <a:pt x="227" y="1214"/>
                </a:lnTo>
                <a:close/>
                <a:moveTo>
                  <a:pt x="377" y="959"/>
                </a:moveTo>
                <a:lnTo>
                  <a:pt x="377" y="959"/>
                </a:lnTo>
                <a:cubicBezTo>
                  <a:pt x="377" y="958"/>
                  <a:pt x="377" y="958"/>
                  <a:pt x="377" y="958"/>
                </a:cubicBezTo>
                <a:lnTo>
                  <a:pt x="377" y="958"/>
                </a:lnTo>
                <a:cubicBezTo>
                  <a:pt x="377" y="958"/>
                  <a:pt x="377" y="958"/>
                  <a:pt x="377" y="959"/>
                </a:cubicBezTo>
                <a:lnTo>
                  <a:pt x="377" y="959"/>
                </a:lnTo>
                <a:close/>
                <a:moveTo>
                  <a:pt x="371" y="953"/>
                </a:moveTo>
                <a:lnTo>
                  <a:pt x="371" y="953"/>
                </a:lnTo>
                <a:cubicBezTo>
                  <a:pt x="374" y="953"/>
                  <a:pt x="376" y="954"/>
                  <a:pt x="377" y="956"/>
                </a:cubicBezTo>
                <a:cubicBezTo>
                  <a:pt x="377" y="957"/>
                  <a:pt x="378" y="957"/>
                  <a:pt x="377" y="958"/>
                </a:cubicBezTo>
                <a:cubicBezTo>
                  <a:pt x="377" y="957"/>
                  <a:pt x="377" y="957"/>
                  <a:pt x="377" y="956"/>
                </a:cubicBezTo>
                <a:cubicBezTo>
                  <a:pt x="377" y="957"/>
                  <a:pt x="377" y="957"/>
                  <a:pt x="377" y="958"/>
                </a:cubicBezTo>
                <a:cubicBezTo>
                  <a:pt x="377" y="958"/>
                  <a:pt x="377" y="958"/>
                  <a:pt x="377" y="959"/>
                </a:cubicBezTo>
                <a:cubicBezTo>
                  <a:pt x="376" y="959"/>
                  <a:pt x="376" y="960"/>
                  <a:pt x="376" y="961"/>
                </a:cubicBezTo>
                <a:cubicBezTo>
                  <a:pt x="376" y="961"/>
                  <a:pt x="376" y="961"/>
                  <a:pt x="377" y="962"/>
                </a:cubicBezTo>
                <a:cubicBezTo>
                  <a:pt x="375" y="965"/>
                  <a:pt x="373" y="968"/>
                  <a:pt x="372" y="970"/>
                </a:cubicBezTo>
                <a:cubicBezTo>
                  <a:pt x="369" y="975"/>
                  <a:pt x="366" y="977"/>
                  <a:pt x="363" y="976"/>
                </a:cubicBezTo>
                <a:cubicBezTo>
                  <a:pt x="360" y="976"/>
                  <a:pt x="359" y="975"/>
                  <a:pt x="360" y="971"/>
                </a:cubicBezTo>
                <a:cubicBezTo>
                  <a:pt x="358" y="973"/>
                  <a:pt x="357" y="974"/>
                  <a:pt x="357" y="974"/>
                </a:cubicBezTo>
                <a:cubicBezTo>
                  <a:pt x="356" y="975"/>
                  <a:pt x="355" y="975"/>
                  <a:pt x="353" y="975"/>
                </a:cubicBezTo>
                <a:cubicBezTo>
                  <a:pt x="352" y="975"/>
                  <a:pt x="350" y="973"/>
                  <a:pt x="349" y="971"/>
                </a:cubicBezTo>
                <a:cubicBezTo>
                  <a:pt x="347" y="968"/>
                  <a:pt x="347" y="966"/>
                  <a:pt x="347" y="964"/>
                </a:cubicBezTo>
                <a:cubicBezTo>
                  <a:pt x="347" y="962"/>
                  <a:pt x="350" y="960"/>
                  <a:pt x="356" y="957"/>
                </a:cubicBezTo>
                <a:cubicBezTo>
                  <a:pt x="362" y="954"/>
                  <a:pt x="368" y="953"/>
                  <a:pt x="371" y="953"/>
                </a:cubicBezTo>
                <a:lnTo>
                  <a:pt x="371" y="953"/>
                </a:lnTo>
                <a:close/>
                <a:moveTo>
                  <a:pt x="116" y="1474"/>
                </a:moveTo>
                <a:lnTo>
                  <a:pt x="116" y="1474"/>
                </a:lnTo>
                <a:lnTo>
                  <a:pt x="117" y="1475"/>
                </a:lnTo>
                <a:cubicBezTo>
                  <a:pt x="117" y="1475"/>
                  <a:pt x="117" y="1475"/>
                  <a:pt x="117" y="1475"/>
                </a:cubicBezTo>
                <a:lnTo>
                  <a:pt x="116" y="1474"/>
                </a:lnTo>
                <a:lnTo>
                  <a:pt x="116" y="1474"/>
                </a:lnTo>
                <a:close/>
                <a:moveTo>
                  <a:pt x="164" y="1615"/>
                </a:moveTo>
                <a:lnTo>
                  <a:pt x="164" y="1615"/>
                </a:ln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lnTo>
                  <a:pt x="164" y="1615"/>
                </a:lnTo>
                <a:close/>
                <a:moveTo>
                  <a:pt x="375" y="50"/>
                </a:moveTo>
                <a:lnTo>
                  <a:pt x="375" y="50"/>
                </a:lnTo>
                <a:cubicBezTo>
                  <a:pt x="375" y="46"/>
                  <a:pt x="376" y="43"/>
                  <a:pt x="378" y="41"/>
                </a:cubicBezTo>
                <a:cubicBezTo>
                  <a:pt x="380" y="41"/>
                  <a:pt x="384" y="40"/>
                  <a:pt x="390" y="41"/>
                </a:cubicBezTo>
                <a:cubicBezTo>
                  <a:pt x="391" y="41"/>
                  <a:pt x="392" y="40"/>
                  <a:pt x="394" y="38"/>
                </a:cubicBezTo>
                <a:cubicBezTo>
                  <a:pt x="395" y="35"/>
                  <a:pt x="396" y="34"/>
                  <a:pt x="396" y="33"/>
                </a:cubicBezTo>
                <a:cubicBezTo>
                  <a:pt x="398" y="32"/>
                  <a:pt x="402" y="32"/>
                  <a:pt x="408" y="33"/>
                </a:cubicBezTo>
                <a:cubicBezTo>
                  <a:pt x="411" y="33"/>
                  <a:pt x="415" y="34"/>
                  <a:pt x="422" y="35"/>
                </a:cubicBezTo>
                <a:cubicBezTo>
                  <a:pt x="428" y="35"/>
                  <a:pt x="430" y="32"/>
                  <a:pt x="429" y="27"/>
                </a:cubicBezTo>
                <a:cubicBezTo>
                  <a:pt x="428" y="22"/>
                  <a:pt x="430" y="19"/>
                  <a:pt x="435" y="17"/>
                </a:cubicBezTo>
                <a:cubicBezTo>
                  <a:pt x="440" y="14"/>
                  <a:pt x="443" y="12"/>
                  <a:pt x="443" y="10"/>
                </a:cubicBezTo>
                <a:cubicBezTo>
                  <a:pt x="443" y="9"/>
                  <a:pt x="443" y="7"/>
                  <a:pt x="442" y="5"/>
                </a:cubicBezTo>
                <a:cubicBezTo>
                  <a:pt x="443" y="3"/>
                  <a:pt x="445" y="1"/>
                  <a:pt x="449" y="1"/>
                </a:cubicBezTo>
                <a:cubicBezTo>
                  <a:pt x="451" y="1"/>
                  <a:pt x="455" y="0"/>
                  <a:pt x="458" y="0"/>
                </a:cubicBezTo>
                <a:lnTo>
                  <a:pt x="460" y="1"/>
                </a:lnTo>
                <a:cubicBezTo>
                  <a:pt x="461" y="2"/>
                  <a:pt x="463" y="4"/>
                  <a:pt x="464" y="6"/>
                </a:cubicBezTo>
                <a:cubicBezTo>
                  <a:pt x="471" y="14"/>
                  <a:pt x="475" y="21"/>
                  <a:pt x="478" y="25"/>
                </a:cubicBezTo>
                <a:cubicBezTo>
                  <a:pt x="481" y="31"/>
                  <a:pt x="487" y="35"/>
                  <a:pt x="495" y="35"/>
                </a:cubicBezTo>
                <a:cubicBezTo>
                  <a:pt x="499" y="35"/>
                  <a:pt x="502" y="37"/>
                  <a:pt x="504" y="40"/>
                </a:cubicBezTo>
                <a:cubicBezTo>
                  <a:pt x="506" y="45"/>
                  <a:pt x="508" y="48"/>
                  <a:pt x="509" y="49"/>
                </a:cubicBezTo>
                <a:cubicBezTo>
                  <a:pt x="525" y="50"/>
                  <a:pt x="541" y="53"/>
                  <a:pt x="556" y="59"/>
                </a:cubicBezTo>
                <a:cubicBezTo>
                  <a:pt x="558" y="60"/>
                  <a:pt x="560" y="63"/>
                  <a:pt x="561" y="69"/>
                </a:cubicBezTo>
                <a:cubicBezTo>
                  <a:pt x="563" y="76"/>
                  <a:pt x="563" y="80"/>
                  <a:pt x="564" y="80"/>
                </a:cubicBezTo>
                <a:cubicBezTo>
                  <a:pt x="571" y="89"/>
                  <a:pt x="575" y="95"/>
                  <a:pt x="574" y="98"/>
                </a:cubicBezTo>
                <a:cubicBezTo>
                  <a:pt x="574" y="100"/>
                  <a:pt x="574" y="102"/>
                  <a:pt x="573" y="104"/>
                </a:cubicBezTo>
                <a:cubicBezTo>
                  <a:pt x="572" y="106"/>
                  <a:pt x="571" y="109"/>
                  <a:pt x="570" y="114"/>
                </a:cubicBezTo>
                <a:cubicBezTo>
                  <a:pt x="569" y="123"/>
                  <a:pt x="568" y="128"/>
                  <a:pt x="566" y="130"/>
                </a:cubicBezTo>
                <a:cubicBezTo>
                  <a:pt x="561" y="136"/>
                  <a:pt x="558" y="140"/>
                  <a:pt x="556" y="142"/>
                </a:cubicBezTo>
                <a:cubicBezTo>
                  <a:pt x="553" y="146"/>
                  <a:pt x="552" y="150"/>
                  <a:pt x="551" y="155"/>
                </a:cubicBezTo>
                <a:cubicBezTo>
                  <a:pt x="550" y="162"/>
                  <a:pt x="550" y="167"/>
                  <a:pt x="551" y="170"/>
                </a:cubicBezTo>
                <a:cubicBezTo>
                  <a:pt x="551" y="173"/>
                  <a:pt x="552" y="175"/>
                  <a:pt x="554" y="178"/>
                </a:cubicBezTo>
                <a:cubicBezTo>
                  <a:pt x="556" y="179"/>
                  <a:pt x="559" y="183"/>
                  <a:pt x="564" y="188"/>
                </a:cubicBezTo>
                <a:cubicBezTo>
                  <a:pt x="564" y="188"/>
                  <a:pt x="564" y="189"/>
                  <a:pt x="564" y="189"/>
                </a:cubicBezTo>
                <a:cubicBezTo>
                  <a:pt x="563" y="189"/>
                  <a:pt x="562" y="190"/>
                  <a:pt x="561" y="190"/>
                </a:cubicBezTo>
                <a:cubicBezTo>
                  <a:pt x="554" y="195"/>
                  <a:pt x="548" y="200"/>
                  <a:pt x="543" y="206"/>
                </a:cubicBezTo>
                <a:cubicBezTo>
                  <a:pt x="540" y="209"/>
                  <a:pt x="538" y="211"/>
                  <a:pt x="536" y="213"/>
                </a:cubicBezTo>
                <a:cubicBezTo>
                  <a:pt x="536" y="214"/>
                  <a:pt x="535" y="214"/>
                  <a:pt x="535" y="214"/>
                </a:cubicBezTo>
                <a:cubicBezTo>
                  <a:pt x="536" y="215"/>
                  <a:pt x="537" y="215"/>
                  <a:pt x="539" y="216"/>
                </a:cubicBezTo>
                <a:cubicBezTo>
                  <a:pt x="542" y="216"/>
                  <a:pt x="545" y="216"/>
                  <a:pt x="549" y="215"/>
                </a:cubicBezTo>
                <a:cubicBezTo>
                  <a:pt x="556" y="216"/>
                  <a:pt x="558" y="222"/>
                  <a:pt x="557" y="234"/>
                </a:cubicBezTo>
                <a:cubicBezTo>
                  <a:pt x="556" y="239"/>
                  <a:pt x="554" y="248"/>
                  <a:pt x="550" y="260"/>
                </a:cubicBezTo>
                <a:cubicBezTo>
                  <a:pt x="547" y="271"/>
                  <a:pt x="545" y="277"/>
                  <a:pt x="545" y="278"/>
                </a:cubicBezTo>
                <a:cubicBezTo>
                  <a:pt x="545" y="282"/>
                  <a:pt x="548" y="292"/>
                  <a:pt x="554" y="306"/>
                </a:cubicBezTo>
                <a:cubicBezTo>
                  <a:pt x="558" y="313"/>
                  <a:pt x="561" y="320"/>
                  <a:pt x="565" y="327"/>
                </a:cubicBezTo>
                <a:cubicBezTo>
                  <a:pt x="568" y="337"/>
                  <a:pt x="574" y="343"/>
                  <a:pt x="582" y="346"/>
                </a:cubicBezTo>
                <a:cubicBezTo>
                  <a:pt x="585" y="347"/>
                  <a:pt x="589" y="348"/>
                  <a:pt x="596" y="351"/>
                </a:cubicBezTo>
                <a:cubicBezTo>
                  <a:pt x="601" y="353"/>
                  <a:pt x="606" y="354"/>
                  <a:pt x="610" y="354"/>
                </a:cubicBezTo>
                <a:cubicBezTo>
                  <a:pt x="616" y="355"/>
                  <a:pt x="620" y="357"/>
                  <a:pt x="622" y="361"/>
                </a:cubicBezTo>
                <a:cubicBezTo>
                  <a:pt x="624" y="363"/>
                  <a:pt x="626" y="367"/>
                  <a:pt x="628" y="373"/>
                </a:cubicBezTo>
                <a:cubicBezTo>
                  <a:pt x="630" y="376"/>
                  <a:pt x="635" y="384"/>
                  <a:pt x="645" y="395"/>
                </a:cubicBezTo>
                <a:cubicBezTo>
                  <a:pt x="651" y="402"/>
                  <a:pt x="658" y="408"/>
                  <a:pt x="668" y="412"/>
                </a:cubicBezTo>
                <a:cubicBezTo>
                  <a:pt x="671" y="414"/>
                  <a:pt x="674" y="417"/>
                  <a:pt x="675" y="423"/>
                </a:cubicBezTo>
                <a:cubicBezTo>
                  <a:pt x="675" y="427"/>
                  <a:pt x="675" y="430"/>
                  <a:pt x="676" y="432"/>
                </a:cubicBezTo>
                <a:cubicBezTo>
                  <a:pt x="676" y="433"/>
                  <a:pt x="677" y="434"/>
                  <a:pt x="677" y="435"/>
                </a:cubicBezTo>
                <a:cubicBezTo>
                  <a:pt x="678" y="437"/>
                  <a:pt x="678" y="440"/>
                  <a:pt x="678" y="442"/>
                </a:cubicBezTo>
                <a:cubicBezTo>
                  <a:pt x="677" y="448"/>
                  <a:pt x="673" y="458"/>
                  <a:pt x="665" y="471"/>
                </a:cubicBezTo>
                <a:cubicBezTo>
                  <a:pt x="658" y="484"/>
                  <a:pt x="654" y="495"/>
                  <a:pt x="654" y="505"/>
                </a:cubicBezTo>
                <a:cubicBezTo>
                  <a:pt x="654" y="511"/>
                  <a:pt x="651" y="521"/>
                  <a:pt x="645" y="536"/>
                </a:cubicBezTo>
                <a:cubicBezTo>
                  <a:pt x="639" y="552"/>
                  <a:pt x="636" y="563"/>
                  <a:pt x="636" y="569"/>
                </a:cubicBezTo>
                <a:cubicBezTo>
                  <a:pt x="635" y="579"/>
                  <a:pt x="639" y="589"/>
                  <a:pt x="649" y="598"/>
                </a:cubicBezTo>
                <a:cubicBezTo>
                  <a:pt x="651" y="600"/>
                  <a:pt x="656" y="608"/>
                  <a:pt x="663" y="623"/>
                </a:cubicBezTo>
                <a:cubicBezTo>
                  <a:pt x="664" y="624"/>
                  <a:pt x="668" y="628"/>
                  <a:pt x="673" y="634"/>
                </a:cubicBezTo>
                <a:cubicBezTo>
                  <a:pt x="677" y="639"/>
                  <a:pt x="680" y="644"/>
                  <a:pt x="681" y="648"/>
                </a:cubicBezTo>
                <a:cubicBezTo>
                  <a:pt x="683" y="658"/>
                  <a:pt x="687" y="668"/>
                  <a:pt x="694" y="678"/>
                </a:cubicBezTo>
                <a:cubicBezTo>
                  <a:pt x="695" y="680"/>
                  <a:pt x="699" y="684"/>
                  <a:pt x="704" y="689"/>
                </a:cubicBezTo>
                <a:cubicBezTo>
                  <a:pt x="709" y="694"/>
                  <a:pt x="713" y="698"/>
                  <a:pt x="715" y="702"/>
                </a:cubicBezTo>
                <a:cubicBezTo>
                  <a:pt x="717" y="705"/>
                  <a:pt x="720" y="709"/>
                  <a:pt x="721" y="716"/>
                </a:cubicBezTo>
                <a:cubicBezTo>
                  <a:pt x="724" y="723"/>
                  <a:pt x="725" y="727"/>
                  <a:pt x="726" y="729"/>
                </a:cubicBezTo>
                <a:cubicBezTo>
                  <a:pt x="729" y="734"/>
                  <a:pt x="734" y="743"/>
                  <a:pt x="741" y="756"/>
                </a:cubicBezTo>
                <a:cubicBezTo>
                  <a:pt x="746" y="768"/>
                  <a:pt x="748" y="777"/>
                  <a:pt x="748" y="785"/>
                </a:cubicBezTo>
                <a:cubicBezTo>
                  <a:pt x="743" y="786"/>
                  <a:pt x="740" y="787"/>
                  <a:pt x="739" y="787"/>
                </a:cubicBezTo>
                <a:cubicBezTo>
                  <a:pt x="730" y="790"/>
                  <a:pt x="725" y="794"/>
                  <a:pt x="724" y="798"/>
                </a:cubicBezTo>
                <a:cubicBezTo>
                  <a:pt x="724" y="799"/>
                  <a:pt x="725" y="802"/>
                  <a:pt x="728" y="805"/>
                </a:cubicBezTo>
                <a:cubicBezTo>
                  <a:pt x="730" y="809"/>
                  <a:pt x="731" y="812"/>
                  <a:pt x="731" y="815"/>
                </a:cubicBezTo>
                <a:cubicBezTo>
                  <a:pt x="731" y="816"/>
                  <a:pt x="730" y="816"/>
                  <a:pt x="728" y="817"/>
                </a:cubicBezTo>
                <a:cubicBezTo>
                  <a:pt x="727" y="819"/>
                  <a:pt x="726" y="820"/>
                  <a:pt x="726" y="821"/>
                </a:cubicBezTo>
                <a:cubicBezTo>
                  <a:pt x="725" y="822"/>
                  <a:pt x="727" y="826"/>
                  <a:pt x="729" y="830"/>
                </a:cubicBezTo>
                <a:cubicBezTo>
                  <a:pt x="731" y="836"/>
                  <a:pt x="732" y="841"/>
                  <a:pt x="732" y="847"/>
                </a:cubicBezTo>
                <a:cubicBezTo>
                  <a:pt x="731" y="856"/>
                  <a:pt x="729" y="862"/>
                  <a:pt x="726" y="865"/>
                </a:cubicBezTo>
                <a:lnTo>
                  <a:pt x="726" y="871"/>
                </a:lnTo>
                <a:cubicBezTo>
                  <a:pt x="728" y="872"/>
                  <a:pt x="730" y="873"/>
                  <a:pt x="730" y="873"/>
                </a:cubicBezTo>
                <a:cubicBezTo>
                  <a:pt x="732" y="873"/>
                  <a:pt x="735" y="872"/>
                  <a:pt x="740" y="870"/>
                </a:cubicBezTo>
                <a:cubicBezTo>
                  <a:pt x="744" y="870"/>
                  <a:pt x="746" y="872"/>
                  <a:pt x="746" y="875"/>
                </a:cubicBezTo>
                <a:cubicBezTo>
                  <a:pt x="744" y="879"/>
                  <a:pt x="744" y="882"/>
                  <a:pt x="743" y="883"/>
                </a:cubicBezTo>
                <a:cubicBezTo>
                  <a:pt x="743" y="885"/>
                  <a:pt x="744" y="887"/>
                  <a:pt x="745" y="890"/>
                </a:cubicBezTo>
                <a:cubicBezTo>
                  <a:pt x="745" y="893"/>
                  <a:pt x="746" y="894"/>
                  <a:pt x="746" y="894"/>
                </a:cubicBezTo>
                <a:cubicBezTo>
                  <a:pt x="746" y="895"/>
                  <a:pt x="743" y="897"/>
                  <a:pt x="739" y="900"/>
                </a:cubicBezTo>
                <a:cubicBezTo>
                  <a:pt x="735" y="903"/>
                  <a:pt x="732" y="907"/>
                  <a:pt x="731" y="911"/>
                </a:cubicBezTo>
                <a:cubicBezTo>
                  <a:pt x="730" y="915"/>
                  <a:pt x="733" y="923"/>
                  <a:pt x="739" y="934"/>
                </a:cubicBezTo>
                <a:cubicBezTo>
                  <a:pt x="745" y="946"/>
                  <a:pt x="749" y="951"/>
                  <a:pt x="752" y="950"/>
                </a:cubicBezTo>
                <a:cubicBezTo>
                  <a:pt x="755" y="949"/>
                  <a:pt x="759" y="948"/>
                  <a:pt x="764" y="947"/>
                </a:cubicBezTo>
                <a:cubicBezTo>
                  <a:pt x="769" y="945"/>
                  <a:pt x="772" y="945"/>
                  <a:pt x="773" y="945"/>
                </a:cubicBezTo>
                <a:cubicBezTo>
                  <a:pt x="784" y="962"/>
                  <a:pt x="789" y="971"/>
                  <a:pt x="789" y="972"/>
                </a:cubicBezTo>
                <a:cubicBezTo>
                  <a:pt x="789" y="976"/>
                  <a:pt x="786" y="979"/>
                  <a:pt x="782" y="981"/>
                </a:cubicBezTo>
                <a:cubicBezTo>
                  <a:pt x="778" y="983"/>
                  <a:pt x="776" y="986"/>
                  <a:pt x="775" y="989"/>
                </a:cubicBezTo>
                <a:cubicBezTo>
                  <a:pt x="775" y="991"/>
                  <a:pt x="776" y="994"/>
                  <a:pt x="776" y="995"/>
                </a:cubicBezTo>
                <a:lnTo>
                  <a:pt x="776" y="995"/>
                </a:lnTo>
                <a:cubicBezTo>
                  <a:pt x="777" y="997"/>
                  <a:pt x="780" y="1000"/>
                  <a:pt x="783" y="1003"/>
                </a:cubicBezTo>
                <a:cubicBezTo>
                  <a:pt x="783" y="1007"/>
                  <a:pt x="782" y="1011"/>
                  <a:pt x="783" y="1013"/>
                </a:cubicBezTo>
                <a:cubicBezTo>
                  <a:pt x="784" y="1016"/>
                  <a:pt x="785" y="1018"/>
                  <a:pt x="788" y="1021"/>
                </a:cubicBezTo>
                <a:cubicBezTo>
                  <a:pt x="790" y="1023"/>
                  <a:pt x="796" y="1026"/>
                  <a:pt x="806" y="1028"/>
                </a:cubicBezTo>
                <a:cubicBezTo>
                  <a:pt x="808" y="1028"/>
                  <a:pt x="811" y="1030"/>
                  <a:pt x="815" y="1033"/>
                </a:cubicBezTo>
                <a:cubicBezTo>
                  <a:pt x="819" y="1036"/>
                  <a:pt x="822" y="1038"/>
                  <a:pt x="823" y="1038"/>
                </a:cubicBezTo>
                <a:cubicBezTo>
                  <a:pt x="824" y="1038"/>
                  <a:pt x="828" y="1040"/>
                  <a:pt x="833" y="1043"/>
                </a:cubicBezTo>
                <a:cubicBezTo>
                  <a:pt x="833" y="1048"/>
                  <a:pt x="833" y="1052"/>
                  <a:pt x="833" y="1055"/>
                </a:cubicBezTo>
                <a:cubicBezTo>
                  <a:pt x="834" y="1057"/>
                  <a:pt x="836" y="1059"/>
                  <a:pt x="838" y="1061"/>
                </a:cubicBezTo>
                <a:cubicBezTo>
                  <a:pt x="841" y="1065"/>
                  <a:pt x="842" y="1069"/>
                  <a:pt x="842" y="1071"/>
                </a:cubicBezTo>
                <a:cubicBezTo>
                  <a:pt x="841" y="1073"/>
                  <a:pt x="840" y="1076"/>
                  <a:pt x="838" y="1080"/>
                </a:cubicBezTo>
                <a:cubicBezTo>
                  <a:pt x="839" y="1081"/>
                  <a:pt x="838" y="1083"/>
                  <a:pt x="838" y="1085"/>
                </a:cubicBezTo>
                <a:cubicBezTo>
                  <a:pt x="837" y="1087"/>
                  <a:pt x="835" y="1090"/>
                  <a:pt x="833" y="1093"/>
                </a:cubicBezTo>
                <a:cubicBezTo>
                  <a:pt x="828" y="1101"/>
                  <a:pt x="825" y="1107"/>
                  <a:pt x="824" y="1112"/>
                </a:cubicBezTo>
                <a:cubicBezTo>
                  <a:pt x="822" y="1118"/>
                  <a:pt x="816" y="1127"/>
                  <a:pt x="804" y="1137"/>
                </a:cubicBezTo>
                <a:cubicBezTo>
                  <a:pt x="804" y="1140"/>
                  <a:pt x="810" y="1146"/>
                  <a:pt x="822" y="1156"/>
                </a:cubicBezTo>
                <a:cubicBezTo>
                  <a:pt x="826" y="1160"/>
                  <a:pt x="829" y="1163"/>
                  <a:pt x="831" y="1164"/>
                </a:cubicBezTo>
                <a:cubicBezTo>
                  <a:pt x="832" y="1165"/>
                  <a:pt x="835" y="1166"/>
                  <a:pt x="838" y="1166"/>
                </a:cubicBezTo>
                <a:cubicBezTo>
                  <a:pt x="841" y="1167"/>
                  <a:pt x="843" y="1168"/>
                  <a:pt x="844" y="1169"/>
                </a:cubicBezTo>
                <a:cubicBezTo>
                  <a:pt x="847" y="1172"/>
                  <a:pt x="850" y="1175"/>
                  <a:pt x="853" y="1179"/>
                </a:cubicBezTo>
                <a:cubicBezTo>
                  <a:pt x="856" y="1182"/>
                  <a:pt x="860" y="1183"/>
                  <a:pt x="865" y="1184"/>
                </a:cubicBezTo>
                <a:cubicBezTo>
                  <a:pt x="870" y="1184"/>
                  <a:pt x="875" y="1186"/>
                  <a:pt x="878" y="1189"/>
                </a:cubicBezTo>
                <a:cubicBezTo>
                  <a:pt x="881" y="1190"/>
                  <a:pt x="884" y="1193"/>
                  <a:pt x="888" y="1197"/>
                </a:cubicBezTo>
                <a:cubicBezTo>
                  <a:pt x="891" y="1200"/>
                  <a:pt x="895" y="1202"/>
                  <a:pt x="900" y="1204"/>
                </a:cubicBezTo>
                <a:cubicBezTo>
                  <a:pt x="908" y="1206"/>
                  <a:pt x="912" y="1208"/>
                  <a:pt x="913" y="1209"/>
                </a:cubicBezTo>
                <a:cubicBezTo>
                  <a:pt x="916" y="1210"/>
                  <a:pt x="919" y="1214"/>
                  <a:pt x="922" y="1220"/>
                </a:cubicBezTo>
                <a:cubicBezTo>
                  <a:pt x="925" y="1227"/>
                  <a:pt x="927" y="1231"/>
                  <a:pt x="928" y="1232"/>
                </a:cubicBezTo>
                <a:cubicBezTo>
                  <a:pt x="936" y="1237"/>
                  <a:pt x="946" y="1248"/>
                  <a:pt x="958" y="1262"/>
                </a:cubicBezTo>
                <a:cubicBezTo>
                  <a:pt x="958" y="1262"/>
                  <a:pt x="958" y="1262"/>
                  <a:pt x="958" y="1262"/>
                </a:cubicBezTo>
                <a:cubicBezTo>
                  <a:pt x="953" y="1275"/>
                  <a:pt x="950" y="1283"/>
                  <a:pt x="950" y="1285"/>
                </a:cubicBezTo>
                <a:cubicBezTo>
                  <a:pt x="950" y="1287"/>
                  <a:pt x="950" y="1295"/>
                  <a:pt x="950" y="1308"/>
                </a:cubicBezTo>
                <a:cubicBezTo>
                  <a:pt x="948" y="1326"/>
                  <a:pt x="943" y="1344"/>
                  <a:pt x="933" y="1363"/>
                </a:cubicBezTo>
                <a:cubicBezTo>
                  <a:pt x="927" y="1373"/>
                  <a:pt x="918" y="1388"/>
                  <a:pt x="906" y="1408"/>
                </a:cubicBezTo>
                <a:cubicBezTo>
                  <a:pt x="904" y="1414"/>
                  <a:pt x="902" y="1421"/>
                  <a:pt x="900" y="1426"/>
                </a:cubicBezTo>
                <a:cubicBezTo>
                  <a:pt x="895" y="1440"/>
                  <a:pt x="889" y="1450"/>
                  <a:pt x="883" y="1458"/>
                </a:cubicBezTo>
                <a:cubicBezTo>
                  <a:pt x="879" y="1464"/>
                  <a:pt x="873" y="1474"/>
                  <a:pt x="866" y="1488"/>
                </a:cubicBezTo>
                <a:cubicBezTo>
                  <a:pt x="860" y="1501"/>
                  <a:pt x="857" y="1508"/>
                  <a:pt x="857" y="1509"/>
                </a:cubicBezTo>
                <a:cubicBezTo>
                  <a:pt x="857" y="1510"/>
                  <a:pt x="856" y="1512"/>
                  <a:pt x="856" y="1513"/>
                </a:cubicBezTo>
                <a:cubicBezTo>
                  <a:pt x="855" y="1515"/>
                  <a:pt x="854" y="1517"/>
                  <a:pt x="853" y="1520"/>
                </a:cubicBezTo>
                <a:cubicBezTo>
                  <a:pt x="852" y="1523"/>
                  <a:pt x="851" y="1527"/>
                  <a:pt x="849" y="1532"/>
                </a:cubicBezTo>
                <a:cubicBezTo>
                  <a:pt x="847" y="1537"/>
                  <a:pt x="844" y="1540"/>
                  <a:pt x="841" y="1541"/>
                </a:cubicBezTo>
                <a:cubicBezTo>
                  <a:pt x="836" y="1543"/>
                  <a:pt x="832" y="1547"/>
                  <a:pt x="829" y="1554"/>
                </a:cubicBezTo>
                <a:cubicBezTo>
                  <a:pt x="828" y="1558"/>
                  <a:pt x="826" y="1564"/>
                  <a:pt x="823" y="1572"/>
                </a:cubicBezTo>
                <a:cubicBezTo>
                  <a:pt x="819" y="1582"/>
                  <a:pt x="812" y="1592"/>
                  <a:pt x="803" y="1602"/>
                </a:cubicBezTo>
                <a:cubicBezTo>
                  <a:pt x="793" y="1612"/>
                  <a:pt x="786" y="1620"/>
                  <a:pt x="783" y="1626"/>
                </a:cubicBezTo>
                <a:cubicBezTo>
                  <a:pt x="781" y="1631"/>
                  <a:pt x="778" y="1637"/>
                  <a:pt x="775" y="1644"/>
                </a:cubicBezTo>
                <a:cubicBezTo>
                  <a:pt x="772" y="1650"/>
                  <a:pt x="769" y="1653"/>
                  <a:pt x="766" y="1655"/>
                </a:cubicBezTo>
                <a:cubicBezTo>
                  <a:pt x="759" y="1657"/>
                  <a:pt x="755" y="1661"/>
                  <a:pt x="753" y="1668"/>
                </a:cubicBezTo>
                <a:cubicBezTo>
                  <a:pt x="752" y="1671"/>
                  <a:pt x="750" y="1677"/>
                  <a:pt x="748" y="1684"/>
                </a:cubicBezTo>
                <a:cubicBezTo>
                  <a:pt x="742" y="1693"/>
                  <a:pt x="736" y="1702"/>
                  <a:pt x="730" y="1710"/>
                </a:cubicBezTo>
                <a:cubicBezTo>
                  <a:pt x="718" y="1727"/>
                  <a:pt x="712" y="1739"/>
                  <a:pt x="711" y="1745"/>
                </a:cubicBezTo>
                <a:cubicBezTo>
                  <a:pt x="711" y="1746"/>
                  <a:pt x="711" y="1748"/>
                  <a:pt x="711" y="1748"/>
                </a:cubicBezTo>
                <a:cubicBezTo>
                  <a:pt x="711" y="1748"/>
                  <a:pt x="712" y="1748"/>
                  <a:pt x="712" y="1748"/>
                </a:cubicBezTo>
                <a:cubicBezTo>
                  <a:pt x="711" y="1749"/>
                  <a:pt x="711" y="1749"/>
                  <a:pt x="711" y="1750"/>
                </a:cubicBezTo>
                <a:cubicBezTo>
                  <a:pt x="710" y="1754"/>
                  <a:pt x="707" y="1756"/>
                  <a:pt x="702" y="1756"/>
                </a:cubicBezTo>
                <a:cubicBezTo>
                  <a:pt x="699" y="1754"/>
                  <a:pt x="696" y="1753"/>
                  <a:pt x="695" y="1753"/>
                </a:cubicBezTo>
                <a:cubicBezTo>
                  <a:pt x="693" y="1753"/>
                  <a:pt x="692" y="1754"/>
                  <a:pt x="691" y="1755"/>
                </a:cubicBezTo>
                <a:cubicBezTo>
                  <a:pt x="690" y="1757"/>
                  <a:pt x="688" y="1758"/>
                  <a:pt x="687" y="1758"/>
                </a:cubicBezTo>
                <a:cubicBezTo>
                  <a:pt x="682" y="1755"/>
                  <a:pt x="678" y="1754"/>
                  <a:pt x="677" y="1754"/>
                </a:cubicBezTo>
                <a:cubicBezTo>
                  <a:pt x="672" y="1753"/>
                  <a:pt x="669" y="1752"/>
                  <a:pt x="668" y="1751"/>
                </a:cubicBezTo>
                <a:cubicBezTo>
                  <a:pt x="667" y="1749"/>
                  <a:pt x="666" y="1748"/>
                  <a:pt x="665" y="1747"/>
                </a:cubicBezTo>
                <a:cubicBezTo>
                  <a:pt x="664" y="1746"/>
                  <a:pt x="663" y="1745"/>
                  <a:pt x="661" y="1745"/>
                </a:cubicBezTo>
                <a:lnTo>
                  <a:pt x="661" y="1749"/>
                </a:lnTo>
                <a:cubicBezTo>
                  <a:pt x="662" y="1750"/>
                  <a:pt x="662" y="1751"/>
                  <a:pt x="662" y="1751"/>
                </a:cubicBezTo>
                <a:cubicBezTo>
                  <a:pt x="662" y="1752"/>
                  <a:pt x="661" y="1753"/>
                  <a:pt x="660" y="1754"/>
                </a:cubicBezTo>
                <a:cubicBezTo>
                  <a:pt x="658" y="1755"/>
                  <a:pt x="657" y="1755"/>
                  <a:pt x="656" y="1755"/>
                </a:cubicBezTo>
                <a:cubicBezTo>
                  <a:pt x="653" y="1755"/>
                  <a:pt x="651" y="1755"/>
                  <a:pt x="650" y="1755"/>
                </a:cubicBezTo>
                <a:cubicBezTo>
                  <a:pt x="650" y="1755"/>
                  <a:pt x="649" y="1757"/>
                  <a:pt x="647" y="1760"/>
                </a:cubicBezTo>
                <a:cubicBezTo>
                  <a:pt x="646" y="1762"/>
                  <a:pt x="645" y="1763"/>
                  <a:pt x="642" y="1763"/>
                </a:cubicBezTo>
                <a:cubicBezTo>
                  <a:pt x="639" y="1764"/>
                  <a:pt x="638" y="1764"/>
                  <a:pt x="636" y="1765"/>
                </a:cubicBezTo>
                <a:cubicBezTo>
                  <a:pt x="632" y="1766"/>
                  <a:pt x="629" y="1767"/>
                  <a:pt x="626" y="1769"/>
                </a:cubicBezTo>
                <a:cubicBezTo>
                  <a:pt x="622" y="1774"/>
                  <a:pt x="619" y="1777"/>
                  <a:pt x="618" y="1777"/>
                </a:cubicBezTo>
                <a:cubicBezTo>
                  <a:pt x="618" y="1777"/>
                  <a:pt x="617" y="1776"/>
                  <a:pt x="616" y="1774"/>
                </a:cubicBezTo>
                <a:cubicBezTo>
                  <a:pt x="614" y="1773"/>
                  <a:pt x="614" y="1772"/>
                  <a:pt x="613" y="1772"/>
                </a:cubicBezTo>
                <a:cubicBezTo>
                  <a:pt x="612" y="1772"/>
                  <a:pt x="611" y="1772"/>
                  <a:pt x="610" y="1773"/>
                </a:cubicBezTo>
                <a:cubicBezTo>
                  <a:pt x="609" y="1774"/>
                  <a:pt x="608" y="1774"/>
                  <a:pt x="607" y="1774"/>
                </a:cubicBezTo>
                <a:cubicBezTo>
                  <a:pt x="606" y="1774"/>
                  <a:pt x="605" y="1773"/>
                  <a:pt x="604" y="1772"/>
                </a:cubicBezTo>
                <a:cubicBezTo>
                  <a:pt x="602" y="1771"/>
                  <a:pt x="602" y="1771"/>
                  <a:pt x="601" y="1770"/>
                </a:cubicBezTo>
                <a:cubicBezTo>
                  <a:pt x="599" y="1770"/>
                  <a:pt x="598" y="1773"/>
                  <a:pt x="596" y="1778"/>
                </a:cubicBezTo>
                <a:cubicBezTo>
                  <a:pt x="594" y="1782"/>
                  <a:pt x="592" y="1784"/>
                  <a:pt x="589" y="1784"/>
                </a:cubicBezTo>
                <a:cubicBezTo>
                  <a:pt x="588" y="1784"/>
                  <a:pt x="586" y="1783"/>
                  <a:pt x="585" y="1782"/>
                </a:cubicBezTo>
                <a:cubicBezTo>
                  <a:pt x="583" y="1779"/>
                  <a:pt x="581" y="1778"/>
                  <a:pt x="581" y="1778"/>
                </a:cubicBezTo>
                <a:cubicBezTo>
                  <a:pt x="581" y="1778"/>
                  <a:pt x="580" y="1779"/>
                  <a:pt x="580" y="1779"/>
                </a:cubicBezTo>
                <a:cubicBezTo>
                  <a:pt x="580" y="1782"/>
                  <a:pt x="579" y="1784"/>
                  <a:pt x="579" y="1784"/>
                </a:cubicBezTo>
                <a:cubicBezTo>
                  <a:pt x="578" y="1785"/>
                  <a:pt x="577" y="1786"/>
                  <a:pt x="574" y="1785"/>
                </a:cubicBezTo>
                <a:cubicBezTo>
                  <a:pt x="570" y="1784"/>
                  <a:pt x="567" y="1783"/>
                  <a:pt x="566" y="1782"/>
                </a:cubicBezTo>
                <a:lnTo>
                  <a:pt x="562" y="1782"/>
                </a:lnTo>
                <a:lnTo>
                  <a:pt x="562" y="1784"/>
                </a:lnTo>
                <a:cubicBezTo>
                  <a:pt x="562" y="1784"/>
                  <a:pt x="563" y="1788"/>
                  <a:pt x="564" y="1793"/>
                </a:cubicBezTo>
                <a:cubicBezTo>
                  <a:pt x="565" y="1796"/>
                  <a:pt x="565" y="1798"/>
                  <a:pt x="566" y="1799"/>
                </a:cubicBezTo>
                <a:cubicBezTo>
                  <a:pt x="567" y="1800"/>
                  <a:pt x="568" y="1801"/>
                  <a:pt x="568" y="1802"/>
                </a:cubicBezTo>
                <a:cubicBezTo>
                  <a:pt x="567" y="1803"/>
                  <a:pt x="566" y="1804"/>
                  <a:pt x="562" y="1805"/>
                </a:cubicBezTo>
                <a:cubicBezTo>
                  <a:pt x="560" y="1805"/>
                  <a:pt x="558" y="1806"/>
                  <a:pt x="556" y="1806"/>
                </a:cubicBezTo>
                <a:cubicBezTo>
                  <a:pt x="556" y="1806"/>
                  <a:pt x="555" y="1806"/>
                  <a:pt x="554" y="1806"/>
                </a:cubicBezTo>
                <a:cubicBezTo>
                  <a:pt x="554" y="1806"/>
                  <a:pt x="554" y="1806"/>
                  <a:pt x="554" y="1806"/>
                </a:cubicBezTo>
                <a:cubicBezTo>
                  <a:pt x="553" y="1807"/>
                  <a:pt x="553" y="1807"/>
                  <a:pt x="553" y="1808"/>
                </a:cubicBezTo>
                <a:cubicBezTo>
                  <a:pt x="553" y="1809"/>
                  <a:pt x="553" y="1810"/>
                  <a:pt x="553" y="1810"/>
                </a:cubicBezTo>
                <a:lnTo>
                  <a:pt x="544" y="1809"/>
                </a:lnTo>
                <a:cubicBezTo>
                  <a:pt x="543" y="1809"/>
                  <a:pt x="542" y="1810"/>
                  <a:pt x="542" y="1813"/>
                </a:cubicBezTo>
                <a:cubicBezTo>
                  <a:pt x="542" y="1815"/>
                  <a:pt x="541" y="1816"/>
                  <a:pt x="540" y="1816"/>
                </a:cubicBezTo>
                <a:cubicBezTo>
                  <a:pt x="535" y="1815"/>
                  <a:pt x="532" y="1814"/>
                  <a:pt x="531" y="1812"/>
                </a:cubicBezTo>
                <a:cubicBezTo>
                  <a:pt x="531" y="1812"/>
                  <a:pt x="531" y="1812"/>
                  <a:pt x="530" y="1812"/>
                </a:cubicBezTo>
                <a:cubicBezTo>
                  <a:pt x="530" y="1811"/>
                  <a:pt x="530" y="1809"/>
                  <a:pt x="530" y="1806"/>
                </a:cubicBezTo>
                <a:cubicBezTo>
                  <a:pt x="530" y="1803"/>
                  <a:pt x="530" y="1801"/>
                  <a:pt x="529" y="1800"/>
                </a:cubicBezTo>
                <a:cubicBezTo>
                  <a:pt x="527" y="1804"/>
                  <a:pt x="525" y="1806"/>
                  <a:pt x="524" y="1807"/>
                </a:cubicBezTo>
                <a:cubicBezTo>
                  <a:pt x="522" y="1812"/>
                  <a:pt x="521" y="1815"/>
                  <a:pt x="521" y="1817"/>
                </a:cubicBezTo>
                <a:cubicBezTo>
                  <a:pt x="520" y="1819"/>
                  <a:pt x="520" y="1820"/>
                  <a:pt x="518" y="1820"/>
                </a:cubicBezTo>
                <a:cubicBezTo>
                  <a:pt x="516" y="1820"/>
                  <a:pt x="514" y="1821"/>
                  <a:pt x="513" y="1821"/>
                </a:cubicBezTo>
                <a:cubicBezTo>
                  <a:pt x="506" y="1823"/>
                  <a:pt x="499" y="1825"/>
                  <a:pt x="494" y="1827"/>
                </a:cubicBezTo>
                <a:cubicBezTo>
                  <a:pt x="493" y="1828"/>
                  <a:pt x="492" y="1829"/>
                  <a:pt x="491" y="1832"/>
                </a:cubicBezTo>
                <a:cubicBezTo>
                  <a:pt x="490" y="1834"/>
                  <a:pt x="489" y="1835"/>
                  <a:pt x="487" y="1835"/>
                </a:cubicBezTo>
                <a:cubicBezTo>
                  <a:pt x="485" y="1835"/>
                  <a:pt x="484" y="1836"/>
                  <a:pt x="482" y="1837"/>
                </a:cubicBezTo>
                <a:cubicBezTo>
                  <a:pt x="481" y="1837"/>
                  <a:pt x="480" y="1838"/>
                  <a:pt x="478" y="1838"/>
                </a:cubicBezTo>
                <a:cubicBezTo>
                  <a:pt x="476" y="1838"/>
                  <a:pt x="472" y="1839"/>
                  <a:pt x="468" y="1841"/>
                </a:cubicBezTo>
                <a:cubicBezTo>
                  <a:pt x="464" y="1842"/>
                  <a:pt x="460" y="1843"/>
                  <a:pt x="458" y="1843"/>
                </a:cubicBezTo>
                <a:cubicBezTo>
                  <a:pt x="457" y="1844"/>
                  <a:pt x="456" y="1846"/>
                  <a:pt x="455" y="1848"/>
                </a:cubicBezTo>
                <a:cubicBezTo>
                  <a:pt x="453" y="1852"/>
                  <a:pt x="451" y="1853"/>
                  <a:pt x="448" y="1853"/>
                </a:cubicBezTo>
                <a:cubicBezTo>
                  <a:pt x="447" y="1853"/>
                  <a:pt x="446" y="1852"/>
                  <a:pt x="445" y="1850"/>
                </a:cubicBezTo>
                <a:cubicBezTo>
                  <a:pt x="443" y="1849"/>
                  <a:pt x="442" y="1848"/>
                  <a:pt x="442" y="1848"/>
                </a:cubicBezTo>
                <a:cubicBezTo>
                  <a:pt x="441" y="1848"/>
                  <a:pt x="440" y="1849"/>
                  <a:pt x="440" y="1851"/>
                </a:cubicBezTo>
                <a:cubicBezTo>
                  <a:pt x="440" y="1854"/>
                  <a:pt x="440" y="1856"/>
                  <a:pt x="440" y="1856"/>
                </a:cubicBezTo>
                <a:cubicBezTo>
                  <a:pt x="439" y="1859"/>
                  <a:pt x="438" y="1862"/>
                  <a:pt x="436" y="1866"/>
                </a:cubicBezTo>
                <a:cubicBezTo>
                  <a:pt x="435" y="1871"/>
                  <a:pt x="433" y="1873"/>
                  <a:pt x="429" y="1873"/>
                </a:cubicBezTo>
                <a:cubicBezTo>
                  <a:pt x="428" y="1873"/>
                  <a:pt x="427" y="1872"/>
                  <a:pt x="427" y="1871"/>
                </a:cubicBezTo>
                <a:cubicBezTo>
                  <a:pt x="426" y="1870"/>
                  <a:pt x="425" y="1869"/>
                  <a:pt x="424" y="1868"/>
                </a:cubicBezTo>
                <a:cubicBezTo>
                  <a:pt x="423" y="1869"/>
                  <a:pt x="422" y="1871"/>
                  <a:pt x="420" y="1872"/>
                </a:cubicBezTo>
                <a:cubicBezTo>
                  <a:pt x="418" y="1874"/>
                  <a:pt x="416" y="1875"/>
                  <a:pt x="415" y="1875"/>
                </a:cubicBezTo>
                <a:cubicBezTo>
                  <a:pt x="414" y="1875"/>
                  <a:pt x="413" y="1873"/>
                  <a:pt x="413" y="1871"/>
                </a:cubicBezTo>
                <a:cubicBezTo>
                  <a:pt x="413" y="1869"/>
                  <a:pt x="413" y="1867"/>
                  <a:pt x="411" y="1867"/>
                </a:cubicBezTo>
                <a:cubicBezTo>
                  <a:pt x="411" y="1867"/>
                  <a:pt x="411" y="1867"/>
                  <a:pt x="410" y="1867"/>
                </a:cubicBezTo>
                <a:cubicBezTo>
                  <a:pt x="408" y="1867"/>
                  <a:pt x="405" y="1868"/>
                  <a:pt x="400" y="1872"/>
                </a:cubicBezTo>
                <a:cubicBezTo>
                  <a:pt x="396" y="1876"/>
                  <a:pt x="393" y="1878"/>
                  <a:pt x="392" y="1878"/>
                </a:cubicBezTo>
                <a:cubicBezTo>
                  <a:pt x="390" y="1874"/>
                  <a:pt x="388" y="1872"/>
                  <a:pt x="388" y="1871"/>
                </a:cubicBezTo>
                <a:lnTo>
                  <a:pt x="386" y="1871"/>
                </a:lnTo>
                <a:cubicBezTo>
                  <a:pt x="386" y="1877"/>
                  <a:pt x="384" y="1880"/>
                  <a:pt x="379" y="1878"/>
                </a:cubicBezTo>
                <a:cubicBezTo>
                  <a:pt x="379" y="1878"/>
                  <a:pt x="378" y="1880"/>
                  <a:pt x="378" y="1881"/>
                </a:cubicBezTo>
                <a:cubicBezTo>
                  <a:pt x="377" y="1883"/>
                  <a:pt x="376" y="1884"/>
                  <a:pt x="374" y="1884"/>
                </a:cubicBezTo>
                <a:lnTo>
                  <a:pt x="369" y="1881"/>
                </a:lnTo>
                <a:cubicBezTo>
                  <a:pt x="367" y="1881"/>
                  <a:pt x="366" y="1882"/>
                  <a:pt x="365" y="1885"/>
                </a:cubicBezTo>
                <a:cubicBezTo>
                  <a:pt x="364" y="1889"/>
                  <a:pt x="362" y="1891"/>
                  <a:pt x="359" y="1893"/>
                </a:cubicBezTo>
                <a:cubicBezTo>
                  <a:pt x="348" y="1897"/>
                  <a:pt x="343" y="1899"/>
                  <a:pt x="343" y="1899"/>
                </a:cubicBezTo>
                <a:cubicBezTo>
                  <a:pt x="341" y="1899"/>
                  <a:pt x="341" y="1897"/>
                  <a:pt x="341" y="1894"/>
                </a:cubicBezTo>
                <a:cubicBezTo>
                  <a:pt x="341" y="1892"/>
                  <a:pt x="342" y="1889"/>
                  <a:pt x="343" y="1886"/>
                </a:cubicBezTo>
                <a:cubicBezTo>
                  <a:pt x="345" y="1882"/>
                  <a:pt x="346" y="1879"/>
                  <a:pt x="346" y="1877"/>
                </a:cubicBezTo>
                <a:cubicBezTo>
                  <a:pt x="346" y="1877"/>
                  <a:pt x="346" y="1876"/>
                  <a:pt x="345" y="1875"/>
                </a:cubicBezTo>
                <a:cubicBezTo>
                  <a:pt x="345" y="1874"/>
                  <a:pt x="344" y="1873"/>
                  <a:pt x="344" y="1873"/>
                </a:cubicBezTo>
                <a:cubicBezTo>
                  <a:pt x="342" y="1873"/>
                  <a:pt x="340" y="1878"/>
                  <a:pt x="335" y="1887"/>
                </a:cubicBezTo>
                <a:cubicBezTo>
                  <a:pt x="331" y="1895"/>
                  <a:pt x="327" y="1900"/>
                  <a:pt x="325" y="1900"/>
                </a:cubicBezTo>
                <a:cubicBezTo>
                  <a:pt x="324" y="1900"/>
                  <a:pt x="323" y="1899"/>
                  <a:pt x="323" y="1898"/>
                </a:cubicBezTo>
                <a:cubicBezTo>
                  <a:pt x="322" y="1898"/>
                  <a:pt x="322" y="1897"/>
                  <a:pt x="322" y="1896"/>
                </a:cubicBezTo>
                <a:cubicBezTo>
                  <a:pt x="323" y="1895"/>
                  <a:pt x="324" y="1893"/>
                  <a:pt x="325" y="1892"/>
                </a:cubicBezTo>
                <a:cubicBezTo>
                  <a:pt x="325" y="1891"/>
                  <a:pt x="325" y="1891"/>
                  <a:pt x="325" y="1890"/>
                </a:cubicBezTo>
                <a:cubicBezTo>
                  <a:pt x="324" y="1888"/>
                  <a:pt x="323" y="1887"/>
                  <a:pt x="322" y="1885"/>
                </a:cubicBezTo>
                <a:cubicBezTo>
                  <a:pt x="322" y="1885"/>
                  <a:pt x="322" y="1885"/>
                  <a:pt x="322" y="1885"/>
                </a:cubicBezTo>
                <a:cubicBezTo>
                  <a:pt x="317" y="1884"/>
                  <a:pt x="313" y="1881"/>
                  <a:pt x="312" y="1876"/>
                </a:cubicBezTo>
                <a:cubicBezTo>
                  <a:pt x="312" y="1876"/>
                  <a:pt x="310" y="1877"/>
                  <a:pt x="310" y="1877"/>
                </a:cubicBezTo>
                <a:cubicBezTo>
                  <a:pt x="309" y="1878"/>
                  <a:pt x="308" y="1878"/>
                  <a:pt x="307" y="1878"/>
                </a:cubicBezTo>
                <a:cubicBezTo>
                  <a:pt x="307" y="1878"/>
                  <a:pt x="307" y="1878"/>
                  <a:pt x="306" y="1878"/>
                </a:cubicBezTo>
                <a:cubicBezTo>
                  <a:pt x="306" y="1878"/>
                  <a:pt x="305" y="1878"/>
                  <a:pt x="305" y="1877"/>
                </a:cubicBezTo>
                <a:cubicBezTo>
                  <a:pt x="304" y="1876"/>
                  <a:pt x="304" y="1875"/>
                  <a:pt x="303" y="1874"/>
                </a:cubicBezTo>
                <a:lnTo>
                  <a:pt x="300" y="1870"/>
                </a:lnTo>
                <a:cubicBezTo>
                  <a:pt x="298" y="1868"/>
                  <a:pt x="296" y="1868"/>
                  <a:pt x="294" y="1867"/>
                </a:cubicBezTo>
                <a:cubicBezTo>
                  <a:pt x="293" y="1867"/>
                  <a:pt x="292" y="1866"/>
                  <a:pt x="291" y="1866"/>
                </a:cubicBezTo>
                <a:cubicBezTo>
                  <a:pt x="290" y="1866"/>
                  <a:pt x="288" y="1866"/>
                  <a:pt x="288" y="1866"/>
                </a:cubicBezTo>
                <a:cubicBezTo>
                  <a:pt x="289" y="1861"/>
                  <a:pt x="289" y="1858"/>
                  <a:pt x="288" y="1854"/>
                </a:cubicBezTo>
                <a:cubicBezTo>
                  <a:pt x="287" y="1850"/>
                  <a:pt x="286" y="1847"/>
                  <a:pt x="287" y="1844"/>
                </a:cubicBezTo>
                <a:cubicBezTo>
                  <a:pt x="287" y="1842"/>
                  <a:pt x="289" y="1839"/>
                  <a:pt x="292" y="1835"/>
                </a:cubicBezTo>
                <a:cubicBezTo>
                  <a:pt x="295" y="1832"/>
                  <a:pt x="297" y="1829"/>
                  <a:pt x="297" y="1827"/>
                </a:cubicBezTo>
                <a:cubicBezTo>
                  <a:pt x="297" y="1826"/>
                  <a:pt x="297" y="1826"/>
                  <a:pt x="296" y="1826"/>
                </a:cubicBezTo>
                <a:cubicBezTo>
                  <a:pt x="293" y="1829"/>
                  <a:pt x="287" y="1833"/>
                  <a:pt x="279" y="1838"/>
                </a:cubicBezTo>
                <a:cubicBezTo>
                  <a:pt x="279" y="1838"/>
                  <a:pt x="279" y="1838"/>
                  <a:pt x="279" y="1838"/>
                </a:cubicBezTo>
                <a:cubicBezTo>
                  <a:pt x="269" y="1844"/>
                  <a:pt x="264" y="1847"/>
                  <a:pt x="262" y="1847"/>
                </a:cubicBezTo>
                <a:cubicBezTo>
                  <a:pt x="258" y="1846"/>
                  <a:pt x="257" y="1845"/>
                  <a:pt x="258" y="1842"/>
                </a:cubicBezTo>
                <a:cubicBezTo>
                  <a:pt x="255" y="1841"/>
                  <a:pt x="253" y="1840"/>
                  <a:pt x="253" y="1840"/>
                </a:cubicBezTo>
                <a:cubicBezTo>
                  <a:pt x="253" y="1840"/>
                  <a:pt x="253" y="1839"/>
                  <a:pt x="253" y="1838"/>
                </a:cubicBezTo>
                <a:cubicBezTo>
                  <a:pt x="253" y="1837"/>
                  <a:pt x="253" y="1836"/>
                  <a:pt x="253" y="1835"/>
                </a:cubicBezTo>
                <a:cubicBezTo>
                  <a:pt x="254" y="1834"/>
                  <a:pt x="254" y="1832"/>
                  <a:pt x="255" y="1829"/>
                </a:cubicBezTo>
                <a:cubicBezTo>
                  <a:pt x="257" y="1826"/>
                  <a:pt x="257" y="1824"/>
                  <a:pt x="257" y="1823"/>
                </a:cubicBezTo>
                <a:cubicBezTo>
                  <a:pt x="258" y="1821"/>
                  <a:pt x="257" y="1820"/>
                  <a:pt x="254" y="1819"/>
                </a:cubicBezTo>
                <a:cubicBezTo>
                  <a:pt x="249" y="1820"/>
                  <a:pt x="245" y="1820"/>
                  <a:pt x="242" y="1820"/>
                </a:cubicBezTo>
                <a:cubicBezTo>
                  <a:pt x="241" y="1820"/>
                  <a:pt x="241" y="1819"/>
                  <a:pt x="240" y="1819"/>
                </a:cubicBezTo>
                <a:cubicBezTo>
                  <a:pt x="239" y="1819"/>
                  <a:pt x="236" y="1819"/>
                  <a:pt x="233" y="1821"/>
                </a:cubicBezTo>
                <a:cubicBezTo>
                  <a:pt x="229" y="1822"/>
                  <a:pt x="227" y="1822"/>
                  <a:pt x="227" y="1822"/>
                </a:cubicBezTo>
                <a:cubicBezTo>
                  <a:pt x="226" y="1822"/>
                  <a:pt x="224" y="1821"/>
                  <a:pt x="223" y="1820"/>
                </a:cubicBezTo>
                <a:cubicBezTo>
                  <a:pt x="221" y="1818"/>
                  <a:pt x="220" y="1818"/>
                  <a:pt x="218" y="1818"/>
                </a:cubicBezTo>
                <a:cubicBezTo>
                  <a:pt x="215" y="1818"/>
                  <a:pt x="212" y="1818"/>
                  <a:pt x="212" y="1818"/>
                </a:cubicBezTo>
                <a:cubicBezTo>
                  <a:pt x="211" y="1818"/>
                  <a:pt x="209" y="1815"/>
                  <a:pt x="205" y="1809"/>
                </a:cubicBezTo>
                <a:cubicBezTo>
                  <a:pt x="204" y="1808"/>
                  <a:pt x="203" y="1807"/>
                  <a:pt x="203" y="1806"/>
                </a:cubicBezTo>
                <a:cubicBezTo>
                  <a:pt x="200" y="1802"/>
                  <a:pt x="198" y="1801"/>
                  <a:pt x="196" y="1801"/>
                </a:cubicBezTo>
                <a:cubicBezTo>
                  <a:pt x="193" y="1802"/>
                  <a:pt x="190" y="1803"/>
                  <a:pt x="190" y="1803"/>
                </a:cubicBezTo>
                <a:cubicBezTo>
                  <a:pt x="189" y="1802"/>
                  <a:pt x="189" y="1802"/>
                  <a:pt x="189" y="1801"/>
                </a:cubicBezTo>
                <a:cubicBezTo>
                  <a:pt x="188" y="1797"/>
                  <a:pt x="187" y="1793"/>
                  <a:pt x="187" y="1792"/>
                </a:cubicBezTo>
                <a:cubicBezTo>
                  <a:pt x="185" y="1787"/>
                  <a:pt x="183" y="1785"/>
                  <a:pt x="179" y="1785"/>
                </a:cubicBezTo>
                <a:cubicBezTo>
                  <a:pt x="177" y="1784"/>
                  <a:pt x="176" y="1785"/>
                  <a:pt x="175" y="1786"/>
                </a:cubicBezTo>
                <a:cubicBezTo>
                  <a:pt x="176" y="1786"/>
                  <a:pt x="176" y="1787"/>
                  <a:pt x="176" y="1787"/>
                </a:cubicBezTo>
                <a:cubicBezTo>
                  <a:pt x="176" y="1793"/>
                  <a:pt x="174" y="1798"/>
                  <a:pt x="171" y="1802"/>
                </a:cubicBezTo>
                <a:cubicBezTo>
                  <a:pt x="170" y="1801"/>
                  <a:pt x="169" y="1801"/>
                  <a:pt x="169" y="1801"/>
                </a:cubicBezTo>
                <a:cubicBezTo>
                  <a:pt x="168" y="1799"/>
                  <a:pt x="167" y="1798"/>
                  <a:pt x="166" y="1796"/>
                </a:cubicBezTo>
                <a:cubicBezTo>
                  <a:pt x="166" y="1795"/>
                  <a:pt x="166" y="1795"/>
                  <a:pt x="166" y="1795"/>
                </a:cubicBezTo>
                <a:cubicBezTo>
                  <a:pt x="164" y="1792"/>
                  <a:pt x="164" y="1790"/>
                  <a:pt x="163" y="1789"/>
                </a:cubicBezTo>
                <a:cubicBezTo>
                  <a:pt x="163" y="1787"/>
                  <a:pt x="162" y="1785"/>
                  <a:pt x="160" y="1784"/>
                </a:cubicBezTo>
                <a:cubicBezTo>
                  <a:pt x="159" y="1783"/>
                  <a:pt x="157" y="1783"/>
                  <a:pt x="153" y="1782"/>
                </a:cubicBezTo>
                <a:cubicBezTo>
                  <a:pt x="152" y="1781"/>
                  <a:pt x="151" y="1780"/>
                  <a:pt x="150" y="1779"/>
                </a:cubicBezTo>
                <a:cubicBezTo>
                  <a:pt x="148" y="1776"/>
                  <a:pt x="147" y="1774"/>
                  <a:pt x="147" y="1772"/>
                </a:cubicBezTo>
                <a:cubicBezTo>
                  <a:pt x="147" y="1771"/>
                  <a:pt x="148" y="1770"/>
                  <a:pt x="149" y="1769"/>
                </a:cubicBezTo>
                <a:cubicBezTo>
                  <a:pt x="150" y="1769"/>
                  <a:pt x="150" y="1768"/>
                  <a:pt x="151" y="1767"/>
                </a:cubicBezTo>
                <a:cubicBezTo>
                  <a:pt x="151" y="1763"/>
                  <a:pt x="150" y="1759"/>
                  <a:pt x="146" y="1756"/>
                </a:cubicBezTo>
                <a:cubicBezTo>
                  <a:pt x="142" y="1752"/>
                  <a:pt x="141" y="1749"/>
                  <a:pt x="141" y="1744"/>
                </a:cubicBezTo>
                <a:lnTo>
                  <a:pt x="142" y="1739"/>
                </a:lnTo>
                <a:cubicBezTo>
                  <a:pt x="144" y="1740"/>
                  <a:pt x="146" y="1739"/>
                  <a:pt x="149" y="1738"/>
                </a:cubicBezTo>
                <a:cubicBezTo>
                  <a:pt x="150" y="1737"/>
                  <a:pt x="150" y="1736"/>
                  <a:pt x="150" y="1735"/>
                </a:cubicBezTo>
                <a:cubicBezTo>
                  <a:pt x="150" y="1733"/>
                  <a:pt x="149" y="1729"/>
                  <a:pt x="147" y="1722"/>
                </a:cubicBezTo>
                <a:cubicBezTo>
                  <a:pt x="147" y="1721"/>
                  <a:pt x="147" y="1720"/>
                  <a:pt x="147" y="1719"/>
                </a:cubicBezTo>
                <a:cubicBezTo>
                  <a:pt x="142" y="1709"/>
                  <a:pt x="139" y="1704"/>
                  <a:pt x="139" y="1704"/>
                </a:cubicBezTo>
                <a:cubicBezTo>
                  <a:pt x="140" y="1703"/>
                  <a:pt x="140" y="1703"/>
                  <a:pt x="140" y="1703"/>
                </a:cubicBezTo>
                <a:lnTo>
                  <a:pt x="143" y="1703"/>
                </a:lnTo>
                <a:cubicBezTo>
                  <a:pt x="143" y="1703"/>
                  <a:pt x="145" y="1704"/>
                  <a:pt x="147" y="1706"/>
                </a:cubicBezTo>
                <a:cubicBezTo>
                  <a:pt x="148" y="1705"/>
                  <a:pt x="149" y="1704"/>
                  <a:pt x="149" y="1703"/>
                </a:cubicBezTo>
                <a:cubicBezTo>
                  <a:pt x="149" y="1699"/>
                  <a:pt x="149" y="1696"/>
                  <a:pt x="148" y="1693"/>
                </a:cubicBezTo>
                <a:cubicBezTo>
                  <a:pt x="147" y="1689"/>
                  <a:pt x="146" y="1687"/>
                  <a:pt x="146" y="1685"/>
                </a:cubicBezTo>
                <a:cubicBezTo>
                  <a:pt x="147" y="1684"/>
                  <a:pt x="147" y="1684"/>
                  <a:pt x="147" y="1684"/>
                </a:cubicBezTo>
                <a:cubicBezTo>
                  <a:pt x="147" y="1680"/>
                  <a:pt x="149" y="1677"/>
                  <a:pt x="151" y="1677"/>
                </a:cubicBezTo>
                <a:cubicBezTo>
                  <a:pt x="154" y="1677"/>
                  <a:pt x="155" y="1676"/>
                  <a:pt x="155" y="1675"/>
                </a:cubicBezTo>
                <a:cubicBezTo>
                  <a:pt x="155" y="1673"/>
                  <a:pt x="155" y="1669"/>
                  <a:pt x="155" y="1665"/>
                </a:cubicBezTo>
                <a:cubicBezTo>
                  <a:pt x="154" y="1661"/>
                  <a:pt x="154" y="1658"/>
                  <a:pt x="154" y="1656"/>
                </a:cubicBezTo>
                <a:cubicBezTo>
                  <a:pt x="154" y="1655"/>
                  <a:pt x="154" y="1655"/>
                  <a:pt x="154" y="1655"/>
                </a:cubicBezTo>
                <a:cubicBezTo>
                  <a:pt x="154" y="1652"/>
                  <a:pt x="153" y="1649"/>
                  <a:pt x="151" y="1646"/>
                </a:cubicBezTo>
                <a:cubicBezTo>
                  <a:pt x="149" y="1643"/>
                  <a:pt x="148" y="1640"/>
                  <a:pt x="147" y="1638"/>
                </a:cubicBezTo>
                <a:cubicBezTo>
                  <a:pt x="149" y="1638"/>
                  <a:pt x="150" y="1637"/>
                  <a:pt x="151" y="1637"/>
                </a:cubicBezTo>
                <a:cubicBezTo>
                  <a:pt x="152" y="1631"/>
                  <a:pt x="151" y="1629"/>
                  <a:pt x="148" y="1629"/>
                </a:cubicBezTo>
                <a:cubicBezTo>
                  <a:pt x="150" y="1627"/>
                  <a:pt x="153" y="1625"/>
                  <a:pt x="157" y="1625"/>
                </a:cubicBezTo>
                <a:cubicBezTo>
                  <a:pt x="153" y="1619"/>
                  <a:pt x="151" y="1616"/>
                  <a:pt x="151" y="1614"/>
                </a:cubicBezTo>
                <a:cubicBezTo>
                  <a:pt x="152" y="1613"/>
                  <a:pt x="152" y="1612"/>
                  <a:pt x="152" y="1611"/>
                </a:cubicBezTo>
                <a:cubicBezTo>
                  <a:pt x="155" y="1612"/>
                  <a:pt x="159" y="1613"/>
                  <a:pt x="164" y="1615"/>
                </a:cubicBezTo>
                <a:lnTo>
                  <a:pt x="164" y="1615"/>
                </a:lnTo>
                <a:lnTo>
                  <a:pt x="165" y="1615"/>
                </a:lnTo>
                <a:cubicBezTo>
                  <a:pt x="164" y="1615"/>
                  <a:pt x="164" y="1615"/>
                  <a:pt x="164" y="1615"/>
                </a:cubicBezTo>
                <a:cubicBezTo>
                  <a:pt x="161" y="1611"/>
                  <a:pt x="159" y="1608"/>
                  <a:pt x="157" y="1604"/>
                </a:cubicBezTo>
                <a:cubicBezTo>
                  <a:pt x="153" y="1599"/>
                  <a:pt x="152" y="1595"/>
                  <a:pt x="152" y="1594"/>
                </a:cubicBezTo>
                <a:cubicBezTo>
                  <a:pt x="153" y="1591"/>
                  <a:pt x="154" y="1590"/>
                  <a:pt x="154" y="1589"/>
                </a:cubicBezTo>
                <a:cubicBezTo>
                  <a:pt x="153" y="1588"/>
                  <a:pt x="153" y="1587"/>
                  <a:pt x="153" y="1586"/>
                </a:cubicBezTo>
                <a:cubicBezTo>
                  <a:pt x="151" y="1586"/>
                  <a:pt x="149" y="1583"/>
                  <a:pt x="148" y="1580"/>
                </a:cubicBezTo>
                <a:cubicBezTo>
                  <a:pt x="147" y="1575"/>
                  <a:pt x="146" y="1572"/>
                  <a:pt x="145" y="1570"/>
                </a:cubicBezTo>
                <a:cubicBezTo>
                  <a:pt x="145" y="1569"/>
                  <a:pt x="144" y="1567"/>
                  <a:pt x="140" y="1562"/>
                </a:cubicBezTo>
                <a:cubicBezTo>
                  <a:pt x="140" y="1561"/>
                  <a:pt x="139" y="1559"/>
                  <a:pt x="139" y="1557"/>
                </a:cubicBezTo>
                <a:cubicBezTo>
                  <a:pt x="138" y="1555"/>
                  <a:pt x="138" y="1554"/>
                  <a:pt x="138" y="1553"/>
                </a:cubicBezTo>
                <a:cubicBezTo>
                  <a:pt x="138" y="1553"/>
                  <a:pt x="138" y="1552"/>
                  <a:pt x="138" y="1552"/>
                </a:cubicBezTo>
                <a:cubicBezTo>
                  <a:pt x="136" y="1551"/>
                  <a:pt x="136" y="1549"/>
                  <a:pt x="136" y="1547"/>
                </a:cubicBezTo>
                <a:cubicBezTo>
                  <a:pt x="135" y="1546"/>
                  <a:pt x="135" y="1545"/>
                  <a:pt x="133" y="1545"/>
                </a:cubicBezTo>
                <a:cubicBezTo>
                  <a:pt x="130" y="1545"/>
                  <a:pt x="129" y="1544"/>
                  <a:pt x="128" y="1543"/>
                </a:cubicBezTo>
                <a:cubicBezTo>
                  <a:pt x="127" y="1541"/>
                  <a:pt x="127" y="1538"/>
                  <a:pt x="127" y="1536"/>
                </a:cubicBezTo>
                <a:cubicBezTo>
                  <a:pt x="128" y="1533"/>
                  <a:pt x="129" y="1530"/>
                  <a:pt x="129" y="1527"/>
                </a:cubicBezTo>
                <a:cubicBezTo>
                  <a:pt x="129" y="1520"/>
                  <a:pt x="129" y="1515"/>
                  <a:pt x="129" y="1511"/>
                </a:cubicBezTo>
                <a:cubicBezTo>
                  <a:pt x="131" y="1504"/>
                  <a:pt x="132" y="1500"/>
                  <a:pt x="132" y="1498"/>
                </a:cubicBezTo>
                <a:cubicBezTo>
                  <a:pt x="133" y="1495"/>
                  <a:pt x="128" y="1486"/>
                  <a:pt x="120" y="1467"/>
                </a:cubicBezTo>
                <a:cubicBezTo>
                  <a:pt x="120" y="1468"/>
                  <a:pt x="120" y="1468"/>
                  <a:pt x="119" y="1468"/>
                </a:cubicBezTo>
                <a:cubicBezTo>
                  <a:pt x="119" y="1470"/>
                  <a:pt x="118" y="1472"/>
                  <a:pt x="117" y="1475"/>
                </a:cubicBezTo>
                <a:lnTo>
                  <a:pt x="116" y="1474"/>
                </a:lnTo>
                <a:cubicBezTo>
                  <a:pt x="113" y="1468"/>
                  <a:pt x="111" y="1461"/>
                  <a:pt x="112" y="1455"/>
                </a:cubicBezTo>
                <a:lnTo>
                  <a:pt x="113" y="1450"/>
                </a:lnTo>
                <a:cubicBezTo>
                  <a:pt x="112" y="1450"/>
                  <a:pt x="110" y="1450"/>
                  <a:pt x="109" y="1450"/>
                </a:cubicBezTo>
                <a:lnTo>
                  <a:pt x="106" y="1450"/>
                </a:lnTo>
                <a:lnTo>
                  <a:pt x="107" y="1433"/>
                </a:lnTo>
                <a:cubicBezTo>
                  <a:pt x="109" y="1430"/>
                  <a:pt x="110" y="1428"/>
                  <a:pt x="110" y="1426"/>
                </a:cubicBezTo>
                <a:cubicBezTo>
                  <a:pt x="110" y="1424"/>
                  <a:pt x="110" y="1423"/>
                  <a:pt x="107" y="1423"/>
                </a:cubicBezTo>
                <a:cubicBezTo>
                  <a:pt x="106" y="1423"/>
                  <a:pt x="105" y="1424"/>
                  <a:pt x="104" y="1424"/>
                </a:cubicBezTo>
                <a:cubicBezTo>
                  <a:pt x="102" y="1423"/>
                  <a:pt x="101" y="1421"/>
                  <a:pt x="101" y="1417"/>
                </a:cubicBezTo>
                <a:cubicBezTo>
                  <a:pt x="102" y="1415"/>
                  <a:pt x="102" y="1413"/>
                  <a:pt x="103" y="1411"/>
                </a:cubicBezTo>
                <a:cubicBezTo>
                  <a:pt x="104" y="1411"/>
                  <a:pt x="104" y="1411"/>
                  <a:pt x="104" y="1410"/>
                </a:cubicBezTo>
                <a:cubicBezTo>
                  <a:pt x="106" y="1408"/>
                  <a:pt x="108" y="1406"/>
                  <a:pt x="109" y="1404"/>
                </a:cubicBezTo>
                <a:cubicBezTo>
                  <a:pt x="106" y="1402"/>
                  <a:pt x="105" y="1401"/>
                  <a:pt x="104" y="1401"/>
                </a:cubicBezTo>
                <a:cubicBezTo>
                  <a:pt x="104" y="1400"/>
                  <a:pt x="104" y="1399"/>
                  <a:pt x="104" y="1396"/>
                </a:cubicBezTo>
                <a:cubicBezTo>
                  <a:pt x="105" y="1393"/>
                  <a:pt x="106" y="1391"/>
                  <a:pt x="109" y="1390"/>
                </a:cubicBezTo>
                <a:cubicBezTo>
                  <a:pt x="112" y="1389"/>
                  <a:pt x="114" y="1386"/>
                  <a:pt x="114" y="1382"/>
                </a:cubicBezTo>
                <a:cubicBezTo>
                  <a:pt x="114" y="1379"/>
                  <a:pt x="116" y="1377"/>
                  <a:pt x="120" y="1378"/>
                </a:cubicBezTo>
                <a:cubicBezTo>
                  <a:pt x="124" y="1378"/>
                  <a:pt x="126" y="1377"/>
                  <a:pt x="126" y="1373"/>
                </a:cubicBezTo>
                <a:cubicBezTo>
                  <a:pt x="126" y="1372"/>
                  <a:pt x="126" y="1371"/>
                  <a:pt x="126" y="1370"/>
                </a:cubicBezTo>
                <a:cubicBezTo>
                  <a:pt x="127" y="1368"/>
                  <a:pt x="128" y="1366"/>
                  <a:pt x="128" y="1364"/>
                </a:cubicBezTo>
                <a:cubicBezTo>
                  <a:pt x="128" y="1363"/>
                  <a:pt x="128" y="1363"/>
                  <a:pt x="128" y="1363"/>
                </a:cubicBezTo>
                <a:cubicBezTo>
                  <a:pt x="128" y="1362"/>
                  <a:pt x="128" y="1362"/>
                  <a:pt x="127" y="1361"/>
                </a:cubicBezTo>
                <a:lnTo>
                  <a:pt x="128" y="1358"/>
                </a:lnTo>
                <a:cubicBezTo>
                  <a:pt x="129" y="1358"/>
                  <a:pt x="129" y="1356"/>
                  <a:pt x="128" y="1354"/>
                </a:cubicBezTo>
                <a:cubicBezTo>
                  <a:pt x="129" y="1351"/>
                  <a:pt x="130" y="1350"/>
                  <a:pt x="130" y="1349"/>
                </a:cubicBezTo>
                <a:cubicBezTo>
                  <a:pt x="129" y="1347"/>
                  <a:pt x="129" y="1345"/>
                  <a:pt x="129" y="1344"/>
                </a:cubicBezTo>
                <a:cubicBezTo>
                  <a:pt x="129" y="1343"/>
                  <a:pt x="129" y="1342"/>
                  <a:pt x="129" y="1341"/>
                </a:cubicBezTo>
                <a:cubicBezTo>
                  <a:pt x="129" y="1339"/>
                  <a:pt x="131" y="1339"/>
                  <a:pt x="134" y="1339"/>
                </a:cubicBezTo>
                <a:cubicBezTo>
                  <a:pt x="136" y="1339"/>
                  <a:pt x="139" y="1340"/>
                  <a:pt x="144" y="1342"/>
                </a:cubicBezTo>
                <a:cubicBezTo>
                  <a:pt x="143" y="1341"/>
                  <a:pt x="141" y="1337"/>
                  <a:pt x="136" y="1330"/>
                </a:cubicBezTo>
                <a:cubicBezTo>
                  <a:pt x="135" y="1328"/>
                  <a:pt x="134" y="1324"/>
                  <a:pt x="135" y="1318"/>
                </a:cubicBezTo>
                <a:cubicBezTo>
                  <a:pt x="135" y="1317"/>
                  <a:pt x="135" y="1317"/>
                  <a:pt x="135" y="1316"/>
                </a:cubicBezTo>
                <a:cubicBezTo>
                  <a:pt x="135" y="1316"/>
                  <a:pt x="136" y="1315"/>
                  <a:pt x="136" y="1314"/>
                </a:cubicBezTo>
                <a:cubicBezTo>
                  <a:pt x="137" y="1314"/>
                  <a:pt x="137" y="1314"/>
                  <a:pt x="137" y="1314"/>
                </a:cubicBezTo>
                <a:cubicBezTo>
                  <a:pt x="138" y="1314"/>
                  <a:pt x="139" y="1314"/>
                  <a:pt x="141" y="1314"/>
                </a:cubicBezTo>
                <a:cubicBezTo>
                  <a:pt x="141" y="1314"/>
                  <a:pt x="142" y="1314"/>
                  <a:pt x="143" y="1314"/>
                </a:cubicBezTo>
                <a:cubicBezTo>
                  <a:pt x="143" y="1314"/>
                  <a:pt x="146" y="1314"/>
                  <a:pt x="150" y="1315"/>
                </a:cubicBezTo>
                <a:cubicBezTo>
                  <a:pt x="152" y="1316"/>
                  <a:pt x="153" y="1315"/>
                  <a:pt x="153" y="1313"/>
                </a:cubicBezTo>
                <a:lnTo>
                  <a:pt x="154" y="1305"/>
                </a:lnTo>
                <a:cubicBezTo>
                  <a:pt x="155" y="1303"/>
                  <a:pt x="157" y="1302"/>
                  <a:pt x="160" y="1302"/>
                </a:cubicBezTo>
                <a:cubicBezTo>
                  <a:pt x="160" y="1302"/>
                  <a:pt x="162" y="1302"/>
                  <a:pt x="165" y="1303"/>
                </a:cubicBezTo>
                <a:cubicBezTo>
                  <a:pt x="169" y="1304"/>
                  <a:pt x="170" y="1305"/>
                  <a:pt x="170" y="1306"/>
                </a:cubicBezTo>
                <a:cubicBezTo>
                  <a:pt x="170" y="1308"/>
                  <a:pt x="169" y="1311"/>
                  <a:pt x="167" y="1313"/>
                </a:cubicBezTo>
                <a:cubicBezTo>
                  <a:pt x="165" y="1316"/>
                  <a:pt x="164" y="1318"/>
                  <a:pt x="164" y="1319"/>
                </a:cubicBezTo>
                <a:cubicBezTo>
                  <a:pt x="164" y="1319"/>
                  <a:pt x="165" y="1320"/>
                  <a:pt x="166" y="1321"/>
                </a:cubicBezTo>
                <a:cubicBezTo>
                  <a:pt x="169" y="1319"/>
                  <a:pt x="170" y="1317"/>
                  <a:pt x="170" y="1315"/>
                </a:cubicBezTo>
                <a:cubicBezTo>
                  <a:pt x="171" y="1310"/>
                  <a:pt x="173" y="1308"/>
                  <a:pt x="175" y="1308"/>
                </a:cubicBezTo>
                <a:cubicBezTo>
                  <a:pt x="176" y="1308"/>
                  <a:pt x="177" y="1309"/>
                  <a:pt x="179" y="1310"/>
                </a:cubicBezTo>
                <a:cubicBezTo>
                  <a:pt x="181" y="1310"/>
                  <a:pt x="183" y="1309"/>
                  <a:pt x="185" y="1306"/>
                </a:cubicBezTo>
                <a:cubicBezTo>
                  <a:pt x="187" y="1303"/>
                  <a:pt x="189" y="1301"/>
                  <a:pt x="189" y="1301"/>
                </a:cubicBezTo>
                <a:cubicBezTo>
                  <a:pt x="191" y="1300"/>
                  <a:pt x="193" y="1300"/>
                  <a:pt x="196" y="1299"/>
                </a:cubicBezTo>
                <a:cubicBezTo>
                  <a:pt x="199" y="1298"/>
                  <a:pt x="200" y="1296"/>
                  <a:pt x="201" y="1293"/>
                </a:cubicBezTo>
                <a:cubicBezTo>
                  <a:pt x="201" y="1292"/>
                  <a:pt x="198" y="1288"/>
                  <a:pt x="193" y="1281"/>
                </a:cubicBezTo>
                <a:cubicBezTo>
                  <a:pt x="187" y="1274"/>
                  <a:pt x="184" y="1269"/>
                  <a:pt x="185" y="1267"/>
                </a:cubicBezTo>
                <a:cubicBezTo>
                  <a:pt x="185" y="1266"/>
                  <a:pt x="185" y="1265"/>
                  <a:pt x="186" y="1264"/>
                </a:cubicBezTo>
                <a:lnTo>
                  <a:pt x="188" y="1264"/>
                </a:lnTo>
                <a:cubicBezTo>
                  <a:pt x="188" y="1264"/>
                  <a:pt x="189" y="1265"/>
                  <a:pt x="190" y="1266"/>
                </a:cubicBezTo>
                <a:cubicBezTo>
                  <a:pt x="192" y="1266"/>
                  <a:pt x="193" y="1265"/>
                  <a:pt x="193" y="1264"/>
                </a:cubicBezTo>
                <a:cubicBezTo>
                  <a:pt x="193" y="1262"/>
                  <a:pt x="194" y="1260"/>
                  <a:pt x="196" y="1260"/>
                </a:cubicBezTo>
                <a:cubicBezTo>
                  <a:pt x="196" y="1262"/>
                  <a:pt x="197" y="1263"/>
                  <a:pt x="199" y="1263"/>
                </a:cubicBezTo>
                <a:cubicBezTo>
                  <a:pt x="202" y="1264"/>
                  <a:pt x="204" y="1264"/>
                  <a:pt x="204" y="1264"/>
                </a:cubicBezTo>
                <a:cubicBezTo>
                  <a:pt x="205" y="1264"/>
                  <a:pt x="205" y="1263"/>
                  <a:pt x="205" y="1262"/>
                </a:cubicBezTo>
                <a:cubicBezTo>
                  <a:pt x="205" y="1259"/>
                  <a:pt x="205" y="1257"/>
                  <a:pt x="205" y="1256"/>
                </a:cubicBezTo>
                <a:cubicBezTo>
                  <a:pt x="205" y="1250"/>
                  <a:pt x="205" y="1246"/>
                  <a:pt x="205" y="1244"/>
                </a:cubicBezTo>
                <a:cubicBezTo>
                  <a:pt x="206" y="1241"/>
                  <a:pt x="207" y="1238"/>
                  <a:pt x="210" y="1233"/>
                </a:cubicBezTo>
                <a:cubicBezTo>
                  <a:pt x="212" y="1227"/>
                  <a:pt x="215" y="1225"/>
                  <a:pt x="217" y="1225"/>
                </a:cubicBezTo>
                <a:cubicBezTo>
                  <a:pt x="218" y="1225"/>
                  <a:pt x="219" y="1225"/>
                  <a:pt x="220" y="1226"/>
                </a:cubicBezTo>
                <a:cubicBezTo>
                  <a:pt x="222" y="1226"/>
                  <a:pt x="224" y="1227"/>
                  <a:pt x="225" y="1228"/>
                </a:cubicBezTo>
                <a:cubicBezTo>
                  <a:pt x="228" y="1230"/>
                  <a:pt x="231" y="1232"/>
                  <a:pt x="234" y="1233"/>
                </a:cubicBezTo>
                <a:cubicBezTo>
                  <a:pt x="235" y="1225"/>
                  <a:pt x="236" y="1219"/>
                  <a:pt x="237" y="1215"/>
                </a:cubicBezTo>
                <a:cubicBezTo>
                  <a:pt x="237" y="1210"/>
                  <a:pt x="238" y="1207"/>
                  <a:pt x="240" y="1205"/>
                </a:cubicBezTo>
                <a:cubicBezTo>
                  <a:pt x="240" y="1204"/>
                  <a:pt x="241" y="1204"/>
                  <a:pt x="242" y="1203"/>
                </a:cubicBezTo>
                <a:cubicBezTo>
                  <a:pt x="244" y="1202"/>
                  <a:pt x="246" y="1199"/>
                  <a:pt x="246" y="1196"/>
                </a:cubicBezTo>
                <a:cubicBezTo>
                  <a:pt x="246" y="1193"/>
                  <a:pt x="246" y="1190"/>
                  <a:pt x="245" y="1189"/>
                </a:cubicBezTo>
                <a:cubicBezTo>
                  <a:pt x="245" y="1187"/>
                  <a:pt x="245" y="1186"/>
                  <a:pt x="245" y="1185"/>
                </a:cubicBezTo>
                <a:cubicBezTo>
                  <a:pt x="245" y="1184"/>
                  <a:pt x="247" y="1184"/>
                  <a:pt x="251" y="1185"/>
                </a:cubicBezTo>
                <a:cubicBezTo>
                  <a:pt x="255" y="1185"/>
                  <a:pt x="257" y="1185"/>
                  <a:pt x="258" y="1184"/>
                </a:cubicBezTo>
                <a:cubicBezTo>
                  <a:pt x="260" y="1181"/>
                  <a:pt x="264" y="1179"/>
                  <a:pt x="268" y="1177"/>
                </a:cubicBezTo>
                <a:lnTo>
                  <a:pt x="269" y="1177"/>
                </a:lnTo>
                <a:cubicBezTo>
                  <a:pt x="269" y="1177"/>
                  <a:pt x="269" y="1176"/>
                  <a:pt x="269" y="1176"/>
                </a:cubicBezTo>
                <a:cubicBezTo>
                  <a:pt x="270" y="1175"/>
                  <a:pt x="271" y="1175"/>
                  <a:pt x="272" y="1175"/>
                </a:cubicBezTo>
                <a:cubicBezTo>
                  <a:pt x="272" y="1174"/>
                  <a:pt x="273" y="1172"/>
                  <a:pt x="273" y="1169"/>
                </a:cubicBezTo>
                <a:cubicBezTo>
                  <a:pt x="274" y="1166"/>
                  <a:pt x="273" y="1162"/>
                  <a:pt x="272" y="1159"/>
                </a:cubicBezTo>
                <a:cubicBezTo>
                  <a:pt x="271" y="1156"/>
                  <a:pt x="270" y="1154"/>
                  <a:pt x="270" y="1154"/>
                </a:cubicBezTo>
                <a:cubicBezTo>
                  <a:pt x="271" y="1152"/>
                  <a:pt x="273" y="1152"/>
                  <a:pt x="278" y="1152"/>
                </a:cubicBezTo>
                <a:cubicBezTo>
                  <a:pt x="280" y="1152"/>
                  <a:pt x="282" y="1153"/>
                  <a:pt x="285" y="1153"/>
                </a:cubicBezTo>
                <a:lnTo>
                  <a:pt x="285" y="1148"/>
                </a:lnTo>
                <a:cubicBezTo>
                  <a:pt x="284" y="1147"/>
                  <a:pt x="283" y="1144"/>
                  <a:pt x="283" y="1140"/>
                </a:cubicBezTo>
                <a:cubicBezTo>
                  <a:pt x="284" y="1137"/>
                  <a:pt x="285" y="1135"/>
                  <a:pt x="289" y="1134"/>
                </a:cubicBezTo>
                <a:cubicBezTo>
                  <a:pt x="292" y="1132"/>
                  <a:pt x="294" y="1129"/>
                  <a:pt x="294" y="1127"/>
                </a:cubicBezTo>
                <a:cubicBezTo>
                  <a:pt x="294" y="1124"/>
                  <a:pt x="296" y="1121"/>
                  <a:pt x="297" y="1118"/>
                </a:cubicBezTo>
                <a:cubicBezTo>
                  <a:pt x="300" y="1114"/>
                  <a:pt x="303" y="1113"/>
                  <a:pt x="306" y="1113"/>
                </a:cubicBezTo>
                <a:cubicBezTo>
                  <a:pt x="306" y="1113"/>
                  <a:pt x="308" y="1113"/>
                  <a:pt x="311" y="1114"/>
                </a:cubicBezTo>
                <a:cubicBezTo>
                  <a:pt x="312" y="1114"/>
                  <a:pt x="313" y="1113"/>
                  <a:pt x="314" y="1111"/>
                </a:cubicBezTo>
                <a:cubicBezTo>
                  <a:pt x="311" y="1107"/>
                  <a:pt x="310" y="1105"/>
                  <a:pt x="310" y="1103"/>
                </a:cubicBezTo>
                <a:cubicBezTo>
                  <a:pt x="311" y="1098"/>
                  <a:pt x="312" y="1094"/>
                  <a:pt x="312" y="1091"/>
                </a:cubicBezTo>
                <a:cubicBezTo>
                  <a:pt x="312" y="1090"/>
                  <a:pt x="313" y="1088"/>
                  <a:pt x="314" y="1086"/>
                </a:cubicBezTo>
                <a:cubicBezTo>
                  <a:pt x="315" y="1085"/>
                  <a:pt x="316" y="1084"/>
                  <a:pt x="318" y="1082"/>
                </a:cubicBezTo>
                <a:cubicBezTo>
                  <a:pt x="319" y="1080"/>
                  <a:pt x="322" y="1077"/>
                  <a:pt x="326" y="1073"/>
                </a:cubicBezTo>
                <a:cubicBezTo>
                  <a:pt x="329" y="1070"/>
                  <a:pt x="331" y="1067"/>
                  <a:pt x="331" y="1064"/>
                </a:cubicBezTo>
                <a:cubicBezTo>
                  <a:pt x="332" y="1061"/>
                  <a:pt x="333" y="1058"/>
                  <a:pt x="335" y="1056"/>
                </a:cubicBezTo>
                <a:cubicBezTo>
                  <a:pt x="337" y="1054"/>
                  <a:pt x="338" y="1051"/>
                  <a:pt x="339" y="1046"/>
                </a:cubicBezTo>
                <a:cubicBezTo>
                  <a:pt x="339" y="1042"/>
                  <a:pt x="339" y="1037"/>
                  <a:pt x="338" y="1033"/>
                </a:cubicBezTo>
                <a:cubicBezTo>
                  <a:pt x="338" y="1033"/>
                  <a:pt x="339" y="1030"/>
                  <a:pt x="342" y="1024"/>
                </a:cubicBezTo>
                <a:cubicBezTo>
                  <a:pt x="342" y="1024"/>
                  <a:pt x="342" y="1024"/>
                  <a:pt x="342" y="1024"/>
                </a:cubicBezTo>
                <a:cubicBezTo>
                  <a:pt x="343" y="1023"/>
                  <a:pt x="344" y="1022"/>
                  <a:pt x="346" y="1021"/>
                </a:cubicBezTo>
                <a:cubicBezTo>
                  <a:pt x="347" y="1021"/>
                  <a:pt x="349" y="1020"/>
                  <a:pt x="349" y="1019"/>
                </a:cubicBezTo>
                <a:cubicBezTo>
                  <a:pt x="349" y="1019"/>
                  <a:pt x="350" y="1015"/>
                  <a:pt x="352" y="1009"/>
                </a:cubicBezTo>
                <a:cubicBezTo>
                  <a:pt x="354" y="1005"/>
                  <a:pt x="355" y="1002"/>
                  <a:pt x="356" y="1000"/>
                </a:cubicBezTo>
                <a:cubicBezTo>
                  <a:pt x="362" y="995"/>
                  <a:pt x="373" y="988"/>
                  <a:pt x="388" y="979"/>
                </a:cubicBezTo>
                <a:cubicBezTo>
                  <a:pt x="390" y="979"/>
                  <a:pt x="393" y="982"/>
                  <a:pt x="399" y="986"/>
                </a:cubicBezTo>
                <a:cubicBezTo>
                  <a:pt x="404" y="991"/>
                  <a:pt x="407" y="993"/>
                  <a:pt x="407" y="993"/>
                </a:cubicBezTo>
                <a:cubicBezTo>
                  <a:pt x="410" y="994"/>
                  <a:pt x="412" y="993"/>
                  <a:pt x="412" y="991"/>
                </a:cubicBezTo>
                <a:cubicBezTo>
                  <a:pt x="412" y="988"/>
                  <a:pt x="410" y="984"/>
                  <a:pt x="405" y="979"/>
                </a:cubicBezTo>
                <a:cubicBezTo>
                  <a:pt x="399" y="974"/>
                  <a:pt x="397" y="970"/>
                  <a:pt x="397" y="967"/>
                </a:cubicBezTo>
                <a:cubicBezTo>
                  <a:pt x="397" y="966"/>
                  <a:pt x="398" y="965"/>
                  <a:pt x="400" y="965"/>
                </a:cubicBezTo>
                <a:cubicBezTo>
                  <a:pt x="401" y="965"/>
                  <a:pt x="406" y="967"/>
                  <a:pt x="416" y="971"/>
                </a:cubicBezTo>
                <a:cubicBezTo>
                  <a:pt x="416" y="969"/>
                  <a:pt x="417" y="968"/>
                  <a:pt x="418" y="967"/>
                </a:cubicBezTo>
                <a:cubicBezTo>
                  <a:pt x="419" y="967"/>
                  <a:pt x="420" y="966"/>
                  <a:pt x="419" y="966"/>
                </a:cubicBezTo>
                <a:cubicBezTo>
                  <a:pt x="419" y="966"/>
                  <a:pt x="419" y="965"/>
                  <a:pt x="419" y="965"/>
                </a:cubicBezTo>
                <a:cubicBezTo>
                  <a:pt x="414" y="960"/>
                  <a:pt x="410" y="956"/>
                  <a:pt x="407" y="951"/>
                </a:cubicBezTo>
                <a:cubicBezTo>
                  <a:pt x="398" y="941"/>
                  <a:pt x="394" y="934"/>
                  <a:pt x="394" y="931"/>
                </a:cubicBezTo>
                <a:cubicBezTo>
                  <a:pt x="394" y="931"/>
                  <a:pt x="395" y="930"/>
                  <a:pt x="397" y="927"/>
                </a:cubicBezTo>
                <a:cubicBezTo>
                  <a:pt x="397" y="926"/>
                  <a:pt x="396" y="923"/>
                  <a:pt x="394" y="919"/>
                </a:cubicBezTo>
                <a:cubicBezTo>
                  <a:pt x="393" y="917"/>
                  <a:pt x="392" y="915"/>
                  <a:pt x="392" y="913"/>
                </a:cubicBezTo>
                <a:cubicBezTo>
                  <a:pt x="392" y="910"/>
                  <a:pt x="391" y="908"/>
                  <a:pt x="392" y="905"/>
                </a:cubicBezTo>
                <a:cubicBezTo>
                  <a:pt x="392" y="902"/>
                  <a:pt x="393" y="899"/>
                  <a:pt x="394" y="895"/>
                </a:cubicBezTo>
                <a:cubicBezTo>
                  <a:pt x="394" y="895"/>
                  <a:pt x="394" y="893"/>
                  <a:pt x="393" y="891"/>
                </a:cubicBezTo>
                <a:cubicBezTo>
                  <a:pt x="394" y="890"/>
                  <a:pt x="394" y="889"/>
                  <a:pt x="396" y="888"/>
                </a:cubicBezTo>
                <a:cubicBezTo>
                  <a:pt x="397" y="886"/>
                  <a:pt x="398" y="885"/>
                  <a:pt x="398" y="884"/>
                </a:cubicBezTo>
                <a:cubicBezTo>
                  <a:pt x="398" y="881"/>
                  <a:pt x="397" y="878"/>
                  <a:pt x="395" y="876"/>
                </a:cubicBezTo>
                <a:cubicBezTo>
                  <a:pt x="393" y="874"/>
                  <a:pt x="391" y="872"/>
                  <a:pt x="390" y="871"/>
                </a:cubicBezTo>
                <a:cubicBezTo>
                  <a:pt x="389" y="868"/>
                  <a:pt x="388" y="866"/>
                  <a:pt x="386" y="866"/>
                </a:cubicBezTo>
                <a:lnTo>
                  <a:pt x="377" y="865"/>
                </a:lnTo>
                <a:cubicBezTo>
                  <a:pt x="376" y="863"/>
                  <a:pt x="373" y="859"/>
                  <a:pt x="368" y="855"/>
                </a:cubicBezTo>
                <a:cubicBezTo>
                  <a:pt x="364" y="850"/>
                  <a:pt x="361" y="848"/>
                  <a:pt x="360" y="848"/>
                </a:cubicBezTo>
                <a:cubicBezTo>
                  <a:pt x="358" y="848"/>
                  <a:pt x="355" y="849"/>
                  <a:pt x="349" y="851"/>
                </a:cubicBezTo>
                <a:cubicBezTo>
                  <a:pt x="345" y="852"/>
                  <a:pt x="342" y="853"/>
                  <a:pt x="341" y="854"/>
                </a:cubicBezTo>
                <a:lnTo>
                  <a:pt x="341" y="852"/>
                </a:lnTo>
                <a:cubicBezTo>
                  <a:pt x="341" y="851"/>
                  <a:pt x="342" y="849"/>
                  <a:pt x="343" y="847"/>
                </a:cubicBezTo>
                <a:cubicBezTo>
                  <a:pt x="343" y="845"/>
                  <a:pt x="341" y="843"/>
                  <a:pt x="336" y="840"/>
                </a:cubicBezTo>
                <a:cubicBezTo>
                  <a:pt x="332" y="837"/>
                  <a:pt x="330" y="834"/>
                  <a:pt x="330" y="832"/>
                </a:cubicBezTo>
                <a:cubicBezTo>
                  <a:pt x="330" y="830"/>
                  <a:pt x="331" y="828"/>
                  <a:pt x="332" y="827"/>
                </a:cubicBezTo>
                <a:lnTo>
                  <a:pt x="332" y="825"/>
                </a:lnTo>
                <a:cubicBezTo>
                  <a:pt x="328" y="829"/>
                  <a:pt x="325" y="830"/>
                  <a:pt x="323" y="830"/>
                </a:cubicBezTo>
                <a:cubicBezTo>
                  <a:pt x="318" y="831"/>
                  <a:pt x="314" y="831"/>
                  <a:pt x="312" y="831"/>
                </a:cubicBezTo>
                <a:cubicBezTo>
                  <a:pt x="308" y="827"/>
                  <a:pt x="304" y="825"/>
                  <a:pt x="301" y="825"/>
                </a:cubicBezTo>
                <a:cubicBezTo>
                  <a:pt x="300" y="825"/>
                  <a:pt x="299" y="825"/>
                  <a:pt x="298" y="825"/>
                </a:cubicBezTo>
                <a:cubicBezTo>
                  <a:pt x="297" y="823"/>
                  <a:pt x="297" y="821"/>
                  <a:pt x="297" y="819"/>
                </a:cubicBezTo>
                <a:cubicBezTo>
                  <a:pt x="296" y="815"/>
                  <a:pt x="293" y="808"/>
                  <a:pt x="290" y="800"/>
                </a:cubicBezTo>
                <a:cubicBezTo>
                  <a:pt x="286" y="791"/>
                  <a:pt x="283" y="785"/>
                  <a:pt x="281" y="781"/>
                </a:cubicBezTo>
                <a:cubicBezTo>
                  <a:pt x="279" y="776"/>
                  <a:pt x="275" y="771"/>
                  <a:pt x="271" y="765"/>
                </a:cubicBezTo>
                <a:cubicBezTo>
                  <a:pt x="266" y="759"/>
                  <a:pt x="262" y="754"/>
                  <a:pt x="259" y="751"/>
                </a:cubicBezTo>
                <a:cubicBezTo>
                  <a:pt x="250" y="740"/>
                  <a:pt x="247" y="729"/>
                  <a:pt x="248" y="717"/>
                </a:cubicBezTo>
                <a:cubicBezTo>
                  <a:pt x="248" y="716"/>
                  <a:pt x="251" y="713"/>
                  <a:pt x="258" y="706"/>
                </a:cubicBezTo>
                <a:cubicBezTo>
                  <a:pt x="265" y="698"/>
                  <a:pt x="269" y="692"/>
                  <a:pt x="269" y="686"/>
                </a:cubicBezTo>
                <a:cubicBezTo>
                  <a:pt x="269" y="686"/>
                  <a:pt x="269" y="681"/>
                  <a:pt x="267" y="671"/>
                </a:cubicBezTo>
                <a:cubicBezTo>
                  <a:pt x="266" y="660"/>
                  <a:pt x="265" y="654"/>
                  <a:pt x="266" y="651"/>
                </a:cubicBezTo>
                <a:cubicBezTo>
                  <a:pt x="266" y="650"/>
                  <a:pt x="268" y="647"/>
                  <a:pt x="271" y="640"/>
                </a:cubicBezTo>
                <a:cubicBezTo>
                  <a:pt x="272" y="635"/>
                  <a:pt x="265" y="623"/>
                  <a:pt x="252" y="606"/>
                </a:cubicBezTo>
                <a:cubicBezTo>
                  <a:pt x="239" y="588"/>
                  <a:pt x="232" y="576"/>
                  <a:pt x="233" y="569"/>
                </a:cubicBezTo>
                <a:cubicBezTo>
                  <a:pt x="233" y="565"/>
                  <a:pt x="236" y="562"/>
                  <a:pt x="242" y="559"/>
                </a:cubicBezTo>
                <a:cubicBezTo>
                  <a:pt x="247" y="557"/>
                  <a:pt x="250" y="554"/>
                  <a:pt x="250" y="551"/>
                </a:cubicBezTo>
                <a:cubicBezTo>
                  <a:pt x="252" y="536"/>
                  <a:pt x="243" y="527"/>
                  <a:pt x="224" y="525"/>
                </a:cubicBezTo>
                <a:cubicBezTo>
                  <a:pt x="223" y="525"/>
                  <a:pt x="222" y="525"/>
                  <a:pt x="221" y="526"/>
                </a:cubicBezTo>
                <a:cubicBezTo>
                  <a:pt x="219" y="527"/>
                  <a:pt x="218" y="527"/>
                  <a:pt x="217" y="527"/>
                </a:cubicBezTo>
                <a:lnTo>
                  <a:pt x="220" y="504"/>
                </a:lnTo>
                <a:cubicBezTo>
                  <a:pt x="224" y="500"/>
                  <a:pt x="227" y="497"/>
                  <a:pt x="227" y="496"/>
                </a:cubicBezTo>
                <a:cubicBezTo>
                  <a:pt x="227" y="494"/>
                  <a:pt x="226" y="492"/>
                  <a:pt x="225" y="490"/>
                </a:cubicBezTo>
                <a:cubicBezTo>
                  <a:pt x="224" y="487"/>
                  <a:pt x="223" y="485"/>
                  <a:pt x="222" y="483"/>
                </a:cubicBezTo>
                <a:cubicBezTo>
                  <a:pt x="219" y="476"/>
                  <a:pt x="218" y="467"/>
                  <a:pt x="219" y="456"/>
                </a:cubicBezTo>
                <a:cubicBezTo>
                  <a:pt x="219" y="451"/>
                  <a:pt x="221" y="447"/>
                  <a:pt x="224" y="446"/>
                </a:cubicBezTo>
                <a:cubicBezTo>
                  <a:pt x="226" y="444"/>
                  <a:pt x="228" y="441"/>
                  <a:pt x="228" y="437"/>
                </a:cubicBezTo>
                <a:cubicBezTo>
                  <a:pt x="224" y="435"/>
                  <a:pt x="221" y="432"/>
                  <a:pt x="218" y="427"/>
                </a:cubicBezTo>
                <a:cubicBezTo>
                  <a:pt x="217" y="425"/>
                  <a:pt x="215" y="421"/>
                  <a:pt x="212" y="414"/>
                </a:cubicBezTo>
                <a:cubicBezTo>
                  <a:pt x="210" y="408"/>
                  <a:pt x="208" y="404"/>
                  <a:pt x="206" y="402"/>
                </a:cubicBezTo>
                <a:cubicBezTo>
                  <a:pt x="203" y="398"/>
                  <a:pt x="199" y="396"/>
                  <a:pt x="193" y="396"/>
                </a:cubicBezTo>
                <a:cubicBezTo>
                  <a:pt x="193" y="385"/>
                  <a:pt x="189" y="376"/>
                  <a:pt x="181" y="368"/>
                </a:cubicBezTo>
                <a:cubicBezTo>
                  <a:pt x="172" y="360"/>
                  <a:pt x="163" y="355"/>
                  <a:pt x="151" y="354"/>
                </a:cubicBezTo>
                <a:cubicBezTo>
                  <a:pt x="131" y="352"/>
                  <a:pt x="117" y="346"/>
                  <a:pt x="110" y="336"/>
                </a:cubicBezTo>
                <a:cubicBezTo>
                  <a:pt x="107" y="331"/>
                  <a:pt x="104" y="327"/>
                  <a:pt x="103" y="325"/>
                </a:cubicBezTo>
                <a:cubicBezTo>
                  <a:pt x="101" y="322"/>
                  <a:pt x="98" y="320"/>
                  <a:pt x="95" y="320"/>
                </a:cubicBezTo>
                <a:cubicBezTo>
                  <a:pt x="88" y="321"/>
                  <a:pt x="84" y="321"/>
                  <a:pt x="81" y="321"/>
                </a:cubicBezTo>
                <a:cubicBezTo>
                  <a:pt x="84" y="314"/>
                  <a:pt x="82" y="310"/>
                  <a:pt x="75" y="307"/>
                </a:cubicBezTo>
                <a:cubicBezTo>
                  <a:pt x="71" y="306"/>
                  <a:pt x="68" y="305"/>
                  <a:pt x="66" y="304"/>
                </a:cubicBezTo>
                <a:cubicBezTo>
                  <a:pt x="63" y="303"/>
                  <a:pt x="61" y="302"/>
                  <a:pt x="61" y="300"/>
                </a:cubicBezTo>
                <a:cubicBezTo>
                  <a:pt x="57" y="288"/>
                  <a:pt x="52" y="280"/>
                  <a:pt x="45" y="275"/>
                </a:cubicBezTo>
                <a:cubicBezTo>
                  <a:pt x="40" y="273"/>
                  <a:pt x="36" y="270"/>
                  <a:pt x="34" y="269"/>
                </a:cubicBezTo>
                <a:cubicBezTo>
                  <a:pt x="30" y="265"/>
                  <a:pt x="28" y="260"/>
                  <a:pt x="27" y="254"/>
                </a:cubicBezTo>
                <a:cubicBezTo>
                  <a:pt x="27" y="249"/>
                  <a:pt x="23" y="246"/>
                  <a:pt x="17" y="244"/>
                </a:cubicBezTo>
                <a:cubicBezTo>
                  <a:pt x="11" y="242"/>
                  <a:pt x="7" y="240"/>
                  <a:pt x="4" y="239"/>
                </a:cubicBezTo>
                <a:cubicBezTo>
                  <a:pt x="5" y="238"/>
                  <a:pt x="6" y="237"/>
                  <a:pt x="7" y="235"/>
                </a:cubicBezTo>
                <a:cubicBezTo>
                  <a:pt x="9" y="233"/>
                  <a:pt x="11" y="231"/>
                  <a:pt x="13" y="228"/>
                </a:cubicBezTo>
                <a:cubicBezTo>
                  <a:pt x="14" y="229"/>
                  <a:pt x="16" y="230"/>
                  <a:pt x="19" y="232"/>
                </a:cubicBezTo>
                <a:cubicBezTo>
                  <a:pt x="22" y="234"/>
                  <a:pt x="24" y="236"/>
                  <a:pt x="26" y="236"/>
                </a:cubicBezTo>
                <a:cubicBezTo>
                  <a:pt x="27" y="236"/>
                  <a:pt x="29" y="235"/>
                  <a:pt x="33" y="233"/>
                </a:cubicBezTo>
                <a:cubicBezTo>
                  <a:pt x="37" y="231"/>
                  <a:pt x="38" y="230"/>
                  <a:pt x="38" y="229"/>
                </a:cubicBezTo>
                <a:cubicBezTo>
                  <a:pt x="39" y="229"/>
                  <a:pt x="37" y="226"/>
                  <a:pt x="34" y="220"/>
                </a:cubicBezTo>
                <a:cubicBezTo>
                  <a:pt x="31" y="214"/>
                  <a:pt x="30" y="209"/>
                  <a:pt x="31" y="205"/>
                </a:cubicBezTo>
                <a:cubicBezTo>
                  <a:pt x="31" y="203"/>
                  <a:pt x="33" y="200"/>
                  <a:pt x="37" y="196"/>
                </a:cubicBezTo>
                <a:cubicBezTo>
                  <a:pt x="41" y="193"/>
                  <a:pt x="44" y="191"/>
                  <a:pt x="46" y="191"/>
                </a:cubicBezTo>
                <a:cubicBezTo>
                  <a:pt x="47" y="191"/>
                  <a:pt x="52" y="192"/>
                  <a:pt x="59" y="194"/>
                </a:cubicBezTo>
                <a:cubicBezTo>
                  <a:pt x="60" y="194"/>
                  <a:pt x="64" y="194"/>
                  <a:pt x="70" y="194"/>
                </a:cubicBezTo>
                <a:cubicBezTo>
                  <a:pt x="75" y="194"/>
                  <a:pt x="81" y="202"/>
                  <a:pt x="87" y="217"/>
                </a:cubicBezTo>
                <a:cubicBezTo>
                  <a:pt x="94" y="234"/>
                  <a:pt x="98" y="243"/>
                  <a:pt x="99" y="244"/>
                </a:cubicBezTo>
                <a:cubicBezTo>
                  <a:pt x="109" y="253"/>
                  <a:pt x="119" y="270"/>
                  <a:pt x="128" y="294"/>
                </a:cubicBezTo>
                <a:cubicBezTo>
                  <a:pt x="129" y="295"/>
                  <a:pt x="131" y="294"/>
                  <a:pt x="134" y="293"/>
                </a:cubicBezTo>
                <a:cubicBezTo>
                  <a:pt x="136" y="292"/>
                  <a:pt x="139" y="291"/>
                  <a:pt x="141" y="291"/>
                </a:cubicBezTo>
                <a:cubicBezTo>
                  <a:pt x="144" y="291"/>
                  <a:pt x="147" y="293"/>
                  <a:pt x="150" y="296"/>
                </a:cubicBezTo>
                <a:cubicBezTo>
                  <a:pt x="153" y="298"/>
                  <a:pt x="156" y="299"/>
                  <a:pt x="160" y="300"/>
                </a:cubicBezTo>
                <a:cubicBezTo>
                  <a:pt x="161" y="300"/>
                  <a:pt x="164" y="300"/>
                  <a:pt x="169" y="299"/>
                </a:cubicBezTo>
                <a:cubicBezTo>
                  <a:pt x="171" y="300"/>
                  <a:pt x="172" y="301"/>
                  <a:pt x="175" y="303"/>
                </a:cubicBezTo>
                <a:cubicBezTo>
                  <a:pt x="177" y="305"/>
                  <a:pt x="179" y="306"/>
                  <a:pt x="180" y="307"/>
                </a:cubicBezTo>
                <a:cubicBezTo>
                  <a:pt x="183" y="307"/>
                  <a:pt x="189" y="304"/>
                  <a:pt x="197" y="297"/>
                </a:cubicBezTo>
                <a:cubicBezTo>
                  <a:pt x="200" y="294"/>
                  <a:pt x="206" y="292"/>
                  <a:pt x="214" y="290"/>
                </a:cubicBezTo>
                <a:cubicBezTo>
                  <a:pt x="216" y="290"/>
                  <a:pt x="218" y="288"/>
                  <a:pt x="219" y="284"/>
                </a:cubicBezTo>
                <a:cubicBezTo>
                  <a:pt x="220" y="281"/>
                  <a:pt x="220" y="278"/>
                  <a:pt x="221" y="275"/>
                </a:cubicBezTo>
                <a:cubicBezTo>
                  <a:pt x="222" y="273"/>
                  <a:pt x="223" y="272"/>
                  <a:pt x="225" y="269"/>
                </a:cubicBezTo>
                <a:cubicBezTo>
                  <a:pt x="226" y="269"/>
                  <a:pt x="226" y="269"/>
                  <a:pt x="227" y="269"/>
                </a:cubicBezTo>
                <a:lnTo>
                  <a:pt x="226" y="269"/>
                </a:lnTo>
                <a:lnTo>
                  <a:pt x="231" y="269"/>
                </a:lnTo>
                <a:cubicBezTo>
                  <a:pt x="235" y="269"/>
                  <a:pt x="239" y="271"/>
                  <a:pt x="242" y="273"/>
                </a:cubicBezTo>
                <a:cubicBezTo>
                  <a:pt x="248" y="276"/>
                  <a:pt x="251" y="279"/>
                  <a:pt x="252" y="280"/>
                </a:cubicBezTo>
                <a:cubicBezTo>
                  <a:pt x="258" y="286"/>
                  <a:pt x="264" y="289"/>
                  <a:pt x="269" y="290"/>
                </a:cubicBezTo>
                <a:cubicBezTo>
                  <a:pt x="269" y="290"/>
                  <a:pt x="273" y="291"/>
                  <a:pt x="279" y="292"/>
                </a:cubicBezTo>
                <a:cubicBezTo>
                  <a:pt x="283" y="292"/>
                  <a:pt x="287" y="293"/>
                  <a:pt x="289" y="294"/>
                </a:cubicBezTo>
                <a:cubicBezTo>
                  <a:pt x="291" y="295"/>
                  <a:pt x="292" y="297"/>
                  <a:pt x="295" y="301"/>
                </a:cubicBezTo>
                <a:cubicBezTo>
                  <a:pt x="297" y="305"/>
                  <a:pt x="299" y="308"/>
                  <a:pt x="301" y="309"/>
                </a:cubicBezTo>
                <a:cubicBezTo>
                  <a:pt x="301" y="309"/>
                  <a:pt x="302" y="306"/>
                  <a:pt x="303" y="302"/>
                </a:cubicBezTo>
                <a:cubicBezTo>
                  <a:pt x="304" y="299"/>
                  <a:pt x="305" y="297"/>
                  <a:pt x="306" y="296"/>
                </a:cubicBezTo>
                <a:cubicBezTo>
                  <a:pt x="307" y="296"/>
                  <a:pt x="309" y="295"/>
                  <a:pt x="313" y="294"/>
                </a:cubicBezTo>
                <a:cubicBezTo>
                  <a:pt x="317" y="293"/>
                  <a:pt x="318" y="293"/>
                  <a:pt x="318" y="292"/>
                </a:cubicBezTo>
                <a:cubicBezTo>
                  <a:pt x="318" y="291"/>
                  <a:pt x="318" y="287"/>
                  <a:pt x="316" y="281"/>
                </a:cubicBezTo>
                <a:cubicBezTo>
                  <a:pt x="315" y="276"/>
                  <a:pt x="314" y="269"/>
                  <a:pt x="315" y="263"/>
                </a:cubicBezTo>
                <a:cubicBezTo>
                  <a:pt x="315" y="260"/>
                  <a:pt x="317" y="256"/>
                  <a:pt x="321" y="250"/>
                </a:cubicBezTo>
                <a:cubicBezTo>
                  <a:pt x="326" y="244"/>
                  <a:pt x="330" y="242"/>
                  <a:pt x="333" y="242"/>
                </a:cubicBezTo>
                <a:cubicBezTo>
                  <a:pt x="336" y="242"/>
                  <a:pt x="338" y="243"/>
                  <a:pt x="341" y="243"/>
                </a:cubicBezTo>
                <a:cubicBezTo>
                  <a:pt x="343" y="243"/>
                  <a:pt x="345" y="241"/>
                  <a:pt x="348" y="238"/>
                </a:cubicBezTo>
                <a:cubicBezTo>
                  <a:pt x="352" y="233"/>
                  <a:pt x="354" y="227"/>
                  <a:pt x="355" y="222"/>
                </a:cubicBezTo>
                <a:cubicBezTo>
                  <a:pt x="355" y="220"/>
                  <a:pt x="354" y="217"/>
                  <a:pt x="352" y="213"/>
                </a:cubicBezTo>
                <a:cubicBezTo>
                  <a:pt x="350" y="209"/>
                  <a:pt x="349" y="203"/>
                  <a:pt x="350" y="196"/>
                </a:cubicBezTo>
                <a:cubicBezTo>
                  <a:pt x="350" y="194"/>
                  <a:pt x="348" y="190"/>
                  <a:pt x="344" y="183"/>
                </a:cubicBezTo>
                <a:cubicBezTo>
                  <a:pt x="343" y="180"/>
                  <a:pt x="343" y="175"/>
                  <a:pt x="344" y="169"/>
                </a:cubicBezTo>
                <a:cubicBezTo>
                  <a:pt x="344" y="168"/>
                  <a:pt x="345" y="163"/>
                  <a:pt x="346" y="154"/>
                </a:cubicBezTo>
                <a:cubicBezTo>
                  <a:pt x="347" y="153"/>
                  <a:pt x="346" y="150"/>
                  <a:pt x="346" y="145"/>
                </a:cubicBezTo>
                <a:cubicBezTo>
                  <a:pt x="346" y="140"/>
                  <a:pt x="348" y="136"/>
                  <a:pt x="350" y="130"/>
                </a:cubicBezTo>
                <a:cubicBezTo>
                  <a:pt x="352" y="124"/>
                  <a:pt x="353" y="119"/>
                  <a:pt x="353" y="115"/>
                </a:cubicBezTo>
                <a:cubicBezTo>
                  <a:pt x="354" y="111"/>
                  <a:pt x="353" y="107"/>
                  <a:pt x="352" y="105"/>
                </a:cubicBezTo>
                <a:cubicBezTo>
                  <a:pt x="350" y="102"/>
                  <a:pt x="350" y="100"/>
                  <a:pt x="350" y="98"/>
                </a:cubicBezTo>
                <a:cubicBezTo>
                  <a:pt x="350" y="94"/>
                  <a:pt x="355" y="88"/>
                  <a:pt x="365" y="80"/>
                </a:cubicBezTo>
                <a:cubicBezTo>
                  <a:pt x="365" y="79"/>
                  <a:pt x="366" y="77"/>
                  <a:pt x="366" y="74"/>
                </a:cubicBezTo>
                <a:cubicBezTo>
                  <a:pt x="367" y="70"/>
                  <a:pt x="367" y="68"/>
                  <a:pt x="368" y="67"/>
                </a:cubicBezTo>
                <a:cubicBezTo>
                  <a:pt x="370" y="64"/>
                  <a:pt x="371" y="62"/>
                  <a:pt x="373" y="62"/>
                </a:cubicBezTo>
                <a:cubicBezTo>
                  <a:pt x="375" y="61"/>
                  <a:pt x="375" y="60"/>
                  <a:pt x="376" y="56"/>
                </a:cubicBezTo>
                <a:cubicBezTo>
                  <a:pt x="376" y="55"/>
                  <a:pt x="376" y="54"/>
                  <a:pt x="375" y="53"/>
                </a:cubicBezTo>
                <a:cubicBezTo>
                  <a:pt x="375" y="53"/>
                  <a:pt x="374" y="52"/>
                  <a:pt x="375" y="50"/>
                </a:cubicBezTo>
                <a:lnTo>
                  <a:pt x="375" y="5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 256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29 w 570"/>
              <a:gd name="T3" fmla="*/ 136 h 371"/>
              <a:gd name="T4" fmla="*/ 117 w 570"/>
              <a:gd name="T5" fmla="*/ 148 h 371"/>
              <a:gd name="T6" fmla="*/ 39 w 570"/>
              <a:gd name="T7" fmla="*/ 166 h 371"/>
              <a:gd name="T8" fmla="*/ 74 w 570"/>
              <a:gd name="T9" fmla="*/ 184 h 371"/>
              <a:gd name="T10" fmla="*/ 91 w 570"/>
              <a:gd name="T11" fmla="*/ 177 h 371"/>
              <a:gd name="T12" fmla="*/ 93 w 570"/>
              <a:gd name="T13" fmla="*/ 150 h 371"/>
              <a:gd name="T14" fmla="*/ 63 w 570"/>
              <a:gd name="T15" fmla="*/ 132 h 371"/>
              <a:gd name="T16" fmla="*/ 23 w 570"/>
              <a:gd name="T17" fmla="*/ 166 h 371"/>
              <a:gd name="T18" fmla="*/ 116 w 570"/>
              <a:gd name="T19" fmla="*/ 227 h 371"/>
              <a:gd name="T20" fmla="*/ 74 w 570"/>
              <a:gd name="T21" fmla="*/ 219 h 371"/>
              <a:gd name="T22" fmla="*/ 44 w 570"/>
              <a:gd name="T23" fmla="*/ 222 h 371"/>
              <a:gd name="T24" fmla="*/ 22 w 570"/>
              <a:gd name="T25" fmla="*/ 242 h 371"/>
              <a:gd name="T26" fmla="*/ 3 w 570"/>
              <a:gd name="T27" fmla="*/ 239 h 371"/>
              <a:gd name="T28" fmla="*/ 10 w 570"/>
              <a:gd name="T29" fmla="*/ 286 h 371"/>
              <a:gd name="T30" fmla="*/ 23 w 570"/>
              <a:gd name="T31" fmla="*/ 315 h 371"/>
              <a:gd name="T32" fmla="*/ 22 w 570"/>
              <a:gd name="T33" fmla="*/ 345 h 371"/>
              <a:gd name="T34" fmla="*/ 44 w 570"/>
              <a:gd name="T35" fmla="*/ 293 h 371"/>
              <a:gd name="T36" fmla="*/ 87 w 570"/>
              <a:gd name="T37" fmla="*/ 274 h 371"/>
              <a:gd name="T38" fmla="*/ 114 w 570"/>
              <a:gd name="T39" fmla="*/ 240 h 371"/>
              <a:gd name="T40" fmla="*/ 132 w 570"/>
              <a:gd name="T41" fmla="*/ 235 h 371"/>
              <a:gd name="T42" fmla="*/ 113 w 570"/>
              <a:gd name="T43" fmla="*/ 211 h 371"/>
              <a:gd name="T44" fmla="*/ 139 w 570"/>
              <a:gd name="T45" fmla="*/ 217 h 371"/>
              <a:gd name="T46" fmla="*/ 549 w 570"/>
              <a:gd name="T47" fmla="*/ 259 h 371"/>
              <a:gd name="T48" fmla="*/ 532 w 570"/>
              <a:gd name="T49" fmla="*/ 203 h 371"/>
              <a:gd name="T50" fmla="*/ 538 w 570"/>
              <a:gd name="T51" fmla="*/ 44 h 371"/>
              <a:gd name="T52" fmla="*/ 561 w 570"/>
              <a:gd name="T53" fmla="*/ 22 h 371"/>
              <a:gd name="T54" fmla="*/ 543 w 570"/>
              <a:gd name="T55" fmla="*/ 9 h 371"/>
              <a:gd name="T56" fmla="*/ 446 w 570"/>
              <a:gd name="T57" fmla="*/ 22 h 371"/>
              <a:gd name="T58" fmla="*/ 391 w 570"/>
              <a:gd name="T59" fmla="*/ 9 h 371"/>
              <a:gd name="T60" fmla="*/ 356 w 570"/>
              <a:gd name="T61" fmla="*/ 3 h 371"/>
              <a:gd name="T62" fmla="*/ 330 w 570"/>
              <a:gd name="T63" fmla="*/ 5 h 371"/>
              <a:gd name="T64" fmla="*/ 321 w 570"/>
              <a:gd name="T65" fmla="*/ 13 h 371"/>
              <a:gd name="T66" fmla="*/ 315 w 570"/>
              <a:gd name="T67" fmla="*/ 24 h 371"/>
              <a:gd name="T68" fmla="*/ 278 w 570"/>
              <a:gd name="T69" fmla="*/ 37 h 371"/>
              <a:gd name="T70" fmla="*/ 250 w 570"/>
              <a:gd name="T71" fmla="*/ 37 h 371"/>
              <a:gd name="T72" fmla="*/ 200 w 570"/>
              <a:gd name="T73" fmla="*/ 59 h 371"/>
              <a:gd name="T74" fmla="*/ 185 w 570"/>
              <a:gd name="T75" fmla="*/ 66 h 371"/>
              <a:gd name="T76" fmla="*/ 166 w 570"/>
              <a:gd name="T77" fmla="*/ 83 h 371"/>
              <a:gd name="T78" fmla="*/ 140 w 570"/>
              <a:gd name="T79" fmla="*/ 107 h 371"/>
              <a:gd name="T80" fmla="*/ 154 w 570"/>
              <a:gd name="T81" fmla="*/ 136 h 371"/>
              <a:gd name="T82" fmla="*/ 146 w 570"/>
              <a:gd name="T83" fmla="*/ 172 h 371"/>
              <a:gd name="T84" fmla="*/ 161 w 570"/>
              <a:gd name="T85" fmla="*/ 185 h 371"/>
              <a:gd name="T86" fmla="*/ 154 w 570"/>
              <a:gd name="T87" fmla="*/ 220 h 371"/>
              <a:gd name="T88" fmla="*/ 177 w 570"/>
              <a:gd name="T89" fmla="*/ 249 h 371"/>
              <a:gd name="T90" fmla="*/ 211 w 570"/>
              <a:gd name="T91" fmla="*/ 268 h 371"/>
              <a:gd name="T92" fmla="*/ 238 w 570"/>
              <a:gd name="T93" fmla="*/ 241 h 371"/>
              <a:gd name="T94" fmla="*/ 248 w 570"/>
              <a:gd name="T95" fmla="*/ 273 h 371"/>
              <a:gd name="T96" fmla="*/ 255 w 570"/>
              <a:gd name="T97" fmla="*/ 319 h 371"/>
              <a:gd name="T98" fmla="*/ 334 w 570"/>
              <a:gd name="T99" fmla="*/ 292 h 371"/>
              <a:gd name="T100" fmla="*/ 391 w 570"/>
              <a:gd name="T101" fmla="*/ 319 h 371"/>
              <a:gd name="T102" fmla="*/ 421 w 570"/>
              <a:gd name="T103" fmla="*/ 340 h 371"/>
              <a:gd name="T104" fmla="*/ 468 w 570"/>
              <a:gd name="T105" fmla="*/ 365 h 371"/>
              <a:gd name="T106" fmla="*/ 505 w 570"/>
              <a:gd name="T107" fmla="*/ 352 h 371"/>
              <a:gd name="T108" fmla="*/ 545 w 570"/>
              <a:gd name="T109" fmla="*/ 321 h 371"/>
              <a:gd name="T110" fmla="*/ 557 w 570"/>
              <a:gd name="T111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 257"/>
          <p:cNvSpPr>
            <a:spLocks noEditPoints="1"/>
          </p:cNvSpPr>
          <p:nvPr/>
        </p:nvSpPr>
        <p:spPr bwMode="auto">
          <a:xfrm>
            <a:off x="9925923" y="2206397"/>
            <a:ext cx="595682" cy="387804"/>
          </a:xfrm>
          <a:custGeom>
            <a:avLst/>
            <a:gdLst>
              <a:gd name="T0" fmla="*/ 208 w 570"/>
              <a:gd name="T1" fmla="*/ 289 h 371"/>
              <a:gd name="T2" fmla="*/ 131 w 570"/>
              <a:gd name="T3" fmla="*/ 144 h 371"/>
              <a:gd name="T4" fmla="*/ 113 w 570"/>
              <a:gd name="T5" fmla="*/ 144 h 371"/>
              <a:gd name="T6" fmla="*/ 30 w 570"/>
              <a:gd name="T7" fmla="*/ 168 h 371"/>
              <a:gd name="T8" fmla="*/ 65 w 570"/>
              <a:gd name="T9" fmla="*/ 198 h 371"/>
              <a:gd name="T10" fmla="*/ 85 w 570"/>
              <a:gd name="T11" fmla="*/ 181 h 371"/>
              <a:gd name="T12" fmla="*/ 101 w 570"/>
              <a:gd name="T13" fmla="*/ 164 h 371"/>
              <a:gd name="T14" fmla="*/ 79 w 570"/>
              <a:gd name="T15" fmla="*/ 144 h 371"/>
              <a:gd name="T16" fmla="*/ 34 w 570"/>
              <a:gd name="T17" fmla="*/ 155 h 371"/>
              <a:gd name="T18" fmla="*/ 132 w 570"/>
              <a:gd name="T19" fmla="*/ 235 h 371"/>
              <a:gd name="T20" fmla="*/ 105 w 570"/>
              <a:gd name="T21" fmla="*/ 218 h 371"/>
              <a:gd name="T22" fmla="*/ 64 w 570"/>
              <a:gd name="T23" fmla="*/ 213 h 371"/>
              <a:gd name="T24" fmla="*/ 39 w 570"/>
              <a:gd name="T25" fmla="*/ 232 h 371"/>
              <a:gd name="T26" fmla="*/ 21 w 570"/>
              <a:gd name="T27" fmla="*/ 251 h 371"/>
              <a:gd name="T28" fmla="*/ 6 w 570"/>
              <a:gd name="T29" fmla="*/ 250 h 371"/>
              <a:gd name="T30" fmla="*/ 27 w 570"/>
              <a:gd name="T31" fmla="*/ 297 h 371"/>
              <a:gd name="T32" fmla="*/ 22 w 570"/>
              <a:gd name="T33" fmla="*/ 317 h 371"/>
              <a:gd name="T34" fmla="*/ 38 w 570"/>
              <a:gd name="T35" fmla="*/ 317 h 371"/>
              <a:gd name="T36" fmla="*/ 65 w 570"/>
              <a:gd name="T37" fmla="*/ 281 h 371"/>
              <a:gd name="T38" fmla="*/ 103 w 570"/>
              <a:gd name="T39" fmla="*/ 258 h 371"/>
              <a:gd name="T40" fmla="*/ 125 w 570"/>
              <a:gd name="T41" fmla="*/ 237 h 371"/>
              <a:gd name="T42" fmla="*/ 124 w 570"/>
              <a:gd name="T43" fmla="*/ 198 h 371"/>
              <a:gd name="T44" fmla="*/ 114 w 570"/>
              <a:gd name="T45" fmla="*/ 214 h 371"/>
              <a:gd name="T46" fmla="*/ 124 w 570"/>
              <a:gd name="T47" fmla="*/ 198 h 371"/>
              <a:gd name="T48" fmla="*/ 549 w 570"/>
              <a:gd name="T49" fmla="*/ 259 h 371"/>
              <a:gd name="T50" fmla="*/ 532 w 570"/>
              <a:gd name="T51" fmla="*/ 203 h 371"/>
              <a:gd name="T52" fmla="*/ 538 w 570"/>
              <a:gd name="T53" fmla="*/ 44 h 371"/>
              <a:gd name="T54" fmla="*/ 561 w 570"/>
              <a:gd name="T55" fmla="*/ 22 h 371"/>
              <a:gd name="T56" fmla="*/ 543 w 570"/>
              <a:gd name="T57" fmla="*/ 9 h 371"/>
              <a:gd name="T58" fmla="*/ 446 w 570"/>
              <a:gd name="T59" fmla="*/ 22 h 371"/>
              <a:gd name="T60" fmla="*/ 391 w 570"/>
              <a:gd name="T61" fmla="*/ 9 h 371"/>
              <a:gd name="T62" fmla="*/ 356 w 570"/>
              <a:gd name="T63" fmla="*/ 3 h 371"/>
              <a:gd name="T64" fmla="*/ 330 w 570"/>
              <a:gd name="T65" fmla="*/ 5 h 371"/>
              <a:gd name="T66" fmla="*/ 321 w 570"/>
              <a:gd name="T67" fmla="*/ 13 h 371"/>
              <a:gd name="T68" fmla="*/ 315 w 570"/>
              <a:gd name="T69" fmla="*/ 24 h 371"/>
              <a:gd name="T70" fmla="*/ 278 w 570"/>
              <a:gd name="T71" fmla="*/ 37 h 371"/>
              <a:gd name="T72" fmla="*/ 250 w 570"/>
              <a:gd name="T73" fmla="*/ 37 h 371"/>
              <a:gd name="T74" fmla="*/ 200 w 570"/>
              <a:gd name="T75" fmla="*/ 59 h 371"/>
              <a:gd name="T76" fmla="*/ 185 w 570"/>
              <a:gd name="T77" fmla="*/ 66 h 371"/>
              <a:gd name="T78" fmla="*/ 166 w 570"/>
              <a:gd name="T79" fmla="*/ 83 h 371"/>
              <a:gd name="T80" fmla="*/ 140 w 570"/>
              <a:gd name="T81" fmla="*/ 107 h 371"/>
              <a:gd name="T82" fmla="*/ 154 w 570"/>
              <a:gd name="T83" fmla="*/ 136 h 371"/>
              <a:gd name="T84" fmla="*/ 146 w 570"/>
              <a:gd name="T85" fmla="*/ 172 h 371"/>
              <a:gd name="T86" fmla="*/ 161 w 570"/>
              <a:gd name="T87" fmla="*/ 185 h 371"/>
              <a:gd name="T88" fmla="*/ 154 w 570"/>
              <a:gd name="T89" fmla="*/ 220 h 371"/>
              <a:gd name="T90" fmla="*/ 177 w 570"/>
              <a:gd name="T91" fmla="*/ 249 h 371"/>
              <a:gd name="T92" fmla="*/ 211 w 570"/>
              <a:gd name="T93" fmla="*/ 268 h 371"/>
              <a:gd name="T94" fmla="*/ 238 w 570"/>
              <a:gd name="T95" fmla="*/ 241 h 371"/>
              <a:gd name="T96" fmla="*/ 248 w 570"/>
              <a:gd name="T97" fmla="*/ 273 h 371"/>
              <a:gd name="T98" fmla="*/ 255 w 570"/>
              <a:gd name="T99" fmla="*/ 319 h 371"/>
              <a:gd name="T100" fmla="*/ 334 w 570"/>
              <a:gd name="T101" fmla="*/ 292 h 371"/>
              <a:gd name="T102" fmla="*/ 391 w 570"/>
              <a:gd name="T103" fmla="*/ 319 h 371"/>
              <a:gd name="T104" fmla="*/ 421 w 570"/>
              <a:gd name="T105" fmla="*/ 340 h 371"/>
              <a:gd name="T106" fmla="*/ 468 w 570"/>
              <a:gd name="T107" fmla="*/ 365 h 371"/>
              <a:gd name="T108" fmla="*/ 505 w 570"/>
              <a:gd name="T109" fmla="*/ 352 h 371"/>
              <a:gd name="T110" fmla="*/ 545 w 570"/>
              <a:gd name="T111" fmla="*/ 321 h 371"/>
              <a:gd name="T112" fmla="*/ 557 w 570"/>
              <a:gd name="T113" fmla="*/ 279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70" h="371">
                <a:moveTo>
                  <a:pt x="199" y="286"/>
                </a:moveTo>
                <a:lnTo>
                  <a:pt x="199" y="286"/>
                </a:lnTo>
                <a:cubicBezTo>
                  <a:pt x="199" y="286"/>
                  <a:pt x="199" y="287"/>
                  <a:pt x="199" y="287"/>
                </a:cubicBezTo>
                <a:cubicBezTo>
                  <a:pt x="199" y="292"/>
                  <a:pt x="201" y="294"/>
                  <a:pt x="205" y="295"/>
                </a:cubicBezTo>
                <a:cubicBezTo>
                  <a:pt x="206" y="295"/>
                  <a:pt x="207" y="293"/>
                  <a:pt x="208" y="289"/>
                </a:cubicBezTo>
                <a:cubicBezTo>
                  <a:pt x="208" y="288"/>
                  <a:pt x="205" y="287"/>
                  <a:pt x="199" y="286"/>
                </a:cubicBezTo>
                <a:lnTo>
                  <a:pt x="199" y="286"/>
                </a:lnTo>
                <a:close/>
                <a:moveTo>
                  <a:pt x="117" y="148"/>
                </a:moveTo>
                <a:lnTo>
                  <a:pt x="117" y="148"/>
                </a:lnTo>
                <a:cubicBezTo>
                  <a:pt x="117" y="148"/>
                  <a:pt x="122" y="147"/>
                  <a:pt x="131" y="144"/>
                </a:cubicBezTo>
                <a:cubicBezTo>
                  <a:pt x="130" y="140"/>
                  <a:pt x="129" y="137"/>
                  <a:pt x="129" y="136"/>
                </a:cubicBezTo>
                <a:cubicBezTo>
                  <a:pt x="124" y="134"/>
                  <a:pt x="121" y="134"/>
                  <a:pt x="119" y="134"/>
                </a:cubicBezTo>
                <a:cubicBezTo>
                  <a:pt x="118" y="133"/>
                  <a:pt x="116" y="134"/>
                  <a:pt x="114" y="134"/>
                </a:cubicBezTo>
                <a:cubicBezTo>
                  <a:pt x="112" y="135"/>
                  <a:pt x="110" y="136"/>
                  <a:pt x="110" y="137"/>
                </a:cubicBezTo>
                <a:cubicBezTo>
                  <a:pt x="110" y="139"/>
                  <a:pt x="111" y="141"/>
                  <a:pt x="113" y="144"/>
                </a:cubicBezTo>
                <a:cubicBezTo>
                  <a:pt x="115" y="147"/>
                  <a:pt x="116" y="148"/>
                  <a:pt x="117" y="148"/>
                </a:cubicBezTo>
                <a:lnTo>
                  <a:pt x="117" y="148"/>
                </a:lnTo>
                <a:close/>
                <a:moveTo>
                  <a:pt x="23" y="166"/>
                </a:moveTo>
                <a:lnTo>
                  <a:pt x="23" y="166"/>
                </a:lnTo>
                <a:cubicBezTo>
                  <a:pt x="26" y="167"/>
                  <a:pt x="28" y="168"/>
                  <a:pt x="30" y="168"/>
                </a:cubicBezTo>
                <a:cubicBezTo>
                  <a:pt x="31" y="169"/>
                  <a:pt x="33" y="168"/>
                  <a:pt x="35" y="167"/>
                </a:cubicBezTo>
                <a:cubicBezTo>
                  <a:pt x="37" y="167"/>
                  <a:pt x="38" y="166"/>
                  <a:pt x="39" y="166"/>
                </a:cubicBezTo>
                <a:cubicBezTo>
                  <a:pt x="44" y="167"/>
                  <a:pt x="48" y="171"/>
                  <a:pt x="51" y="180"/>
                </a:cubicBezTo>
                <a:cubicBezTo>
                  <a:pt x="53" y="186"/>
                  <a:pt x="54" y="192"/>
                  <a:pt x="54" y="198"/>
                </a:cubicBezTo>
                <a:cubicBezTo>
                  <a:pt x="57" y="198"/>
                  <a:pt x="60" y="197"/>
                  <a:pt x="65" y="198"/>
                </a:cubicBezTo>
                <a:cubicBezTo>
                  <a:pt x="69" y="197"/>
                  <a:pt x="71" y="196"/>
                  <a:pt x="72" y="193"/>
                </a:cubicBezTo>
                <a:cubicBezTo>
                  <a:pt x="73" y="189"/>
                  <a:pt x="73" y="187"/>
                  <a:pt x="74" y="184"/>
                </a:cubicBezTo>
                <a:cubicBezTo>
                  <a:pt x="76" y="179"/>
                  <a:pt x="79" y="177"/>
                  <a:pt x="81" y="178"/>
                </a:cubicBezTo>
                <a:cubicBezTo>
                  <a:pt x="82" y="178"/>
                  <a:pt x="82" y="178"/>
                  <a:pt x="83" y="179"/>
                </a:cubicBezTo>
                <a:cubicBezTo>
                  <a:pt x="83" y="181"/>
                  <a:pt x="84" y="181"/>
                  <a:pt x="85" y="181"/>
                </a:cubicBezTo>
                <a:cubicBezTo>
                  <a:pt x="86" y="181"/>
                  <a:pt x="87" y="181"/>
                  <a:pt x="89" y="180"/>
                </a:cubicBezTo>
                <a:cubicBezTo>
                  <a:pt x="90" y="179"/>
                  <a:pt x="91" y="178"/>
                  <a:pt x="91" y="177"/>
                </a:cubicBezTo>
                <a:cubicBezTo>
                  <a:pt x="90" y="176"/>
                  <a:pt x="90" y="175"/>
                  <a:pt x="90" y="175"/>
                </a:cubicBezTo>
                <a:cubicBezTo>
                  <a:pt x="90" y="173"/>
                  <a:pt x="92" y="171"/>
                  <a:pt x="96" y="169"/>
                </a:cubicBezTo>
                <a:cubicBezTo>
                  <a:pt x="99" y="167"/>
                  <a:pt x="101" y="165"/>
                  <a:pt x="101" y="164"/>
                </a:cubicBezTo>
                <a:cubicBezTo>
                  <a:pt x="101" y="164"/>
                  <a:pt x="99" y="162"/>
                  <a:pt x="96" y="157"/>
                </a:cubicBezTo>
                <a:cubicBezTo>
                  <a:pt x="95" y="154"/>
                  <a:pt x="94" y="152"/>
                  <a:pt x="93" y="150"/>
                </a:cubicBezTo>
                <a:cubicBezTo>
                  <a:pt x="92" y="149"/>
                  <a:pt x="91" y="147"/>
                  <a:pt x="88" y="146"/>
                </a:cubicBezTo>
                <a:cubicBezTo>
                  <a:pt x="88" y="145"/>
                  <a:pt x="86" y="145"/>
                  <a:pt x="84" y="144"/>
                </a:cubicBezTo>
                <a:cubicBezTo>
                  <a:pt x="83" y="144"/>
                  <a:pt x="81" y="144"/>
                  <a:pt x="79" y="144"/>
                </a:cubicBezTo>
                <a:cubicBezTo>
                  <a:pt x="77" y="143"/>
                  <a:pt x="74" y="141"/>
                  <a:pt x="71" y="138"/>
                </a:cubicBezTo>
                <a:cubicBezTo>
                  <a:pt x="67" y="134"/>
                  <a:pt x="64" y="133"/>
                  <a:pt x="63" y="132"/>
                </a:cubicBezTo>
                <a:cubicBezTo>
                  <a:pt x="60" y="132"/>
                  <a:pt x="57" y="134"/>
                  <a:pt x="54" y="139"/>
                </a:cubicBezTo>
                <a:cubicBezTo>
                  <a:pt x="52" y="143"/>
                  <a:pt x="50" y="147"/>
                  <a:pt x="50" y="150"/>
                </a:cubicBezTo>
                <a:cubicBezTo>
                  <a:pt x="50" y="153"/>
                  <a:pt x="44" y="155"/>
                  <a:pt x="34" y="155"/>
                </a:cubicBezTo>
                <a:cubicBezTo>
                  <a:pt x="24" y="156"/>
                  <a:pt x="19" y="158"/>
                  <a:pt x="18" y="161"/>
                </a:cubicBezTo>
                <a:cubicBezTo>
                  <a:pt x="18" y="162"/>
                  <a:pt x="20" y="164"/>
                  <a:pt x="23" y="166"/>
                </a:cubicBezTo>
                <a:lnTo>
                  <a:pt x="23" y="166"/>
                </a:lnTo>
                <a:close/>
                <a:moveTo>
                  <a:pt x="132" y="235"/>
                </a:moveTo>
                <a:lnTo>
                  <a:pt x="132" y="235"/>
                </a:lnTo>
                <a:cubicBezTo>
                  <a:pt x="131" y="232"/>
                  <a:pt x="130" y="231"/>
                  <a:pt x="129" y="230"/>
                </a:cubicBezTo>
                <a:cubicBezTo>
                  <a:pt x="128" y="230"/>
                  <a:pt x="125" y="229"/>
                  <a:pt x="122" y="229"/>
                </a:cubicBezTo>
                <a:cubicBezTo>
                  <a:pt x="119" y="228"/>
                  <a:pt x="117" y="228"/>
                  <a:pt x="116" y="227"/>
                </a:cubicBezTo>
                <a:cubicBezTo>
                  <a:pt x="113" y="226"/>
                  <a:pt x="110" y="224"/>
                  <a:pt x="107" y="221"/>
                </a:cubicBezTo>
                <a:cubicBezTo>
                  <a:pt x="106" y="220"/>
                  <a:pt x="105" y="219"/>
                  <a:pt x="105" y="218"/>
                </a:cubicBezTo>
                <a:cubicBezTo>
                  <a:pt x="101" y="214"/>
                  <a:pt x="98" y="212"/>
                  <a:pt x="95" y="212"/>
                </a:cubicBezTo>
                <a:cubicBezTo>
                  <a:pt x="92" y="212"/>
                  <a:pt x="89" y="213"/>
                  <a:pt x="85" y="216"/>
                </a:cubicBezTo>
                <a:cubicBezTo>
                  <a:pt x="82" y="218"/>
                  <a:pt x="78" y="220"/>
                  <a:pt x="74" y="219"/>
                </a:cubicBezTo>
                <a:cubicBezTo>
                  <a:pt x="72" y="219"/>
                  <a:pt x="71" y="218"/>
                  <a:pt x="69" y="216"/>
                </a:cubicBezTo>
                <a:cubicBezTo>
                  <a:pt x="67" y="214"/>
                  <a:pt x="66" y="213"/>
                  <a:pt x="64" y="213"/>
                </a:cubicBezTo>
                <a:cubicBezTo>
                  <a:pt x="62" y="212"/>
                  <a:pt x="60" y="213"/>
                  <a:pt x="57" y="216"/>
                </a:cubicBezTo>
                <a:cubicBezTo>
                  <a:pt x="53" y="219"/>
                  <a:pt x="51" y="220"/>
                  <a:pt x="51" y="220"/>
                </a:cubicBezTo>
                <a:cubicBezTo>
                  <a:pt x="48" y="221"/>
                  <a:pt x="45" y="221"/>
                  <a:pt x="44" y="222"/>
                </a:cubicBezTo>
                <a:cubicBezTo>
                  <a:pt x="41" y="223"/>
                  <a:pt x="39" y="225"/>
                  <a:pt x="39" y="228"/>
                </a:cubicBezTo>
                <a:lnTo>
                  <a:pt x="39" y="232"/>
                </a:lnTo>
                <a:cubicBezTo>
                  <a:pt x="36" y="231"/>
                  <a:pt x="34" y="231"/>
                  <a:pt x="33" y="231"/>
                </a:cubicBezTo>
                <a:cubicBezTo>
                  <a:pt x="30" y="231"/>
                  <a:pt x="29" y="231"/>
                  <a:pt x="28" y="233"/>
                </a:cubicBezTo>
                <a:cubicBezTo>
                  <a:pt x="27" y="233"/>
                  <a:pt x="25" y="236"/>
                  <a:pt x="22" y="242"/>
                </a:cubicBezTo>
                <a:lnTo>
                  <a:pt x="23" y="249"/>
                </a:lnTo>
                <a:cubicBezTo>
                  <a:pt x="23" y="251"/>
                  <a:pt x="22" y="251"/>
                  <a:pt x="21" y="251"/>
                </a:cubicBezTo>
                <a:cubicBezTo>
                  <a:pt x="19" y="251"/>
                  <a:pt x="18" y="249"/>
                  <a:pt x="15" y="245"/>
                </a:cubicBezTo>
                <a:cubicBezTo>
                  <a:pt x="13" y="241"/>
                  <a:pt x="10" y="239"/>
                  <a:pt x="6" y="238"/>
                </a:cubicBezTo>
                <a:cubicBezTo>
                  <a:pt x="6" y="238"/>
                  <a:pt x="5" y="238"/>
                  <a:pt x="3" y="239"/>
                </a:cubicBezTo>
                <a:cubicBezTo>
                  <a:pt x="1" y="240"/>
                  <a:pt x="1" y="240"/>
                  <a:pt x="1" y="241"/>
                </a:cubicBezTo>
                <a:cubicBezTo>
                  <a:pt x="0" y="243"/>
                  <a:pt x="2" y="246"/>
                  <a:pt x="6" y="250"/>
                </a:cubicBezTo>
                <a:cubicBezTo>
                  <a:pt x="10" y="254"/>
                  <a:pt x="12" y="257"/>
                  <a:pt x="12" y="260"/>
                </a:cubicBezTo>
                <a:lnTo>
                  <a:pt x="4" y="280"/>
                </a:lnTo>
                <a:cubicBezTo>
                  <a:pt x="4" y="282"/>
                  <a:pt x="6" y="284"/>
                  <a:pt x="10" y="286"/>
                </a:cubicBezTo>
                <a:cubicBezTo>
                  <a:pt x="16" y="289"/>
                  <a:pt x="19" y="291"/>
                  <a:pt x="19" y="291"/>
                </a:cubicBezTo>
                <a:cubicBezTo>
                  <a:pt x="19" y="291"/>
                  <a:pt x="22" y="293"/>
                  <a:pt x="27" y="297"/>
                </a:cubicBezTo>
                <a:cubicBezTo>
                  <a:pt x="30" y="299"/>
                  <a:pt x="31" y="302"/>
                  <a:pt x="31" y="304"/>
                </a:cubicBezTo>
                <a:cubicBezTo>
                  <a:pt x="29" y="307"/>
                  <a:pt x="27" y="309"/>
                  <a:pt x="26" y="309"/>
                </a:cubicBezTo>
                <a:cubicBezTo>
                  <a:pt x="25" y="310"/>
                  <a:pt x="25" y="312"/>
                  <a:pt x="23" y="315"/>
                </a:cubicBezTo>
                <a:cubicBezTo>
                  <a:pt x="22" y="315"/>
                  <a:pt x="22" y="316"/>
                  <a:pt x="22" y="316"/>
                </a:cubicBezTo>
                <a:cubicBezTo>
                  <a:pt x="22" y="316"/>
                  <a:pt x="22" y="317"/>
                  <a:pt x="22" y="317"/>
                </a:cubicBezTo>
                <a:lnTo>
                  <a:pt x="22" y="317"/>
                </a:lnTo>
                <a:cubicBezTo>
                  <a:pt x="21" y="320"/>
                  <a:pt x="21" y="325"/>
                  <a:pt x="19" y="331"/>
                </a:cubicBezTo>
                <a:cubicBezTo>
                  <a:pt x="19" y="333"/>
                  <a:pt x="20" y="338"/>
                  <a:pt x="22" y="345"/>
                </a:cubicBezTo>
                <a:cubicBezTo>
                  <a:pt x="32" y="335"/>
                  <a:pt x="37" y="330"/>
                  <a:pt x="38" y="328"/>
                </a:cubicBezTo>
                <a:cubicBezTo>
                  <a:pt x="37" y="324"/>
                  <a:pt x="37" y="320"/>
                  <a:pt x="38" y="317"/>
                </a:cubicBezTo>
                <a:cubicBezTo>
                  <a:pt x="37" y="316"/>
                  <a:pt x="37" y="316"/>
                  <a:pt x="37" y="315"/>
                </a:cubicBezTo>
                <a:cubicBezTo>
                  <a:pt x="40" y="306"/>
                  <a:pt x="41" y="300"/>
                  <a:pt x="41" y="299"/>
                </a:cubicBezTo>
                <a:cubicBezTo>
                  <a:pt x="41" y="297"/>
                  <a:pt x="42" y="295"/>
                  <a:pt x="44" y="293"/>
                </a:cubicBezTo>
                <a:cubicBezTo>
                  <a:pt x="44" y="293"/>
                  <a:pt x="45" y="291"/>
                  <a:pt x="49" y="288"/>
                </a:cubicBezTo>
                <a:cubicBezTo>
                  <a:pt x="52" y="286"/>
                  <a:pt x="57" y="284"/>
                  <a:pt x="65" y="281"/>
                </a:cubicBezTo>
                <a:cubicBezTo>
                  <a:pt x="72" y="279"/>
                  <a:pt x="77" y="278"/>
                  <a:pt x="78" y="278"/>
                </a:cubicBezTo>
                <a:cubicBezTo>
                  <a:pt x="79" y="278"/>
                  <a:pt x="80" y="279"/>
                  <a:pt x="83" y="280"/>
                </a:cubicBezTo>
                <a:cubicBezTo>
                  <a:pt x="82" y="276"/>
                  <a:pt x="83" y="274"/>
                  <a:pt x="87" y="274"/>
                </a:cubicBezTo>
                <a:cubicBezTo>
                  <a:pt x="92" y="274"/>
                  <a:pt x="94" y="274"/>
                  <a:pt x="94" y="273"/>
                </a:cubicBezTo>
                <a:cubicBezTo>
                  <a:pt x="99" y="264"/>
                  <a:pt x="102" y="259"/>
                  <a:pt x="103" y="258"/>
                </a:cubicBezTo>
                <a:cubicBezTo>
                  <a:pt x="104" y="257"/>
                  <a:pt x="106" y="256"/>
                  <a:pt x="109" y="254"/>
                </a:cubicBezTo>
                <a:cubicBezTo>
                  <a:pt x="111" y="252"/>
                  <a:pt x="112" y="250"/>
                  <a:pt x="112" y="248"/>
                </a:cubicBezTo>
                <a:cubicBezTo>
                  <a:pt x="111" y="246"/>
                  <a:pt x="112" y="244"/>
                  <a:pt x="114" y="240"/>
                </a:cubicBezTo>
                <a:cubicBezTo>
                  <a:pt x="116" y="236"/>
                  <a:pt x="118" y="234"/>
                  <a:pt x="119" y="234"/>
                </a:cubicBezTo>
                <a:cubicBezTo>
                  <a:pt x="122" y="234"/>
                  <a:pt x="123" y="235"/>
                  <a:pt x="125" y="237"/>
                </a:cubicBezTo>
                <a:cubicBezTo>
                  <a:pt x="128" y="239"/>
                  <a:pt x="130" y="240"/>
                  <a:pt x="133" y="240"/>
                </a:cubicBezTo>
                <a:cubicBezTo>
                  <a:pt x="134" y="240"/>
                  <a:pt x="135" y="240"/>
                  <a:pt x="136" y="238"/>
                </a:cubicBezTo>
                <a:cubicBezTo>
                  <a:pt x="134" y="237"/>
                  <a:pt x="133" y="236"/>
                  <a:pt x="132" y="235"/>
                </a:cubicBezTo>
                <a:lnTo>
                  <a:pt x="132" y="235"/>
                </a:lnTo>
                <a:close/>
                <a:moveTo>
                  <a:pt x="124" y="198"/>
                </a:moveTo>
                <a:lnTo>
                  <a:pt x="124" y="198"/>
                </a:lnTo>
                <a:cubicBezTo>
                  <a:pt x="124" y="198"/>
                  <a:pt x="123" y="198"/>
                  <a:pt x="122" y="199"/>
                </a:cubicBezTo>
                <a:cubicBezTo>
                  <a:pt x="120" y="199"/>
                  <a:pt x="118" y="201"/>
                  <a:pt x="116" y="203"/>
                </a:cubicBezTo>
                <a:cubicBezTo>
                  <a:pt x="115" y="205"/>
                  <a:pt x="114" y="208"/>
                  <a:pt x="113" y="211"/>
                </a:cubicBezTo>
                <a:cubicBezTo>
                  <a:pt x="113" y="213"/>
                  <a:pt x="113" y="214"/>
                  <a:pt x="114" y="214"/>
                </a:cubicBezTo>
                <a:cubicBezTo>
                  <a:pt x="114" y="215"/>
                  <a:pt x="115" y="216"/>
                  <a:pt x="116" y="216"/>
                </a:cubicBezTo>
                <a:cubicBezTo>
                  <a:pt x="116" y="217"/>
                  <a:pt x="118" y="217"/>
                  <a:pt x="121" y="217"/>
                </a:cubicBezTo>
                <a:lnTo>
                  <a:pt x="131" y="219"/>
                </a:lnTo>
                <a:cubicBezTo>
                  <a:pt x="137" y="220"/>
                  <a:pt x="139" y="219"/>
                  <a:pt x="139" y="217"/>
                </a:cubicBezTo>
                <a:cubicBezTo>
                  <a:pt x="135" y="207"/>
                  <a:pt x="130" y="201"/>
                  <a:pt x="124" y="198"/>
                </a:cubicBezTo>
                <a:lnTo>
                  <a:pt x="124" y="198"/>
                </a:lnTo>
                <a:close/>
                <a:moveTo>
                  <a:pt x="557" y="279"/>
                </a:moveTo>
                <a:lnTo>
                  <a:pt x="557" y="279"/>
                </a:lnTo>
                <a:cubicBezTo>
                  <a:pt x="555" y="276"/>
                  <a:pt x="553" y="272"/>
                  <a:pt x="552" y="269"/>
                </a:cubicBezTo>
                <a:cubicBezTo>
                  <a:pt x="551" y="264"/>
                  <a:pt x="550" y="261"/>
                  <a:pt x="549" y="259"/>
                </a:cubicBezTo>
                <a:cubicBezTo>
                  <a:pt x="548" y="255"/>
                  <a:pt x="545" y="252"/>
                  <a:pt x="542" y="251"/>
                </a:cubicBezTo>
                <a:cubicBezTo>
                  <a:pt x="539" y="249"/>
                  <a:pt x="536" y="246"/>
                  <a:pt x="534" y="243"/>
                </a:cubicBezTo>
                <a:cubicBezTo>
                  <a:pt x="532" y="239"/>
                  <a:pt x="530" y="236"/>
                  <a:pt x="529" y="234"/>
                </a:cubicBezTo>
                <a:cubicBezTo>
                  <a:pt x="527" y="231"/>
                  <a:pt x="527" y="227"/>
                  <a:pt x="527" y="222"/>
                </a:cubicBezTo>
                <a:cubicBezTo>
                  <a:pt x="530" y="211"/>
                  <a:pt x="531" y="205"/>
                  <a:pt x="532" y="203"/>
                </a:cubicBezTo>
                <a:cubicBezTo>
                  <a:pt x="532" y="200"/>
                  <a:pt x="528" y="190"/>
                  <a:pt x="520" y="171"/>
                </a:cubicBezTo>
                <a:cubicBezTo>
                  <a:pt x="512" y="152"/>
                  <a:pt x="508" y="139"/>
                  <a:pt x="509" y="133"/>
                </a:cubicBezTo>
                <a:cubicBezTo>
                  <a:pt x="510" y="128"/>
                  <a:pt x="514" y="119"/>
                  <a:pt x="524" y="105"/>
                </a:cubicBezTo>
                <a:cubicBezTo>
                  <a:pt x="533" y="91"/>
                  <a:pt x="538" y="80"/>
                  <a:pt x="539" y="70"/>
                </a:cubicBezTo>
                <a:cubicBezTo>
                  <a:pt x="538" y="55"/>
                  <a:pt x="538" y="46"/>
                  <a:pt x="538" y="44"/>
                </a:cubicBezTo>
                <a:cubicBezTo>
                  <a:pt x="538" y="39"/>
                  <a:pt x="541" y="36"/>
                  <a:pt x="544" y="35"/>
                </a:cubicBezTo>
                <a:cubicBezTo>
                  <a:pt x="547" y="34"/>
                  <a:pt x="551" y="33"/>
                  <a:pt x="556" y="31"/>
                </a:cubicBezTo>
                <a:cubicBezTo>
                  <a:pt x="556" y="29"/>
                  <a:pt x="556" y="28"/>
                  <a:pt x="555" y="27"/>
                </a:cubicBezTo>
                <a:lnTo>
                  <a:pt x="555" y="24"/>
                </a:lnTo>
                <a:cubicBezTo>
                  <a:pt x="556" y="24"/>
                  <a:pt x="557" y="23"/>
                  <a:pt x="561" y="22"/>
                </a:cubicBezTo>
                <a:cubicBezTo>
                  <a:pt x="563" y="22"/>
                  <a:pt x="564" y="20"/>
                  <a:pt x="565" y="18"/>
                </a:cubicBezTo>
                <a:cubicBezTo>
                  <a:pt x="565" y="16"/>
                  <a:pt x="562" y="12"/>
                  <a:pt x="556" y="8"/>
                </a:cubicBezTo>
                <a:cubicBezTo>
                  <a:pt x="552" y="4"/>
                  <a:pt x="549" y="2"/>
                  <a:pt x="547" y="0"/>
                </a:cubicBezTo>
                <a:cubicBezTo>
                  <a:pt x="547" y="0"/>
                  <a:pt x="547" y="0"/>
                  <a:pt x="546" y="0"/>
                </a:cubicBezTo>
                <a:cubicBezTo>
                  <a:pt x="546" y="2"/>
                  <a:pt x="544" y="5"/>
                  <a:pt x="543" y="9"/>
                </a:cubicBezTo>
                <a:cubicBezTo>
                  <a:pt x="541" y="14"/>
                  <a:pt x="538" y="17"/>
                  <a:pt x="534" y="17"/>
                </a:cubicBezTo>
                <a:cubicBezTo>
                  <a:pt x="518" y="18"/>
                  <a:pt x="508" y="19"/>
                  <a:pt x="504" y="18"/>
                </a:cubicBezTo>
                <a:cubicBezTo>
                  <a:pt x="497" y="17"/>
                  <a:pt x="492" y="16"/>
                  <a:pt x="489" y="16"/>
                </a:cubicBezTo>
                <a:cubicBezTo>
                  <a:pt x="484" y="16"/>
                  <a:pt x="479" y="17"/>
                  <a:pt x="476" y="19"/>
                </a:cubicBezTo>
                <a:cubicBezTo>
                  <a:pt x="469" y="22"/>
                  <a:pt x="459" y="24"/>
                  <a:pt x="446" y="22"/>
                </a:cubicBezTo>
                <a:cubicBezTo>
                  <a:pt x="444" y="22"/>
                  <a:pt x="440" y="20"/>
                  <a:pt x="434" y="15"/>
                </a:cubicBezTo>
                <a:cubicBezTo>
                  <a:pt x="428" y="10"/>
                  <a:pt x="423" y="7"/>
                  <a:pt x="418" y="7"/>
                </a:cubicBezTo>
                <a:cubicBezTo>
                  <a:pt x="417" y="7"/>
                  <a:pt x="415" y="8"/>
                  <a:pt x="412" y="9"/>
                </a:cubicBezTo>
                <a:cubicBezTo>
                  <a:pt x="409" y="11"/>
                  <a:pt x="405" y="12"/>
                  <a:pt x="402" y="11"/>
                </a:cubicBezTo>
                <a:cubicBezTo>
                  <a:pt x="398" y="11"/>
                  <a:pt x="395" y="10"/>
                  <a:pt x="391" y="9"/>
                </a:cubicBezTo>
                <a:cubicBezTo>
                  <a:pt x="388" y="8"/>
                  <a:pt x="386" y="7"/>
                  <a:pt x="385" y="7"/>
                </a:cubicBezTo>
                <a:cubicBezTo>
                  <a:pt x="383" y="7"/>
                  <a:pt x="381" y="7"/>
                  <a:pt x="378" y="8"/>
                </a:cubicBezTo>
                <a:cubicBezTo>
                  <a:pt x="376" y="9"/>
                  <a:pt x="373" y="9"/>
                  <a:pt x="372" y="9"/>
                </a:cubicBezTo>
                <a:cubicBezTo>
                  <a:pt x="369" y="9"/>
                  <a:pt x="366" y="8"/>
                  <a:pt x="364" y="6"/>
                </a:cubicBezTo>
                <a:cubicBezTo>
                  <a:pt x="361" y="4"/>
                  <a:pt x="358" y="3"/>
                  <a:pt x="356" y="3"/>
                </a:cubicBezTo>
                <a:cubicBezTo>
                  <a:pt x="354" y="3"/>
                  <a:pt x="351" y="3"/>
                  <a:pt x="349" y="5"/>
                </a:cubicBezTo>
                <a:cubicBezTo>
                  <a:pt x="346" y="7"/>
                  <a:pt x="344" y="8"/>
                  <a:pt x="343" y="9"/>
                </a:cubicBezTo>
                <a:cubicBezTo>
                  <a:pt x="342" y="9"/>
                  <a:pt x="341" y="7"/>
                  <a:pt x="339" y="5"/>
                </a:cubicBezTo>
                <a:cubicBezTo>
                  <a:pt x="337" y="2"/>
                  <a:pt x="335" y="1"/>
                  <a:pt x="333" y="1"/>
                </a:cubicBezTo>
                <a:cubicBezTo>
                  <a:pt x="332" y="1"/>
                  <a:pt x="330" y="2"/>
                  <a:pt x="330" y="5"/>
                </a:cubicBezTo>
                <a:cubicBezTo>
                  <a:pt x="330" y="6"/>
                  <a:pt x="331" y="7"/>
                  <a:pt x="332" y="8"/>
                </a:cubicBezTo>
                <a:cubicBezTo>
                  <a:pt x="333" y="8"/>
                  <a:pt x="333" y="9"/>
                  <a:pt x="333" y="10"/>
                </a:cubicBezTo>
                <a:cubicBezTo>
                  <a:pt x="333" y="12"/>
                  <a:pt x="332" y="13"/>
                  <a:pt x="330" y="15"/>
                </a:cubicBezTo>
                <a:cubicBezTo>
                  <a:pt x="328" y="16"/>
                  <a:pt x="327" y="17"/>
                  <a:pt x="326" y="17"/>
                </a:cubicBezTo>
                <a:cubicBezTo>
                  <a:pt x="325" y="17"/>
                  <a:pt x="324" y="15"/>
                  <a:pt x="321" y="13"/>
                </a:cubicBezTo>
                <a:cubicBezTo>
                  <a:pt x="320" y="11"/>
                  <a:pt x="318" y="10"/>
                  <a:pt x="317" y="10"/>
                </a:cubicBezTo>
                <a:cubicBezTo>
                  <a:pt x="315" y="10"/>
                  <a:pt x="315" y="11"/>
                  <a:pt x="314" y="13"/>
                </a:cubicBezTo>
                <a:cubicBezTo>
                  <a:pt x="314" y="15"/>
                  <a:pt x="315" y="16"/>
                  <a:pt x="317" y="18"/>
                </a:cubicBezTo>
                <a:cubicBezTo>
                  <a:pt x="318" y="20"/>
                  <a:pt x="319" y="22"/>
                  <a:pt x="319" y="22"/>
                </a:cubicBezTo>
                <a:cubicBezTo>
                  <a:pt x="319" y="23"/>
                  <a:pt x="318" y="24"/>
                  <a:pt x="315" y="24"/>
                </a:cubicBezTo>
                <a:cubicBezTo>
                  <a:pt x="313" y="25"/>
                  <a:pt x="311" y="25"/>
                  <a:pt x="311" y="26"/>
                </a:cubicBezTo>
                <a:cubicBezTo>
                  <a:pt x="309" y="31"/>
                  <a:pt x="307" y="33"/>
                  <a:pt x="305" y="32"/>
                </a:cubicBezTo>
                <a:cubicBezTo>
                  <a:pt x="301" y="31"/>
                  <a:pt x="300" y="31"/>
                  <a:pt x="299" y="31"/>
                </a:cubicBezTo>
                <a:cubicBezTo>
                  <a:pt x="293" y="30"/>
                  <a:pt x="289" y="31"/>
                  <a:pt x="285" y="33"/>
                </a:cubicBezTo>
                <a:cubicBezTo>
                  <a:pt x="282" y="36"/>
                  <a:pt x="280" y="37"/>
                  <a:pt x="278" y="37"/>
                </a:cubicBezTo>
                <a:lnTo>
                  <a:pt x="262" y="34"/>
                </a:lnTo>
                <a:cubicBezTo>
                  <a:pt x="259" y="34"/>
                  <a:pt x="259" y="33"/>
                  <a:pt x="259" y="32"/>
                </a:cubicBezTo>
                <a:cubicBezTo>
                  <a:pt x="259" y="31"/>
                  <a:pt x="258" y="30"/>
                  <a:pt x="256" y="30"/>
                </a:cubicBezTo>
                <a:cubicBezTo>
                  <a:pt x="253" y="29"/>
                  <a:pt x="251" y="30"/>
                  <a:pt x="250" y="31"/>
                </a:cubicBezTo>
                <a:cubicBezTo>
                  <a:pt x="250" y="32"/>
                  <a:pt x="250" y="34"/>
                  <a:pt x="250" y="37"/>
                </a:cubicBezTo>
                <a:cubicBezTo>
                  <a:pt x="250" y="38"/>
                  <a:pt x="248" y="40"/>
                  <a:pt x="245" y="43"/>
                </a:cubicBezTo>
                <a:lnTo>
                  <a:pt x="240" y="43"/>
                </a:lnTo>
                <a:cubicBezTo>
                  <a:pt x="237" y="45"/>
                  <a:pt x="230" y="47"/>
                  <a:pt x="219" y="47"/>
                </a:cubicBezTo>
                <a:cubicBezTo>
                  <a:pt x="217" y="46"/>
                  <a:pt x="214" y="49"/>
                  <a:pt x="210" y="54"/>
                </a:cubicBezTo>
                <a:cubicBezTo>
                  <a:pt x="207" y="58"/>
                  <a:pt x="203" y="60"/>
                  <a:pt x="200" y="59"/>
                </a:cubicBezTo>
                <a:lnTo>
                  <a:pt x="200" y="61"/>
                </a:lnTo>
                <a:cubicBezTo>
                  <a:pt x="201" y="64"/>
                  <a:pt x="202" y="66"/>
                  <a:pt x="202" y="70"/>
                </a:cubicBezTo>
                <a:lnTo>
                  <a:pt x="199" y="69"/>
                </a:lnTo>
                <a:cubicBezTo>
                  <a:pt x="196" y="67"/>
                  <a:pt x="193" y="65"/>
                  <a:pt x="190" y="65"/>
                </a:cubicBezTo>
                <a:cubicBezTo>
                  <a:pt x="188" y="65"/>
                  <a:pt x="186" y="65"/>
                  <a:pt x="185" y="66"/>
                </a:cubicBezTo>
                <a:cubicBezTo>
                  <a:pt x="186" y="68"/>
                  <a:pt x="187" y="69"/>
                  <a:pt x="189" y="71"/>
                </a:cubicBezTo>
                <a:cubicBezTo>
                  <a:pt x="190" y="72"/>
                  <a:pt x="190" y="74"/>
                  <a:pt x="190" y="76"/>
                </a:cubicBezTo>
                <a:cubicBezTo>
                  <a:pt x="189" y="80"/>
                  <a:pt x="188" y="83"/>
                  <a:pt x="185" y="84"/>
                </a:cubicBezTo>
                <a:cubicBezTo>
                  <a:pt x="183" y="85"/>
                  <a:pt x="179" y="85"/>
                  <a:pt x="174" y="85"/>
                </a:cubicBezTo>
                <a:cubicBezTo>
                  <a:pt x="171" y="83"/>
                  <a:pt x="169" y="83"/>
                  <a:pt x="166" y="83"/>
                </a:cubicBezTo>
                <a:cubicBezTo>
                  <a:pt x="162" y="82"/>
                  <a:pt x="161" y="84"/>
                  <a:pt x="161" y="87"/>
                </a:cubicBezTo>
                <a:cubicBezTo>
                  <a:pt x="161" y="91"/>
                  <a:pt x="159" y="93"/>
                  <a:pt x="154" y="93"/>
                </a:cubicBezTo>
                <a:cubicBezTo>
                  <a:pt x="148" y="93"/>
                  <a:pt x="144" y="93"/>
                  <a:pt x="142" y="94"/>
                </a:cubicBezTo>
                <a:cubicBezTo>
                  <a:pt x="140" y="95"/>
                  <a:pt x="139" y="97"/>
                  <a:pt x="138" y="102"/>
                </a:cubicBezTo>
                <a:cubicBezTo>
                  <a:pt x="138" y="104"/>
                  <a:pt x="139" y="105"/>
                  <a:pt x="140" y="107"/>
                </a:cubicBezTo>
                <a:cubicBezTo>
                  <a:pt x="142" y="108"/>
                  <a:pt x="142" y="110"/>
                  <a:pt x="142" y="112"/>
                </a:cubicBezTo>
                <a:cubicBezTo>
                  <a:pt x="141" y="114"/>
                  <a:pt x="141" y="118"/>
                  <a:pt x="140" y="124"/>
                </a:cubicBezTo>
                <a:cubicBezTo>
                  <a:pt x="140" y="128"/>
                  <a:pt x="140" y="132"/>
                  <a:pt x="141" y="135"/>
                </a:cubicBezTo>
                <a:cubicBezTo>
                  <a:pt x="142" y="139"/>
                  <a:pt x="144" y="141"/>
                  <a:pt x="148" y="141"/>
                </a:cubicBezTo>
                <a:cubicBezTo>
                  <a:pt x="149" y="141"/>
                  <a:pt x="151" y="140"/>
                  <a:pt x="154" y="136"/>
                </a:cubicBezTo>
                <a:cubicBezTo>
                  <a:pt x="155" y="138"/>
                  <a:pt x="156" y="139"/>
                  <a:pt x="156" y="140"/>
                </a:cubicBezTo>
                <a:cubicBezTo>
                  <a:pt x="155" y="145"/>
                  <a:pt x="152" y="147"/>
                  <a:pt x="147" y="149"/>
                </a:cubicBezTo>
                <a:cubicBezTo>
                  <a:pt x="141" y="151"/>
                  <a:pt x="138" y="152"/>
                  <a:pt x="138" y="152"/>
                </a:cubicBezTo>
                <a:cubicBezTo>
                  <a:pt x="137" y="154"/>
                  <a:pt x="140" y="158"/>
                  <a:pt x="145" y="164"/>
                </a:cubicBezTo>
                <a:cubicBezTo>
                  <a:pt x="145" y="165"/>
                  <a:pt x="146" y="168"/>
                  <a:pt x="146" y="172"/>
                </a:cubicBezTo>
                <a:cubicBezTo>
                  <a:pt x="147" y="176"/>
                  <a:pt x="148" y="179"/>
                  <a:pt x="150" y="179"/>
                </a:cubicBezTo>
                <a:lnTo>
                  <a:pt x="176" y="176"/>
                </a:lnTo>
                <a:cubicBezTo>
                  <a:pt x="177" y="176"/>
                  <a:pt x="178" y="176"/>
                  <a:pt x="179" y="176"/>
                </a:cubicBezTo>
                <a:lnTo>
                  <a:pt x="179" y="177"/>
                </a:lnTo>
                <a:cubicBezTo>
                  <a:pt x="179" y="181"/>
                  <a:pt x="173" y="184"/>
                  <a:pt x="161" y="185"/>
                </a:cubicBezTo>
                <a:cubicBezTo>
                  <a:pt x="157" y="186"/>
                  <a:pt x="154" y="188"/>
                  <a:pt x="153" y="190"/>
                </a:cubicBezTo>
                <a:cubicBezTo>
                  <a:pt x="152" y="191"/>
                  <a:pt x="152" y="194"/>
                  <a:pt x="151" y="199"/>
                </a:cubicBezTo>
                <a:cubicBezTo>
                  <a:pt x="151" y="202"/>
                  <a:pt x="151" y="207"/>
                  <a:pt x="152" y="212"/>
                </a:cubicBezTo>
                <a:cubicBezTo>
                  <a:pt x="151" y="214"/>
                  <a:pt x="152" y="216"/>
                  <a:pt x="153" y="218"/>
                </a:cubicBezTo>
                <a:cubicBezTo>
                  <a:pt x="153" y="219"/>
                  <a:pt x="153" y="219"/>
                  <a:pt x="154" y="220"/>
                </a:cubicBezTo>
                <a:cubicBezTo>
                  <a:pt x="156" y="221"/>
                  <a:pt x="159" y="222"/>
                  <a:pt x="163" y="223"/>
                </a:cubicBezTo>
                <a:cubicBezTo>
                  <a:pt x="167" y="224"/>
                  <a:pt x="169" y="227"/>
                  <a:pt x="169" y="232"/>
                </a:cubicBezTo>
                <a:cubicBezTo>
                  <a:pt x="169" y="232"/>
                  <a:pt x="168" y="233"/>
                  <a:pt x="167" y="234"/>
                </a:cubicBezTo>
                <a:cubicBezTo>
                  <a:pt x="167" y="236"/>
                  <a:pt x="168" y="238"/>
                  <a:pt x="171" y="242"/>
                </a:cubicBezTo>
                <a:cubicBezTo>
                  <a:pt x="174" y="246"/>
                  <a:pt x="176" y="248"/>
                  <a:pt x="177" y="249"/>
                </a:cubicBezTo>
                <a:cubicBezTo>
                  <a:pt x="179" y="250"/>
                  <a:pt x="181" y="252"/>
                  <a:pt x="184" y="254"/>
                </a:cubicBezTo>
                <a:cubicBezTo>
                  <a:pt x="187" y="255"/>
                  <a:pt x="190" y="256"/>
                  <a:pt x="193" y="256"/>
                </a:cubicBezTo>
                <a:cubicBezTo>
                  <a:pt x="200" y="257"/>
                  <a:pt x="204" y="259"/>
                  <a:pt x="206" y="263"/>
                </a:cubicBezTo>
                <a:cubicBezTo>
                  <a:pt x="206" y="264"/>
                  <a:pt x="207" y="265"/>
                  <a:pt x="208" y="266"/>
                </a:cubicBezTo>
                <a:cubicBezTo>
                  <a:pt x="208" y="267"/>
                  <a:pt x="209" y="268"/>
                  <a:pt x="211" y="268"/>
                </a:cubicBezTo>
                <a:cubicBezTo>
                  <a:pt x="212" y="268"/>
                  <a:pt x="214" y="266"/>
                  <a:pt x="217" y="262"/>
                </a:cubicBezTo>
                <a:cubicBezTo>
                  <a:pt x="219" y="261"/>
                  <a:pt x="223" y="259"/>
                  <a:pt x="228" y="257"/>
                </a:cubicBezTo>
                <a:cubicBezTo>
                  <a:pt x="229" y="257"/>
                  <a:pt x="229" y="255"/>
                  <a:pt x="229" y="252"/>
                </a:cubicBezTo>
                <a:cubicBezTo>
                  <a:pt x="229" y="249"/>
                  <a:pt x="229" y="247"/>
                  <a:pt x="229" y="246"/>
                </a:cubicBezTo>
                <a:cubicBezTo>
                  <a:pt x="230" y="242"/>
                  <a:pt x="233" y="240"/>
                  <a:pt x="238" y="241"/>
                </a:cubicBezTo>
                <a:cubicBezTo>
                  <a:pt x="242" y="241"/>
                  <a:pt x="246" y="243"/>
                  <a:pt x="248" y="245"/>
                </a:cubicBezTo>
                <a:cubicBezTo>
                  <a:pt x="252" y="248"/>
                  <a:pt x="253" y="251"/>
                  <a:pt x="253" y="255"/>
                </a:cubicBezTo>
                <a:cubicBezTo>
                  <a:pt x="253" y="257"/>
                  <a:pt x="252" y="258"/>
                  <a:pt x="250" y="259"/>
                </a:cubicBezTo>
                <a:cubicBezTo>
                  <a:pt x="248" y="261"/>
                  <a:pt x="247" y="263"/>
                  <a:pt x="246" y="266"/>
                </a:cubicBezTo>
                <a:cubicBezTo>
                  <a:pt x="246" y="269"/>
                  <a:pt x="246" y="271"/>
                  <a:pt x="248" y="273"/>
                </a:cubicBezTo>
                <a:cubicBezTo>
                  <a:pt x="249" y="276"/>
                  <a:pt x="250" y="278"/>
                  <a:pt x="249" y="280"/>
                </a:cubicBezTo>
                <a:cubicBezTo>
                  <a:pt x="249" y="283"/>
                  <a:pt x="246" y="294"/>
                  <a:pt x="241" y="313"/>
                </a:cubicBezTo>
                <a:cubicBezTo>
                  <a:pt x="240" y="321"/>
                  <a:pt x="239" y="328"/>
                  <a:pt x="239" y="334"/>
                </a:cubicBezTo>
                <a:cubicBezTo>
                  <a:pt x="242" y="334"/>
                  <a:pt x="244" y="332"/>
                  <a:pt x="247" y="329"/>
                </a:cubicBezTo>
                <a:cubicBezTo>
                  <a:pt x="249" y="326"/>
                  <a:pt x="252" y="323"/>
                  <a:pt x="255" y="319"/>
                </a:cubicBezTo>
                <a:cubicBezTo>
                  <a:pt x="258" y="316"/>
                  <a:pt x="264" y="313"/>
                  <a:pt x="273" y="311"/>
                </a:cubicBezTo>
                <a:cubicBezTo>
                  <a:pt x="275" y="310"/>
                  <a:pt x="282" y="306"/>
                  <a:pt x="293" y="299"/>
                </a:cubicBezTo>
                <a:cubicBezTo>
                  <a:pt x="304" y="293"/>
                  <a:pt x="310" y="289"/>
                  <a:pt x="311" y="289"/>
                </a:cubicBezTo>
                <a:cubicBezTo>
                  <a:pt x="315" y="290"/>
                  <a:pt x="321" y="293"/>
                  <a:pt x="327" y="299"/>
                </a:cubicBezTo>
                <a:cubicBezTo>
                  <a:pt x="329" y="294"/>
                  <a:pt x="331" y="292"/>
                  <a:pt x="334" y="292"/>
                </a:cubicBezTo>
                <a:cubicBezTo>
                  <a:pt x="338" y="292"/>
                  <a:pt x="347" y="299"/>
                  <a:pt x="360" y="312"/>
                </a:cubicBezTo>
                <a:cubicBezTo>
                  <a:pt x="361" y="312"/>
                  <a:pt x="364" y="312"/>
                  <a:pt x="368" y="312"/>
                </a:cubicBezTo>
                <a:cubicBezTo>
                  <a:pt x="371" y="312"/>
                  <a:pt x="375" y="313"/>
                  <a:pt x="379" y="316"/>
                </a:cubicBezTo>
                <a:cubicBezTo>
                  <a:pt x="383" y="319"/>
                  <a:pt x="385" y="320"/>
                  <a:pt x="387" y="320"/>
                </a:cubicBezTo>
                <a:cubicBezTo>
                  <a:pt x="388" y="321"/>
                  <a:pt x="389" y="320"/>
                  <a:pt x="391" y="319"/>
                </a:cubicBezTo>
                <a:cubicBezTo>
                  <a:pt x="392" y="319"/>
                  <a:pt x="394" y="318"/>
                  <a:pt x="395" y="318"/>
                </a:cubicBezTo>
                <a:cubicBezTo>
                  <a:pt x="399" y="318"/>
                  <a:pt x="401" y="320"/>
                  <a:pt x="402" y="322"/>
                </a:cubicBezTo>
                <a:cubicBezTo>
                  <a:pt x="403" y="323"/>
                  <a:pt x="404" y="327"/>
                  <a:pt x="406" y="331"/>
                </a:cubicBezTo>
                <a:cubicBezTo>
                  <a:pt x="407" y="333"/>
                  <a:pt x="410" y="335"/>
                  <a:pt x="413" y="336"/>
                </a:cubicBezTo>
                <a:cubicBezTo>
                  <a:pt x="417" y="338"/>
                  <a:pt x="420" y="339"/>
                  <a:pt x="421" y="340"/>
                </a:cubicBezTo>
                <a:cubicBezTo>
                  <a:pt x="423" y="342"/>
                  <a:pt x="426" y="347"/>
                  <a:pt x="430" y="353"/>
                </a:cubicBezTo>
                <a:cubicBezTo>
                  <a:pt x="432" y="358"/>
                  <a:pt x="437" y="361"/>
                  <a:pt x="445" y="362"/>
                </a:cubicBezTo>
                <a:cubicBezTo>
                  <a:pt x="446" y="362"/>
                  <a:pt x="448" y="363"/>
                  <a:pt x="450" y="366"/>
                </a:cubicBezTo>
                <a:cubicBezTo>
                  <a:pt x="452" y="369"/>
                  <a:pt x="455" y="371"/>
                  <a:pt x="458" y="371"/>
                </a:cubicBezTo>
                <a:cubicBezTo>
                  <a:pt x="460" y="371"/>
                  <a:pt x="463" y="369"/>
                  <a:pt x="468" y="365"/>
                </a:cubicBezTo>
                <a:cubicBezTo>
                  <a:pt x="473" y="360"/>
                  <a:pt x="476" y="358"/>
                  <a:pt x="478" y="358"/>
                </a:cubicBezTo>
                <a:cubicBezTo>
                  <a:pt x="478" y="358"/>
                  <a:pt x="480" y="359"/>
                  <a:pt x="481" y="359"/>
                </a:cubicBezTo>
                <a:cubicBezTo>
                  <a:pt x="481" y="359"/>
                  <a:pt x="483" y="357"/>
                  <a:pt x="486" y="353"/>
                </a:cubicBezTo>
                <a:cubicBezTo>
                  <a:pt x="489" y="349"/>
                  <a:pt x="492" y="347"/>
                  <a:pt x="496" y="347"/>
                </a:cubicBezTo>
                <a:cubicBezTo>
                  <a:pt x="498" y="348"/>
                  <a:pt x="501" y="349"/>
                  <a:pt x="505" y="352"/>
                </a:cubicBezTo>
                <a:cubicBezTo>
                  <a:pt x="509" y="354"/>
                  <a:pt x="513" y="356"/>
                  <a:pt x="516" y="356"/>
                </a:cubicBezTo>
                <a:cubicBezTo>
                  <a:pt x="517" y="356"/>
                  <a:pt x="523" y="356"/>
                  <a:pt x="534" y="356"/>
                </a:cubicBezTo>
                <a:cubicBezTo>
                  <a:pt x="534" y="356"/>
                  <a:pt x="534" y="356"/>
                  <a:pt x="535" y="356"/>
                </a:cubicBezTo>
                <a:lnTo>
                  <a:pt x="537" y="333"/>
                </a:lnTo>
                <a:cubicBezTo>
                  <a:pt x="542" y="326"/>
                  <a:pt x="545" y="322"/>
                  <a:pt x="545" y="321"/>
                </a:cubicBezTo>
                <a:cubicBezTo>
                  <a:pt x="546" y="319"/>
                  <a:pt x="546" y="317"/>
                  <a:pt x="546" y="313"/>
                </a:cubicBezTo>
                <a:cubicBezTo>
                  <a:pt x="545" y="310"/>
                  <a:pt x="546" y="308"/>
                  <a:pt x="547" y="306"/>
                </a:cubicBezTo>
                <a:cubicBezTo>
                  <a:pt x="548" y="306"/>
                  <a:pt x="552" y="304"/>
                  <a:pt x="559" y="302"/>
                </a:cubicBezTo>
                <a:cubicBezTo>
                  <a:pt x="566" y="299"/>
                  <a:pt x="570" y="297"/>
                  <a:pt x="570" y="295"/>
                </a:cubicBezTo>
                <a:cubicBezTo>
                  <a:pt x="562" y="285"/>
                  <a:pt x="558" y="280"/>
                  <a:pt x="557" y="279"/>
                </a:cubicBezTo>
                <a:lnTo>
                  <a:pt x="557" y="279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4" name="Freeform 258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63 w 706"/>
              <a:gd name="T1" fmla="*/ 394 h 578"/>
              <a:gd name="T2" fmla="*/ 432 w 706"/>
              <a:gd name="T3" fmla="*/ 450 h 578"/>
              <a:gd name="T4" fmla="*/ 385 w 706"/>
              <a:gd name="T5" fmla="*/ 503 h 578"/>
              <a:gd name="T6" fmla="*/ 335 w 706"/>
              <a:gd name="T7" fmla="*/ 459 h 578"/>
              <a:gd name="T8" fmla="*/ 307 w 706"/>
              <a:gd name="T9" fmla="*/ 392 h 578"/>
              <a:gd name="T10" fmla="*/ 319 w 706"/>
              <a:gd name="T11" fmla="*/ 366 h 578"/>
              <a:gd name="T12" fmla="*/ 369 w 706"/>
              <a:gd name="T13" fmla="*/ 334 h 578"/>
              <a:gd name="T14" fmla="*/ 371 w 706"/>
              <a:gd name="T15" fmla="*/ 374 h 578"/>
              <a:gd name="T16" fmla="*/ 387 w 706"/>
              <a:gd name="T17" fmla="*/ 378 h 578"/>
              <a:gd name="T18" fmla="*/ 400 w 706"/>
              <a:gd name="T19" fmla="*/ 338 h 578"/>
              <a:gd name="T20" fmla="*/ 449 w 706"/>
              <a:gd name="T21" fmla="*/ 343 h 578"/>
              <a:gd name="T22" fmla="*/ 386 w 706"/>
              <a:gd name="T23" fmla="*/ 338 h 578"/>
              <a:gd name="T24" fmla="*/ 385 w 706"/>
              <a:gd name="T25" fmla="*/ 516 h 578"/>
              <a:gd name="T26" fmla="*/ 373 w 706"/>
              <a:gd name="T27" fmla="*/ 578 h 578"/>
              <a:gd name="T28" fmla="*/ 365 w 706"/>
              <a:gd name="T29" fmla="*/ 504 h 578"/>
              <a:gd name="T30" fmla="*/ 428 w 706"/>
              <a:gd name="T31" fmla="*/ 496 h 578"/>
              <a:gd name="T32" fmla="*/ 403 w 706"/>
              <a:gd name="T33" fmla="*/ 507 h 578"/>
              <a:gd name="T34" fmla="*/ 225 w 706"/>
              <a:gd name="T35" fmla="*/ 22 h 578"/>
              <a:gd name="T36" fmla="*/ 273 w 706"/>
              <a:gd name="T37" fmla="*/ 90 h 578"/>
              <a:gd name="T38" fmla="*/ 176 w 706"/>
              <a:gd name="T39" fmla="*/ 116 h 578"/>
              <a:gd name="T40" fmla="*/ 86 w 706"/>
              <a:gd name="T41" fmla="*/ 126 h 578"/>
              <a:gd name="T42" fmla="*/ 60 w 706"/>
              <a:gd name="T43" fmla="*/ 176 h 578"/>
              <a:gd name="T44" fmla="*/ 88 w 706"/>
              <a:gd name="T45" fmla="*/ 92 h 578"/>
              <a:gd name="T46" fmla="*/ 195 w 706"/>
              <a:gd name="T47" fmla="*/ 52 h 578"/>
              <a:gd name="T48" fmla="*/ 225 w 706"/>
              <a:gd name="T49" fmla="*/ 22 h 578"/>
              <a:gd name="T50" fmla="*/ 107 w 706"/>
              <a:gd name="T51" fmla="*/ 128 h 578"/>
              <a:gd name="T52" fmla="*/ 70 w 706"/>
              <a:gd name="T53" fmla="*/ 159 h 578"/>
              <a:gd name="T54" fmla="*/ 105 w 706"/>
              <a:gd name="T55" fmla="*/ 126 h 578"/>
              <a:gd name="T56" fmla="*/ 25 w 706"/>
              <a:gd name="T57" fmla="*/ 387 h 578"/>
              <a:gd name="T58" fmla="*/ 25 w 706"/>
              <a:gd name="T59" fmla="*/ 446 h 578"/>
              <a:gd name="T60" fmla="*/ 182 w 706"/>
              <a:gd name="T61" fmla="*/ 389 h 578"/>
              <a:gd name="T62" fmla="*/ 241 w 706"/>
              <a:gd name="T63" fmla="*/ 399 h 578"/>
              <a:gd name="T64" fmla="*/ 251 w 706"/>
              <a:gd name="T65" fmla="*/ 408 h 578"/>
              <a:gd name="T66" fmla="*/ 194 w 706"/>
              <a:gd name="T67" fmla="*/ 466 h 578"/>
              <a:gd name="T68" fmla="*/ 161 w 706"/>
              <a:gd name="T69" fmla="*/ 397 h 578"/>
              <a:gd name="T70" fmla="*/ 249 w 706"/>
              <a:gd name="T71" fmla="*/ 332 h 578"/>
              <a:gd name="T72" fmla="*/ 236 w 706"/>
              <a:gd name="T73" fmla="*/ 484 h 578"/>
              <a:gd name="T74" fmla="*/ 274 w 706"/>
              <a:gd name="T75" fmla="*/ 469 h 578"/>
              <a:gd name="T76" fmla="*/ 274 w 706"/>
              <a:gd name="T77" fmla="*/ 529 h 578"/>
              <a:gd name="T78" fmla="*/ 358 w 706"/>
              <a:gd name="T79" fmla="*/ 530 h 578"/>
              <a:gd name="T80" fmla="*/ 214 w 706"/>
              <a:gd name="T81" fmla="*/ 507 h 578"/>
              <a:gd name="T82" fmla="*/ 701 w 706"/>
              <a:gd name="T83" fmla="*/ 485 h 578"/>
              <a:gd name="T84" fmla="*/ 153 w 706"/>
              <a:gd name="T85" fmla="*/ 475 h 578"/>
              <a:gd name="T86" fmla="*/ 171 w 706"/>
              <a:gd name="T87" fmla="*/ 506 h 578"/>
              <a:gd name="T88" fmla="*/ 238 w 706"/>
              <a:gd name="T89" fmla="*/ 129 h 578"/>
              <a:gd name="T90" fmla="*/ 228 w 706"/>
              <a:gd name="T91" fmla="*/ 220 h 578"/>
              <a:gd name="T92" fmla="*/ 280 w 706"/>
              <a:gd name="T93" fmla="*/ 269 h 578"/>
              <a:gd name="T94" fmla="*/ 241 w 706"/>
              <a:gd name="T95" fmla="*/ 257 h 578"/>
              <a:gd name="T96" fmla="*/ 194 w 706"/>
              <a:gd name="T97" fmla="*/ 335 h 578"/>
              <a:gd name="T98" fmla="*/ 156 w 706"/>
              <a:gd name="T99" fmla="*/ 396 h 578"/>
              <a:gd name="T100" fmla="*/ 154 w 706"/>
              <a:gd name="T101" fmla="*/ 503 h 578"/>
              <a:gd name="T102" fmla="*/ 59 w 706"/>
              <a:gd name="T103" fmla="*/ 488 h 578"/>
              <a:gd name="T104" fmla="*/ 47 w 706"/>
              <a:gd name="T105" fmla="*/ 394 h 578"/>
              <a:gd name="T106" fmla="*/ 9 w 706"/>
              <a:gd name="T107" fmla="*/ 329 h 578"/>
              <a:gd name="T108" fmla="*/ 17 w 706"/>
              <a:gd name="T109" fmla="*/ 262 h 578"/>
              <a:gd name="T110" fmla="*/ 70 w 706"/>
              <a:gd name="T111" fmla="*/ 201 h 578"/>
              <a:gd name="T112" fmla="*/ 113 w 706"/>
              <a:gd name="T113" fmla="*/ 153 h 578"/>
              <a:gd name="T114" fmla="*/ 140 w 706"/>
              <a:gd name="T115" fmla="*/ 196 h 578"/>
              <a:gd name="T116" fmla="*/ 163 w 706"/>
              <a:gd name="T117" fmla="*/ 117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 259"/>
          <p:cNvSpPr>
            <a:spLocks noEditPoints="1"/>
          </p:cNvSpPr>
          <p:nvPr/>
        </p:nvSpPr>
        <p:spPr bwMode="auto">
          <a:xfrm>
            <a:off x="8512707" y="2583720"/>
            <a:ext cx="737178" cy="604416"/>
          </a:xfrm>
          <a:custGeom>
            <a:avLst/>
            <a:gdLst>
              <a:gd name="T0" fmla="*/ 456 w 706"/>
              <a:gd name="T1" fmla="*/ 385 h 578"/>
              <a:gd name="T2" fmla="*/ 429 w 706"/>
              <a:gd name="T3" fmla="*/ 435 h 578"/>
              <a:gd name="T4" fmla="*/ 390 w 706"/>
              <a:gd name="T5" fmla="*/ 507 h 578"/>
              <a:gd name="T6" fmla="*/ 345 w 706"/>
              <a:gd name="T7" fmla="*/ 463 h 578"/>
              <a:gd name="T8" fmla="*/ 304 w 706"/>
              <a:gd name="T9" fmla="*/ 399 h 578"/>
              <a:gd name="T10" fmla="*/ 312 w 706"/>
              <a:gd name="T11" fmla="*/ 371 h 578"/>
              <a:gd name="T12" fmla="*/ 363 w 706"/>
              <a:gd name="T13" fmla="*/ 329 h 578"/>
              <a:gd name="T14" fmla="*/ 373 w 706"/>
              <a:gd name="T15" fmla="*/ 371 h 578"/>
              <a:gd name="T16" fmla="*/ 392 w 706"/>
              <a:gd name="T17" fmla="*/ 372 h 578"/>
              <a:gd name="T18" fmla="*/ 400 w 706"/>
              <a:gd name="T19" fmla="*/ 341 h 578"/>
              <a:gd name="T20" fmla="*/ 449 w 706"/>
              <a:gd name="T21" fmla="*/ 341 h 578"/>
              <a:gd name="T22" fmla="*/ 391 w 706"/>
              <a:gd name="T23" fmla="*/ 347 h 578"/>
              <a:gd name="T24" fmla="*/ 382 w 706"/>
              <a:gd name="T25" fmla="*/ 509 h 578"/>
              <a:gd name="T26" fmla="*/ 376 w 706"/>
              <a:gd name="T27" fmla="*/ 559 h 578"/>
              <a:gd name="T28" fmla="*/ 360 w 706"/>
              <a:gd name="T29" fmla="*/ 529 h 578"/>
              <a:gd name="T30" fmla="*/ 410 w 706"/>
              <a:gd name="T31" fmla="*/ 503 h 578"/>
              <a:gd name="T32" fmla="*/ 426 w 706"/>
              <a:gd name="T33" fmla="*/ 511 h 578"/>
              <a:gd name="T34" fmla="*/ 426 w 706"/>
              <a:gd name="T35" fmla="*/ 511 h 578"/>
              <a:gd name="T36" fmla="*/ 261 w 706"/>
              <a:gd name="T37" fmla="*/ 16 h 578"/>
              <a:gd name="T38" fmla="*/ 245 w 706"/>
              <a:gd name="T39" fmla="*/ 129 h 578"/>
              <a:gd name="T40" fmla="*/ 144 w 706"/>
              <a:gd name="T41" fmla="*/ 120 h 578"/>
              <a:gd name="T42" fmla="*/ 61 w 706"/>
              <a:gd name="T43" fmla="*/ 164 h 578"/>
              <a:gd name="T44" fmla="*/ 53 w 706"/>
              <a:gd name="T45" fmla="*/ 168 h 578"/>
              <a:gd name="T46" fmla="*/ 116 w 706"/>
              <a:gd name="T47" fmla="*/ 89 h 578"/>
              <a:gd name="T48" fmla="*/ 225 w 706"/>
              <a:gd name="T49" fmla="*/ 22 h 578"/>
              <a:gd name="T50" fmla="*/ 225 w 706"/>
              <a:gd name="T51" fmla="*/ 21 h 578"/>
              <a:gd name="T52" fmla="*/ 107 w 706"/>
              <a:gd name="T53" fmla="*/ 128 h 578"/>
              <a:gd name="T54" fmla="*/ 70 w 706"/>
              <a:gd name="T55" fmla="*/ 159 h 578"/>
              <a:gd name="T56" fmla="*/ 105 w 706"/>
              <a:gd name="T57" fmla="*/ 126 h 578"/>
              <a:gd name="T58" fmla="*/ 32 w 706"/>
              <a:gd name="T59" fmla="*/ 389 h 578"/>
              <a:gd name="T60" fmla="*/ 31 w 706"/>
              <a:gd name="T61" fmla="*/ 462 h 578"/>
              <a:gd name="T62" fmla="*/ 175 w 706"/>
              <a:gd name="T63" fmla="*/ 386 h 578"/>
              <a:gd name="T64" fmla="*/ 237 w 706"/>
              <a:gd name="T65" fmla="*/ 387 h 578"/>
              <a:gd name="T66" fmla="*/ 253 w 706"/>
              <a:gd name="T67" fmla="*/ 405 h 578"/>
              <a:gd name="T68" fmla="*/ 258 w 706"/>
              <a:gd name="T69" fmla="*/ 474 h 578"/>
              <a:gd name="T70" fmla="*/ 170 w 706"/>
              <a:gd name="T71" fmla="*/ 410 h 578"/>
              <a:gd name="T72" fmla="*/ 260 w 706"/>
              <a:gd name="T73" fmla="*/ 332 h 578"/>
              <a:gd name="T74" fmla="*/ 243 w 706"/>
              <a:gd name="T75" fmla="*/ 482 h 578"/>
              <a:gd name="T76" fmla="*/ 236 w 706"/>
              <a:gd name="T77" fmla="*/ 492 h 578"/>
              <a:gd name="T78" fmla="*/ 262 w 706"/>
              <a:gd name="T79" fmla="*/ 501 h 578"/>
              <a:gd name="T80" fmla="*/ 285 w 706"/>
              <a:gd name="T81" fmla="*/ 519 h 578"/>
              <a:gd name="T82" fmla="*/ 365 w 706"/>
              <a:gd name="T83" fmla="*/ 540 h 578"/>
              <a:gd name="T84" fmla="*/ 214 w 706"/>
              <a:gd name="T85" fmla="*/ 507 h 578"/>
              <a:gd name="T86" fmla="*/ 701 w 706"/>
              <a:gd name="T87" fmla="*/ 485 h 578"/>
              <a:gd name="T88" fmla="*/ 701 w 706"/>
              <a:gd name="T89" fmla="*/ 485 h 578"/>
              <a:gd name="T90" fmla="*/ 174 w 706"/>
              <a:gd name="T91" fmla="*/ 507 h 578"/>
              <a:gd name="T92" fmla="*/ 71 w 706"/>
              <a:gd name="T93" fmla="*/ 193 h 578"/>
              <a:gd name="T94" fmla="*/ 246 w 706"/>
              <a:gd name="T95" fmla="*/ 191 h 578"/>
              <a:gd name="T96" fmla="*/ 296 w 706"/>
              <a:gd name="T97" fmla="*/ 224 h 578"/>
              <a:gd name="T98" fmla="*/ 237 w 706"/>
              <a:gd name="T99" fmla="*/ 278 h 578"/>
              <a:gd name="T100" fmla="*/ 191 w 706"/>
              <a:gd name="T101" fmla="*/ 327 h 578"/>
              <a:gd name="T102" fmla="*/ 161 w 706"/>
              <a:gd name="T103" fmla="*/ 382 h 578"/>
              <a:gd name="T104" fmla="*/ 131 w 706"/>
              <a:gd name="T105" fmla="*/ 469 h 578"/>
              <a:gd name="T106" fmla="*/ 112 w 706"/>
              <a:gd name="T107" fmla="*/ 509 h 578"/>
              <a:gd name="T108" fmla="*/ 48 w 706"/>
              <a:gd name="T109" fmla="*/ 441 h 578"/>
              <a:gd name="T110" fmla="*/ 0 w 706"/>
              <a:gd name="T111" fmla="*/ 361 h 578"/>
              <a:gd name="T112" fmla="*/ 19 w 706"/>
              <a:gd name="T113" fmla="*/ 269 h 578"/>
              <a:gd name="T114" fmla="*/ 65 w 706"/>
              <a:gd name="T115" fmla="*/ 188 h 578"/>
              <a:gd name="T116" fmla="*/ 100 w 706"/>
              <a:gd name="T117" fmla="*/ 163 h 578"/>
              <a:gd name="T118" fmla="*/ 137 w 706"/>
              <a:gd name="T119" fmla="*/ 197 h 578"/>
              <a:gd name="T120" fmla="*/ 133 w 706"/>
              <a:gd name="T121" fmla="*/ 137 h 578"/>
              <a:gd name="T122" fmla="*/ 225 w 706"/>
              <a:gd name="T123" fmla="*/ 119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6" h="578">
                <a:moveTo>
                  <a:pt x="449" y="343"/>
                </a:moveTo>
                <a:lnTo>
                  <a:pt x="449" y="343"/>
                </a:lnTo>
                <a:cubicBezTo>
                  <a:pt x="449" y="342"/>
                  <a:pt x="449" y="342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449" y="343"/>
                </a:moveTo>
                <a:lnTo>
                  <a:pt x="449" y="343"/>
                </a:lnTo>
                <a:cubicBezTo>
                  <a:pt x="449" y="345"/>
                  <a:pt x="450" y="347"/>
                  <a:pt x="450" y="350"/>
                </a:cubicBezTo>
                <a:cubicBezTo>
                  <a:pt x="450" y="354"/>
                  <a:pt x="451" y="357"/>
                  <a:pt x="452" y="360"/>
                </a:cubicBezTo>
                <a:cubicBezTo>
                  <a:pt x="458" y="367"/>
                  <a:pt x="460" y="372"/>
                  <a:pt x="460" y="374"/>
                </a:cubicBezTo>
                <a:cubicBezTo>
                  <a:pt x="460" y="378"/>
                  <a:pt x="458" y="381"/>
                  <a:pt x="456" y="385"/>
                </a:cubicBezTo>
                <a:cubicBezTo>
                  <a:pt x="461" y="386"/>
                  <a:pt x="464" y="389"/>
                  <a:pt x="463" y="394"/>
                </a:cubicBezTo>
                <a:cubicBezTo>
                  <a:pt x="463" y="397"/>
                  <a:pt x="461" y="400"/>
                  <a:pt x="458" y="402"/>
                </a:cubicBezTo>
                <a:cubicBezTo>
                  <a:pt x="454" y="405"/>
                  <a:pt x="452" y="406"/>
                  <a:pt x="449" y="406"/>
                </a:cubicBezTo>
                <a:cubicBezTo>
                  <a:pt x="447" y="405"/>
                  <a:pt x="445" y="404"/>
                  <a:pt x="444" y="400"/>
                </a:cubicBezTo>
                <a:cubicBezTo>
                  <a:pt x="443" y="397"/>
                  <a:pt x="442" y="395"/>
                  <a:pt x="441" y="395"/>
                </a:cubicBezTo>
                <a:cubicBezTo>
                  <a:pt x="437" y="396"/>
                  <a:pt x="434" y="397"/>
                  <a:pt x="431" y="396"/>
                </a:cubicBezTo>
                <a:cubicBezTo>
                  <a:pt x="430" y="396"/>
                  <a:pt x="428" y="397"/>
                  <a:pt x="426" y="398"/>
                </a:cubicBezTo>
                <a:cubicBezTo>
                  <a:pt x="426" y="399"/>
                  <a:pt x="425" y="399"/>
                  <a:pt x="425" y="399"/>
                </a:cubicBezTo>
                <a:cubicBezTo>
                  <a:pt x="420" y="402"/>
                  <a:pt x="415" y="406"/>
                  <a:pt x="408" y="412"/>
                </a:cubicBezTo>
                <a:cubicBezTo>
                  <a:pt x="408" y="418"/>
                  <a:pt x="409" y="422"/>
                  <a:pt x="411" y="424"/>
                </a:cubicBezTo>
                <a:cubicBezTo>
                  <a:pt x="413" y="426"/>
                  <a:pt x="416" y="427"/>
                  <a:pt x="420" y="429"/>
                </a:cubicBezTo>
                <a:cubicBezTo>
                  <a:pt x="425" y="431"/>
                  <a:pt x="428" y="433"/>
                  <a:pt x="429" y="435"/>
                </a:cubicBezTo>
                <a:cubicBezTo>
                  <a:pt x="432" y="438"/>
                  <a:pt x="433" y="443"/>
                  <a:pt x="432" y="450"/>
                </a:cubicBezTo>
                <a:cubicBezTo>
                  <a:pt x="432" y="453"/>
                  <a:pt x="429" y="456"/>
                  <a:pt x="425" y="457"/>
                </a:cubicBezTo>
                <a:cubicBezTo>
                  <a:pt x="423" y="458"/>
                  <a:pt x="419" y="459"/>
                  <a:pt x="414" y="461"/>
                </a:cubicBezTo>
                <a:cubicBezTo>
                  <a:pt x="411" y="463"/>
                  <a:pt x="407" y="465"/>
                  <a:pt x="403" y="469"/>
                </a:cubicBezTo>
                <a:cubicBezTo>
                  <a:pt x="400" y="471"/>
                  <a:pt x="396" y="471"/>
                  <a:pt x="392" y="470"/>
                </a:cubicBezTo>
                <a:cubicBezTo>
                  <a:pt x="392" y="473"/>
                  <a:pt x="393" y="476"/>
                  <a:pt x="397" y="478"/>
                </a:cubicBezTo>
                <a:cubicBezTo>
                  <a:pt x="400" y="482"/>
                  <a:pt x="401" y="484"/>
                  <a:pt x="401" y="487"/>
                </a:cubicBezTo>
                <a:cubicBezTo>
                  <a:pt x="401" y="488"/>
                  <a:pt x="400" y="491"/>
                  <a:pt x="398" y="495"/>
                </a:cubicBezTo>
                <a:cubicBezTo>
                  <a:pt x="398" y="495"/>
                  <a:pt x="399" y="496"/>
                  <a:pt x="401" y="499"/>
                </a:cubicBezTo>
                <a:cubicBezTo>
                  <a:pt x="403" y="501"/>
                  <a:pt x="404" y="503"/>
                  <a:pt x="403" y="504"/>
                </a:cubicBezTo>
                <a:cubicBezTo>
                  <a:pt x="402" y="503"/>
                  <a:pt x="400" y="504"/>
                  <a:pt x="397" y="505"/>
                </a:cubicBezTo>
                <a:cubicBezTo>
                  <a:pt x="394" y="507"/>
                  <a:pt x="392" y="507"/>
                  <a:pt x="390" y="507"/>
                </a:cubicBezTo>
                <a:cubicBezTo>
                  <a:pt x="389" y="507"/>
                  <a:pt x="387" y="506"/>
                  <a:pt x="385" y="503"/>
                </a:cubicBezTo>
                <a:cubicBezTo>
                  <a:pt x="383" y="501"/>
                  <a:pt x="381" y="500"/>
                  <a:pt x="380" y="500"/>
                </a:cubicBezTo>
                <a:cubicBezTo>
                  <a:pt x="378" y="500"/>
                  <a:pt x="376" y="500"/>
                  <a:pt x="375" y="500"/>
                </a:cubicBezTo>
                <a:cubicBezTo>
                  <a:pt x="375" y="500"/>
                  <a:pt x="370" y="495"/>
                  <a:pt x="363" y="485"/>
                </a:cubicBezTo>
                <a:cubicBezTo>
                  <a:pt x="362" y="482"/>
                  <a:pt x="362" y="480"/>
                  <a:pt x="363" y="479"/>
                </a:cubicBezTo>
                <a:cubicBezTo>
                  <a:pt x="363" y="477"/>
                  <a:pt x="363" y="476"/>
                  <a:pt x="364" y="475"/>
                </a:cubicBezTo>
                <a:cubicBezTo>
                  <a:pt x="365" y="474"/>
                  <a:pt x="367" y="473"/>
                  <a:pt x="367" y="471"/>
                </a:cubicBezTo>
                <a:cubicBezTo>
                  <a:pt x="365" y="471"/>
                  <a:pt x="363" y="471"/>
                  <a:pt x="362" y="470"/>
                </a:cubicBezTo>
                <a:cubicBezTo>
                  <a:pt x="360" y="469"/>
                  <a:pt x="359" y="468"/>
                  <a:pt x="359" y="468"/>
                </a:cubicBezTo>
                <a:cubicBezTo>
                  <a:pt x="359" y="467"/>
                  <a:pt x="360" y="465"/>
                  <a:pt x="360" y="463"/>
                </a:cubicBezTo>
                <a:lnTo>
                  <a:pt x="352" y="462"/>
                </a:lnTo>
                <a:cubicBezTo>
                  <a:pt x="348" y="463"/>
                  <a:pt x="346" y="463"/>
                  <a:pt x="345" y="463"/>
                </a:cubicBezTo>
                <a:cubicBezTo>
                  <a:pt x="342" y="462"/>
                  <a:pt x="339" y="461"/>
                  <a:pt x="335" y="459"/>
                </a:cubicBezTo>
                <a:lnTo>
                  <a:pt x="329" y="455"/>
                </a:lnTo>
                <a:cubicBezTo>
                  <a:pt x="328" y="455"/>
                  <a:pt x="326" y="456"/>
                  <a:pt x="322" y="457"/>
                </a:cubicBezTo>
                <a:cubicBezTo>
                  <a:pt x="319" y="458"/>
                  <a:pt x="316" y="458"/>
                  <a:pt x="315" y="458"/>
                </a:cubicBezTo>
                <a:cubicBezTo>
                  <a:pt x="314" y="458"/>
                  <a:pt x="313" y="457"/>
                  <a:pt x="313" y="457"/>
                </a:cubicBezTo>
                <a:cubicBezTo>
                  <a:pt x="315" y="452"/>
                  <a:pt x="316" y="450"/>
                  <a:pt x="316" y="449"/>
                </a:cubicBezTo>
                <a:cubicBezTo>
                  <a:pt x="316" y="447"/>
                  <a:pt x="314" y="444"/>
                  <a:pt x="309" y="439"/>
                </a:cubicBezTo>
                <a:cubicBezTo>
                  <a:pt x="305" y="435"/>
                  <a:pt x="302" y="433"/>
                  <a:pt x="299" y="431"/>
                </a:cubicBezTo>
                <a:cubicBezTo>
                  <a:pt x="300" y="431"/>
                  <a:pt x="302" y="429"/>
                  <a:pt x="305" y="427"/>
                </a:cubicBezTo>
                <a:cubicBezTo>
                  <a:pt x="308" y="424"/>
                  <a:pt x="310" y="422"/>
                  <a:pt x="310" y="421"/>
                </a:cubicBezTo>
                <a:cubicBezTo>
                  <a:pt x="310" y="416"/>
                  <a:pt x="309" y="411"/>
                  <a:pt x="307" y="407"/>
                </a:cubicBezTo>
                <a:cubicBezTo>
                  <a:pt x="305" y="402"/>
                  <a:pt x="304" y="399"/>
                  <a:pt x="304" y="399"/>
                </a:cubicBezTo>
                <a:cubicBezTo>
                  <a:pt x="306" y="396"/>
                  <a:pt x="307" y="394"/>
                  <a:pt x="307" y="392"/>
                </a:cubicBezTo>
                <a:cubicBezTo>
                  <a:pt x="307" y="389"/>
                  <a:pt x="305" y="386"/>
                  <a:pt x="300" y="382"/>
                </a:cubicBezTo>
                <a:cubicBezTo>
                  <a:pt x="295" y="379"/>
                  <a:pt x="292" y="377"/>
                  <a:pt x="291" y="376"/>
                </a:cubicBezTo>
                <a:cubicBezTo>
                  <a:pt x="292" y="376"/>
                  <a:pt x="292" y="376"/>
                  <a:pt x="292" y="376"/>
                </a:cubicBezTo>
                <a:cubicBezTo>
                  <a:pt x="293" y="376"/>
                  <a:pt x="293" y="375"/>
                  <a:pt x="294" y="375"/>
                </a:cubicBezTo>
                <a:cubicBezTo>
                  <a:pt x="295" y="372"/>
                  <a:pt x="294" y="370"/>
                  <a:pt x="290" y="369"/>
                </a:cubicBezTo>
                <a:cubicBezTo>
                  <a:pt x="286" y="367"/>
                  <a:pt x="284" y="366"/>
                  <a:pt x="283" y="366"/>
                </a:cubicBezTo>
                <a:lnTo>
                  <a:pt x="283" y="364"/>
                </a:lnTo>
                <a:cubicBezTo>
                  <a:pt x="287" y="365"/>
                  <a:pt x="292" y="365"/>
                  <a:pt x="298" y="365"/>
                </a:cubicBezTo>
                <a:cubicBezTo>
                  <a:pt x="300" y="365"/>
                  <a:pt x="304" y="364"/>
                  <a:pt x="309" y="361"/>
                </a:cubicBezTo>
                <a:cubicBezTo>
                  <a:pt x="309" y="362"/>
                  <a:pt x="310" y="364"/>
                  <a:pt x="310" y="366"/>
                </a:cubicBezTo>
                <a:cubicBezTo>
                  <a:pt x="311" y="368"/>
                  <a:pt x="311" y="370"/>
                  <a:pt x="312" y="371"/>
                </a:cubicBezTo>
                <a:cubicBezTo>
                  <a:pt x="312" y="370"/>
                  <a:pt x="315" y="369"/>
                  <a:pt x="319" y="366"/>
                </a:cubicBezTo>
                <a:cubicBezTo>
                  <a:pt x="323" y="363"/>
                  <a:pt x="326" y="362"/>
                  <a:pt x="327" y="362"/>
                </a:cubicBezTo>
                <a:cubicBezTo>
                  <a:pt x="328" y="362"/>
                  <a:pt x="329" y="362"/>
                  <a:pt x="330" y="363"/>
                </a:cubicBezTo>
                <a:cubicBezTo>
                  <a:pt x="330" y="358"/>
                  <a:pt x="332" y="354"/>
                  <a:pt x="338" y="349"/>
                </a:cubicBezTo>
                <a:cubicBezTo>
                  <a:pt x="343" y="344"/>
                  <a:pt x="346" y="340"/>
                  <a:pt x="347" y="336"/>
                </a:cubicBezTo>
                <a:cubicBezTo>
                  <a:pt x="347" y="334"/>
                  <a:pt x="344" y="332"/>
                  <a:pt x="337" y="330"/>
                </a:cubicBezTo>
                <a:cubicBezTo>
                  <a:pt x="331" y="327"/>
                  <a:pt x="328" y="325"/>
                  <a:pt x="328" y="324"/>
                </a:cubicBezTo>
                <a:cubicBezTo>
                  <a:pt x="328" y="322"/>
                  <a:pt x="330" y="321"/>
                  <a:pt x="332" y="322"/>
                </a:cubicBezTo>
                <a:cubicBezTo>
                  <a:pt x="334" y="322"/>
                  <a:pt x="336" y="323"/>
                  <a:pt x="338" y="324"/>
                </a:cubicBezTo>
                <a:cubicBezTo>
                  <a:pt x="341" y="326"/>
                  <a:pt x="343" y="327"/>
                  <a:pt x="345" y="327"/>
                </a:cubicBezTo>
                <a:cubicBezTo>
                  <a:pt x="346" y="327"/>
                  <a:pt x="349" y="327"/>
                  <a:pt x="353" y="326"/>
                </a:cubicBezTo>
                <a:cubicBezTo>
                  <a:pt x="356" y="327"/>
                  <a:pt x="359" y="328"/>
                  <a:pt x="363" y="329"/>
                </a:cubicBezTo>
                <a:cubicBezTo>
                  <a:pt x="367" y="330"/>
                  <a:pt x="369" y="332"/>
                  <a:pt x="369" y="334"/>
                </a:cubicBezTo>
                <a:cubicBezTo>
                  <a:pt x="369" y="335"/>
                  <a:pt x="368" y="337"/>
                  <a:pt x="367" y="338"/>
                </a:cubicBezTo>
                <a:cubicBezTo>
                  <a:pt x="365" y="340"/>
                  <a:pt x="364" y="341"/>
                  <a:pt x="364" y="343"/>
                </a:cubicBezTo>
                <a:cubicBezTo>
                  <a:pt x="364" y="344"/>
                  <a:pt x="365" y="345"/>
                  <a:pt x="366" y="346"/>
                </a:cubicBezTo>
                <a:cubicBezTo>
                  <a:pt x="367" y="348"/>
                  <a:pt x="368" y="349"/>
                  <a:pt x="368" y="351"/>
                </a:cubicBezTo>
                <a:cubicBezTo>
                  <a:pt x="367" y="354"/>
                  <a:pt x="366" y="356"/>
                  <a:pt x="363" y="358"/>
                </a:cubicBezTo>
                <a:cubicBezTo>
                  <a:pt x="363" y="358"/>
                  <a:pt x="363" y="358"/>
                  <a:pt x="363" y="359"/>
                </a:cubicBezTo>
                <a:cubicBezTo>
                  <a:pt x="364" y="360"/>
                  <a:pt x="366" y="360"/>
                  <a:pt x="368" y="361"/>
                </a:cubicBezTo>
                <a:cubicBezTo>
                  <a:pt x="369" y="361"/>
                  <a:pt x="369" y="362"/>
                  <a:pt x="369" y="363"/>
                </a:cubicBezTo>
                <a:cubicBezTo>
                  <a:pt x="369" y="365"/>
                  <a:pt x="367" y="367"/>
                  <a:pt x="362" y="370"/>
                </a:cubicBezTo>
                <a:lnTo>
                  <a:pt x="365" y="371"/>
                </a:lnTo>
                <a:cubicBezTo>
                  <a:pt x="367" y="370"/>
                  <a:pt x="369" y="370"/>
                  <a:pt x="373" y="371"/>
                </a:cubicBezTo>
                <a:cubicBezTo>
                  <a:pt x="373" y="372"/>
                  <a:pt x="372" y="373"/>
                  <a:pt x="371" y="374"/>
                </a:cubicBezTo>
                <a:lnTo>
                  <a:pt x="370" y="383"/>
                </a:lnTo>
                <a:lnTo>
                  <a:pt x="371" y="383"/>
                </a:lnTo>
                <a:cubicBezTo>
                  <a:pt x="376" y="379"/>
                  <a:pt x="378" y="376"/>
                  <a:pt x="378" y="374"/>
                </a:cubicBezTo>
                <a:cubicBezTo>
                  <a:pt x="378" y="367"/>
                  <a:pt x="377" y="363"/>
                  <a:pt x="377" y="362"/>
                </a:cubicBezTo>
                <a:cubicBezTo>
                  <a:pt x="378" y="358"/>
                  <a:pt x="380" y="355"/>
                  <a:pt x="383" y="352"/>
                </a:cubicBezTo>
                <a:cubicBezTo>
                  <a:pt x="385" y="351"/>
                  <a:pt x="388" y="350"/>
                  <a:pt x="391" y="349"/>
                </a:cubicBezTo>
                <a:cubicBezTo>
                  <a:pt x="391" y="349"/>
                  <a:pt x="392" y="349"/>
                  <a:pt x="393" y="349"/>
                </a:cubicBezTo>
                <a:cubicBezTo>
                  <a:pt x="394" y="353"/>
                  <a:pt x="395" y="355"/>
                  <a:pt x="396" y="358"/>
                </a:cubicBezTo>
                <a:lnTo>
                  <a:pt x="396" y="358"/>
                </a:lnTo>
                <a:cubicBezTo>
                  <a:pt x="397" y="361"/>
                  <a:pt x="397" y="364"/>
                  <a:pt x="397" y="364"/>
                </a:cubicBezTo>
                <a:cubicBezTo>
                  <a:pt x="397" y="365"/>
                  <a:pt x="395" y="368"/>
                  <a:pt x="392" y="372"/>
                </a:cubicBezTo>
                <a:cubicBezTo>
                  <a:pt x="390" y="375"/>
                  <a:pt x="388" y="377"/>
                  <a:pt x="387" y="378"/>
                </a:cubicBezTo>
                <a:cubicBezTo>
                  <a:pt x="386" y="380"/>
                  <a:pt x="385" y="382"/>
                  <a:pt x="384" y="383"/>
                </a:cubicBezTo>
                <a:cubicBezTo>
                  <a:pt x="385" y="382"/>
                  <a:pt x="386" y="381"/>
                  <a:pt x="389" y="380"/>
                </a:cubicBezTo>
                <a:cubicBezTo>
                  <a:pt x="391" y="378"/>
                  <a:pt x="392" y="378"/>
                  <a:pt x="393" y="378"/>
                </a:cubicBezTo>
                <a:lnTo>
                  <a:pt x="400" y="378"/>
                </a:lnTo>
                <a:lnTo>
                  <a:pt x="401" y="371"/>
                </a:lnTo>
                <a:cubicBezTo>
                  <a:pt x="402" y="366"/>
                  <a:pt x="402" y="364"/>
                  <a:pt x="402" y="363"/>
                </a:cubicBezTo>
                <a:cubicBezTo>
                  <a:pt x="402" y="362"/>
                  <a:pt x="402" y="359"/>
                  <a:pt x="400" y="356"/>
                </a:cubicBezTo>
                <a:cubicBezTo>
                  <a:pt x="399" y="353"/>
                  <a:pt x="398" y="350"/>
                  <a:pt x="398" y="347"/>
                </a:cubicBezTo>
                <a:cubicBezTo>
                  <a:pt x="399" y="344"/>
                  <a:pt x="400" y="342"/>
                  <a:pt x="400" y="341"/>
                </a:cubicBezTo>
                <a:lnTo>
                  <a:pt x="400" y="341"/>
                </a:lnTo>
                <a:cubicBezTo>
                  <a:pt x="400" y="341"/>
                  <a:pt x="400" y="341"/>
                  <a:pt x="400" y="341"/>
                </a:cubicBezTo>
                <a:cubicBezTo>
                  <a:pt x="400" y="340"/>
                  <a:pt x="400" y="339"/>
                  <a:pt x="400" y="338"/>
                </a:cubicBezTo>
                <a:cubicBezTo>
                  <a:pt x="399" y="335"/>
                  <a:pt x="398" y="333"/>
                  <a:pt x="396" y="331"/>
                </a:cubicBezTo>
                <a:cubicBezTo>
                  <a:pt x="391" y="326"/>
                  <a:pt x="388" y="323"/>
                  <a:pt x="388" y="322"/>
                </a:cubicBezTo>
                <a:cubicBezTo>
                  <a:pt x="395" y="317"/>
                  <a:pt x="401" y="314"/>
                  <a:pt x="407" y="310"/>
                </a:cubicBezTo>
                <a:cubicBezTo>
                  <a:pt x="417" y="304"/>
                  <a:pt x="423" y="301"/>
                  <a:pt x="427" y="302"/>
                </a:cubicBezTo>
                <a:cubicBezTo>
                  <a:pt x="431" y="302"/>
                  <a:pt x="438" y="304"/>
                  <a:pt x="445" y="308"/>
                </a:cubicBezTo>
                <a:cubicBezTo>
                  <a:pt x="452" y="312"/>
                  <a:pt x="456" y="315"/>
                  <a:pt x="457" y="318"/>
                </a:cubicBezTo>
                <a:cubicBezTo>
                  <a:pt x="458" y="319"/>
                  <a:pt x="458" y="320"/>
                  <a:pt x="458" y="321"/>
                </a:cubicBezTo>
                <a:cubicBezTo>
                  <a:pt x="458" y="323"/>
                  <a:pt x="456" y="325"/>
                  <a:pt x="454" y="327"/>
                </a:cubicBezTo>
                <a:cubicBezTo>
                  <a:pt x="451" y="329"/>
                  <a:pt x="450" y="331"/>
                  <a:pt x="450" y="332"/>
                </a:cubicBezTo>
                <a:cubicBezTo>
                  <a:pt x="450" y="333"/>
                  <a:pt x="449" y="336"/>
                  <a:pt x="449" y="341"/>
                </a:cubicBezTo>
                <a:cubicBezTo>
                  <a:pt x="449" y="341"/>
                  <a:pt x="449" y="341"/>
                  <a:pt x="449" y="341"/>
                </a:cubicBezTo>
                <a:cubicBezTo>
                  <a:pt x="449" y="342"/>
                  <a:pt x="449" y="342"/>
                  <a:pt x="449" y="343"/>
                </a:cubicBezTo>
                <a:lnTo>
                  <a:pt x="449" y="343"/>
                </a:lnTo>
                <a:close/>
                <a:moveTo>
                  <a:pt x="397" y="338"/>
                </a:moveTo>
                <a:lnTo>
                  <a:pt x="397" y="338"/>
                </a:lnTo>
                <a:cubicBezTo>
                  <a:pt x="397" y="337"/>
                  <a:pt x="396" y="337"/>
                  <a:pt x="396" y="337"/>
                </a:cubicBezTo>
                <a:lnTo>
                  <a:pt x="397" y="338"/>
                </a:lnTo>
                <a:cubicBezTo>
                  <a:pt x="397" y="338"/>
                  <a:pt x="397" y="338"/>
                  <a:pt x="397" y="338"/>
                </a:cubicBezTo>
                <a:cubicBezTo>
                  <a:pt x="397" y="338"/>
                  <a:pt x="397" y="338"/>
                  <a:pt x="398" y="338"/>
                </a:cubicBezTo>
                <a:cubicBezTo>
                  <a:pt x="398" y="339"/>
                  <a:pt x="398" y="339"/>
                  <a:pt x="398" y="341"/>
                </a:cubicBezTo>
                <a:cubicBezTo>
                  <a:pt x="398" y="342"/>
                  <a:pt x="397" y="343"/>
                  <a:pt x="395" y="345"/>
                </a:cubicBezTo>
                <a:cubicBezTo>
                  <a:pt x="394" y="346"/>
                  <a:pt x="392" y="346"/>
                  <a:pt x="392" y="347"/>
                </a:cubicBezTo>
                <a:cubicBezTo>
                  <a:pt x="391" y="347"/>
                  <a:pt x="391" y="347"/>
                  <a:pt x="391" y="347"/>
                </a:cubicBezTo>
                <a:cubicBezTo>
                  <a:pt x="391" y="346"/>
                  <a:pt x="390" y="345"/>
                  <a:pt x="388" y="343"/>
                </a:cubicBezTo>
                <a:cubicBezTo>
                  <a:pt x="387" y="341"/>
                  <a:pt x="386" y="339"/>
                  <a:pt x="386" y="338"/>
                </a:cubicBezTo>
                <a:cubicBezTo>
                  <a:pt x="387" y="335"/>
                  <a:pt x="388" y="332"/>
                  <a:pt x="390" y="330"/>
                </a:cubicBezTo>
                <a:cubicBezTo>
                  <a:pt x="394" y="331"/>
                  <a:pt x="396" y="333"/>
                  <a:pt x="397" y="338"/>
                </a:cubicBezTo>
                <a:lnTo>
                  <a:pt x="397" y="338"/>
                </a:lnTo>
                <a:close/>
                <a:moveTo>
                  <a:pt x="396" y="337"/>
                </a:moveTo>
                <a:lnTo>
                  <a:pt x="396" y="337"/>
                </a:lnTo>
                <a:cubicBezTo>
                  <a:pt x="396" y="337"/>
                  <a:pt x="397" y="337"/>
                  <a:pt x="397" y="338"/>
                </a:cubicBezTo>
                <a:cubicBezTo>
                  <a:pt x="397" y="338"/>
                  <a:pt x="397" y="338"/>
                  <a:pt x="397" y="338"/>
                </a:cubicBezTo>
                <a:lnTo>
                  <a:pt x="396" y="337"/>
                </a:lnTo>
                <a:lnTo>
                  <a:pt x="396" y="337"/>
                </a:lnTo>
                <a:close/>
                <a:moveTo>
                  <a:pt x="382" y="509"/>
                </a:moveTo>
                <a:lnTo>
                  <a:pt x="382" y="509"/>
                </a:lnTo>
                <a:lnTo>
                  <a:pt x="381" y="510"/>
                </a:lnTo>
                <a:cubicBezTo>
                  <a:pt x="381" y="511"/>
                  <a:pt x="382" y="511"/>
                  <a:pt x="382" y="511"/>
                </a:cubicBezTo>
                <a:cubicBezTo>
                  <a:pt x="382" y="513"/>
                  <a:pt x="383" y="515"/>
                  <a:pt x="385" y="516"/>
                </a:cubicBezTo>
                <a:cubicBezTo>
                  <a:pt x="387" y="517"/>
                  <a:pt x="389" y="518"/>
                  <a:pt x="392" y="517"/>
                </a:cubicBezTo>
                <a:cubicBezTo>
                  <a:pt x="393" y="517"/>
                  <a:pt x="393" y="519"/>
                  <a:pt x="395" y="521"/>
                </a:cubicBezTo>
                <a:lnTo>
                  <a:pt x="395" y="521"/>
                </a:lnTo>
                <a:lnTo>
                  <a:pt x="395" y="521"/>
                </a:lnTo>
                <a:cubicBezTo>
                  <a:pt x="395" y="522"/>
                  <a:pt x="396" y="522"/>
                  <a:pt x="396" y="522"/>
                </a:cubicBezTo>
                <a:cubicBezTo>
                  <a:pt x="398" y="525"/>
                  <a:pt x="398" y="527"/>
                  <a:pt x="398" y="528"/>
                </a:cubicBezTo>
                <a:cubicBezTo>
                  <a:pt x="398" y="529"/>
                  <a:pt x="394" y="534"/>
                  <a:pt x="386" y="543"/>
                </a:cubicBezTo>
                <a:cubicBezTo>
                  <a:pt x="380" y="549"/>
                  <a:pt x="377" y="554"/>
                  <a:pt x="376" y="559"/>
                </a:cubicBezTo>
                <a:cubicBezTo>
                  <a:pt x="376" y="561"/>
                  <a:pt x="376" y="564"/>
                  <a:pt x="377" y="566"/>
                </a:cubicBezTo>
                <a:cubicBezTo>
                  <a:pt x="378" y="569"/>
                  <a:pt x="378" y="572"/>
                  <a:pt x="378" y="574"/>
                </a:cubicBezTo>
                <a:cubicBezTo>
                  <a:pt x="378" y="575"/>
                  <a:pt x="378" y="576"/>
                  <a:pt x="377" y="578"/>
                </a:cubicBezTo>
                <a:lnTo>
                  <a:pt x="373" y="578"/>
                </a:lnTo>
                <a:cubicBezTo>
                  <a:pt x="370" y="570"/>
                  <a:pt x="369" y="565"/>
                  <a:pt x="369" y="563"/>
                </a:cubicBezTo>
                <a:cubicBezTo>
                  <a:pt x="371" y="559"/>
                  <a:pt x="372" y="557"/>
                  <a:pt x="372" y="555"/>
                </a:cubicBezTo>
                <a:cubicBezTo>
                  <a:pt x="372" y="554"/>
                  <a:pt x="371" y="553"/>
                  <a:pt x="370" y="551"/>
                </a:cubicBezTo>
                <a:cubicBezTo>
                  <a:pt x="369" y="549"/>
                  <a:pt x="369" y="547"/>
                  <a:pt x="369" y="545"/>
                </a:cubicBezTo>
                <a:cubicBezTo>
                  <a:pt x="369" y="545"/>
                  <a:pt x="368" y="543"/>
                  <a:pt x="367" y="541"/>
                </a:cubicBezTo>
                <a:cubicBezTo>
                  <a:pt x="367" y="541"/>
                  <a:pt x="367" y="540"/>
                  <a:pt x="367" y="539"/>
                </a:cubicBezTo>
                <a:cubicBezTo>
                  <a:pt x="366" y="538"/>
                  <a:pt x="365" y="537"/>
                  <a:pt x="365" y="535"/>
                </a:cubicBezTo>
                <a:cubicBezTo>
                  <a:pt x="363" y="533"/>
                  <a:pt x="362" y="531"/>
                  <a:pt x="360" y="529"/>
                </a:cubicBezTo>
                <a:cubicBezTo>
                  <a:pt x="360" y="529"/>
                  <a:pt x="360" y="529"/>
                  <a:pt x="360" y="528"/>
                </a:cubicBezTo>
                <a:cubicBezTo>
                  <a:pt x="356" y="523"/>
                  <a:pt x="354" y="519"/>
                  <a:pt x="355" y="516"/>
                </a:cubicBezTo>
                <a:cubicBezTo>
                  <a:pt x="355" y="511"/>
                  <a:pt x="356" y="507"/>
                  <a:pt x="356" y="506"/>
                </a:cubicBezTo>
                <a:cubicBezTo>
                  <a:pt x="357" y="504"/>
                  <a:pt x="360" y="503"/>
                  <a:pt x="365" y="504"/>
                </a:cubicBezTo>
                <a:cubicBezTo>
                  <a:pt x="370" y="504"/>
                  <a:pt x="373" y="505"/>
                  <a:pt x="374" y="505"/>
                </a:cubicBezTo>
                <a:cubicBezTo>
                  <a:pt x="375" y="505"/>
                  <a:pt x="378" y="507"/>
                  <a:pt x="382" y="509"/>
                </a:cubicBezTo>
                <a:lnTo>
                  <a:pt x="382" y="509"/>
                </a:lnTo>
                <a:close/>
                <a:moveTo>
                  <a:pt x="404" y="507"/>
                </a:moveTo>
                <a:lnTo>
                  <a:pt x="404" y="507"/>
                </a:lnTo>
                <a:lnTo>
                  <a:pt x="404" y="507"/>
                </a:lnTo>
                <a:lnTo>
                  <a:pt x="404" y="507"/>
                </a:lnTo>
                <a:cubicBezTo>
                  <a:pt x="408" y="506"/>
                  <a:pt x="410" y="505"/>
                  <a:pt x="410" y="503"/>
                </a:cubicBezTo>
                <a:cubicBezTo>
                  <a:pt x="410" y="503"/>
                  <a:pt x="409" y="500"/>
                  <a:pt x="408" y="496"/>
                </a:cubicBezTo>
                <a:cubicBezTo>
                  <a:pt x="408" y="494"/>
                  <a:pt x="409" y="493"/>
                  <a:pt x="409" y="492"/>
                </a:cubicBezTo>
                <a:cubicBezTo>
                  <a:pt x="410" y="492"/>
                  <a:pt x="412" y="493"/>
                  <a:pt x="414" y="495"/>
                </a:cubicBezTo>
                <a:cubicBezTo>
                  <a:pt x="417" y="496"/>
                  <a:pt x="419" y="497"/>
                  <a:pt x="420" y="497"/>
                </a:cubicBezTo>
                <a:cubicBezTo>
                  <a:pt x="421" y="497"/>
                  <a:pt x="424" y="497"/>
                  <a:pt x="428" y="496"/>
                </a:cubicBezTo>
                <a:cubicBezTo>
                  <a:pt x="438" y="497"/>
                  <a:pt x="443" y="502"/>
                  <a:pt x="442" y="510"/>
                </a:cubicBezTo>
                <a:cubicBezTo>
                  <a:pt x="441" y="513"/>
                  <a:pt x="441" y="514"/>
                  <a:pt x="441" y="514"/>
                </a:cubicBezTo>
                <a:cubicBezTo>
                  <a:pt x="440" y="515"/>
                  <a:pt x="438" y="515"/>
                  <a:pt x="436" y="514"/>
                </a:cubicBezTo>
                <a:cubicBezTo>
                  <a:pt x="433" y="514"/>
                  <a:pt x="431" y="513"/>
                  <a:pt x="428" y="512"/>
                </a:cubicBezTo>
                <a:cubicBezTo>
                  <a:pt x="427" y="512"/>
                  <a:pt x="427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cubicBezTo>
                  <a:pt x="422" y="511"/>
                  <a:pt x="417" y="513"/>
                  <a:pt x="411" y="516"/>
                </a:cubicBezTo>
                <a:cubicBezTo>
                  <a:pt x="407" y="517"/>
                  <a:pt x="403" y="519"/>
                  <a:pt x="400" y="521"/>
                </a:cubicBezTo>
                <a:cubicBezTo>
                  <a:pt x="399" y="521"/>
                  <a:pt x="398" y="521"/>
                  <a:pt x="397" y="520"/>
                </a:cubicBezTo>
                <a:cubicBezTo>
                  <a:pt x="397" y="519"/>
                  <a:pt x="397" y="517"/>
                  <a:pt x="397" y="516"/>
                </a:cubicBezTo>
                <a:cubicBezTo>
                  <a:pt x="397" y="511"/>
                  <a:pt x="399" y="508"/>
                  <a:pt x="403" y="507"/>
                </a:cubicBezTo>
                <a:cubicBezTo>
                  <a:pt x="404" y="507"/>
                  <a:pt x="404" y="507"/>
                  <a:pt x="404" y="507"/>
                </a:cubicBezTo>
                <a:lnTo>
                  <a:pt x="404" y="507"/>
                </a:lnTo>
                <a:close/>
                <a:moveTo>
                  <a:pt x="426" y="511"/>
                </a:moveTo>
                <a:lnTo>
                  <a:pt x="426" y="511"/>
                </a:lnTo>
                <a:cubicBezTo>
                  <a:pt x="426" y="511"/>
                  <a:pt x="426" y="511"/>
                  <a:pt x="426" y="511"/>
                </a:cubicBezTo>
                <a:cubicBezTo>
                  <a:pt x="426" y="511"/>
                  <a:pt x="426" y="511"/>
                  <a:pt x="426" y="511"/>
                </a:cubicBezTo>
                <a:lnTo>
                  <a:pt x="426" y="511"/>
                </a:lnTo>
                <a:lnTo>
                  <a:pt x="426" y="511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lnTo>
                  <a:pt x="226" y="22"/>
                </a:lnTo>
                <a:lnTo>
                  <a:pt x="232" y="22"/>
                </a:lnTo>
                <a:cubicBezTo>
                  <a:pt x="243" y="25"/>
                  <a:pt x="253" y="22"/>
                  <a:pt x="261" y="16"/>
                </a:cubicBezTo>
                <a:cubicBezTo>
                  <a:pt x="264" y="14"/>
                  <a:pt x="267" y="11"/>
                  <a:pt x="272" y="7"/>
                </a:cubicBezTo>
                <a:cubicBezTo>
                  <a:pt x="276" y="4"/>
                  <a:pt x="281" y="2"/>
                  <a:pt x="285" y="0"/>
                </a:cubicBezTo>
                <a:cubicBezTo>
                  <a:pt x="281" y="8"/>
                  <a:pt x="275" y="15"/>
                  <a:pt x="267" y="21"/>
                </a:cubicBezTo>
                <a:lnTo>
                  <a:pt x="267" y="29"/>
                </a:lnTo>
                <a:cubicBezTo>
                  <a:pt x="266" y="34"/>
                  <a:pt x="268" y="38"/>
                  <a:pt x="270" y="42"/>
                </a:cubicBezTo>
                <a:cubicBezTo>
                  <a:pt x="273" y="46"/>
                  <a:pt x="275" y="49"/>
                  <a:pt x="275" y="51"/>
                </a:cubicBezTo>
                <a:cubicBezTo>
                  <a:pt x="275" y="54"/>
                  <a:pt x="273" y="59"/>
                  <a:pt x="270" y="67"/>
                </a:cubicBezTo>
                <a:cubicBezTo>
                  <a:pt x="269" y="69"/>
                  <a:pt x="270" y="77"/>
                  <a:pt x="273" y="90"/>
                </a:cubicBezTo>
                <a:cubicBezTo>
                  <a:pt x="273" y="90"/>
                  <a:pt x="271" y="92"/>
                  <a:pt x="266" y="96"/>
                </a:cubicBezTo>
                <a:cubicBezTo>
                  <a:pt x="261" y="100"/>
                  <a:pt x="258" y="104"/>
                  <a:pt x="257" y="107"/>
                </a:cubicBezTo>
                <a:cubicBezTo>
                  <a:pt x="256" y="109"/>
                  <a:pt x="255" y="114"/>
                  <a:pt x="254" y="121"/>
                </a:cubicBezTo>
                <a:cubicBezTo>
                  <a:pt x="252" y="127"/>
                  <a:pt x="250" y="130"/>
                  <a:pt x="245" y="129"/>
                </a:cubicBezTo>
                <a:cubicBezTo>
                  <a:pt x="243" y="129"/>
                  <a:pt x="239" y="126"/>
                  <a:pt x="231" y="120"/>
                </a:cubicBezTo>
                <a:cubicBezTo>
                  <a:pt x="228" y="118"/>
                  <a:pt x="226" y="116"/>
                  <a:pt x="224" y="114"/>
                </a:cubicBezTo>
                <a:lnTo>
                  <a:pt x="223" y="114"/>
                </a:lnTo>
                <a:cubicBezTo>
                  <a:pt x="220" y="112"/>
                  <a:pt x="218" y="111"/>
                  <a:pt x="217" y="111"/>
                </a:cubicBezTo>
                <a:cubicBezTo>
                  <a:pt x="212" y="113"/>
                  <a:pt x="208" y="113"/>
                  <a:pt x="206" y="113"/>
                </a:cubicBezTo>
                <a:cubicBezTo>
                  <a:pt x="201" y="111"/>
                  <a:pt x="197" y="110"/>
                  <a:pt x="194" y="109"/>
                </a:cubicBezTo>
                <a:cubicBezTo>
                  <a:pt x="192" y="109"/>
                  <a:pt x="189" y="110"/>
                  <a:pt x="184" y="112"/>
                </a:cubicBezTo>
                <a:cubicBezTo>
                  <a:pt x="180" y="115"/>
                  <a:pt x="177" y="116"/>
                  <a:pt x="176" y="116"/>
                </a:cubicBezTo>
                <a:cubicBezTo>
                  <a:pt x="173" y="115"/>
                  <a:pt x="169" y="115"/>
                  <a:pt x="166" y="115"/>
                </a:cubicBezTo>
                <a:cubicBezTo>
                  <a:pt x="165" y="115"/>
                  <a:pt x="164" y="116"/>
                  <a:pt x="163" y="116"/>
                </a:cubicBezTo>
                <a:cubicBezTo>
                  <a:pt x="160" y="116"/>
                  <a:pt x="157" y="116"/>
                  <a:pt x="155" y="117"/>
                </a:cubicBezTo>
                <a:cubicBezTo>
                  <a:pt x="150" y="119"/>
                  <a:pt x="146" y="120"/>
                  <a:pt x="144" y="120"/>
                </a:cubicBezTo>
                <a:cubicBezTo>
                  <a:pt x="140" y="119"/>
                  <a:pt x="137" y="118"/>
                  <a:pt x="136" y="115"/>
                </a:cubicBezTo>
                <a:cubicBezTo>
                  <a:pt x="134" y="113"/>
                  <a:pt x="132" y="111"/>
                  <a:pt x="129" y="111"/>
                </a:cubicBezTo>
                <a:cubicBezTo>
                  <a:pt x="127" y="110"/>
                  <a:pt x="123" y="112"/>
                  <a:pt x="119" y="114"/>
                </a:cubicBezTo>
                <a:cubicBezTo>
                  <a:pt x="117" y="114"/>
                  <a:pt x="115" y="114"/>
                  <a:pt x="112" y="114"/>
                </a:cubicBezTo>
                <a:cubicBezTo>
                  <a:pt x="109" y="114"/>
                  <a:pt x="107" y="114"/>
                  <a:pt x="106" y="115"/>
                </a:cubicBezTo>
                <a:cubicBezTo>
                  <a:pt x="105" y="115"/>
                  <a:pt x="104" y="116"/>
                  <a:pt x="102" y="118"/>
                </a:cubicBezTo>
                <a:cubicBezTo>
                  <a:pt x="100" y="119"/>
                  <a:pt x="98" y="120"/>
                  <a:pt x="95" y="120"/>
                </a:cubicBezTo>
                <a:cubicBezTo>
                  <a:pt x="92" y="120"/>
                  <a:pt x="89" y="122"/>
                  <a:pt x="86" y="126"/>
                </a:cubicBezTo>
                <a:cubicBezTo>
                  <a:pt x="82" y="133"/>
                  <a:pt x="77" y="139"/>
                  <a:pt x="71" y="143"/>
                </a:cubicBezTo>
                <a:cubicBezTo>
                  <a:pt x="70" y="144"/>
                  <a:pt x="69" y="145"/>
                  <a:pt x="67" y="145"/>
                </a:cubicBezTo>
                <a:cubicBezTo>
                  <a:pt x="65" y="146"/>
                  <a:pt x="64" y="148"/>
                  <a:pt x="64" y="151"/>
                </a:cubicBezTo>
                <a:cubicBezTo>
                  <a:pt x="64" y="155"/>
                  <a:pt x="63" y="159"/>
                  <a:pt x="61" y="164"/>
                </a:cubicBezTo>
                <a:cubicBezTo>
                  <a:pt x="62" y="164"/>
                  <a:pt x="64" y="164"/>
                  <a:pt x="66" y="165"/>
                </a:cubicBezTo>
                <a:cubicBezTo>
                  <a:pt x="67" y="165"/>
                  <a:pt x="69" y="165"/>
                  <a:pt x="71" y="163"/>
                </a:cubicBezTo>
                <a:cubicBezTo>
                  <a:pt x="72" y="162"/>
                  <a:pt x="73" y="162"/>
                  <a:pt x="74" y="162"/>
                </a:cubicBezTo>
                <a:cubicBezTo>
                  <a:pt x="75" y="162"/>
                  <a:pt x="75" y="162"/>
                  <a:pt x="76" y="162"/>
                </a:cubicBezTo>
                <a:cubicBezTo>
                  <a:pt x="76" y="164"/>
                  <a:pt x="77" y="166"/>
                  <a:pt x="79" y="170"/>
                </a:cubicBezTo>
                <a:cubicBezTo>
                  <a:pt x="76" y="171"/>
                  <a:pt x="74" y="174"/>
                  <a:pt x="72" y="177"/>
                </a:cubicBezTo>
                <a:cubicBezTo>
                  <a:pt x="70" y="180"/>
                  <a:pt x="68" y="183"/>
                  <a:pt x="66" y="185"/>
                </a:cubicBezTo>
                <a:cubicBezTo>
                  <a:pt x="63" y="181"/>
                  <a:pt x="62" y="178"/>
                  <a:pt x="60" y="176"/>
                </a:cubicBezTo>
                <a:cubicBezTo>
                  <a:pt x="57" y="172"/>
                  <a:pt x="55" y="170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3" y="168"/>
                  <a:pt x="53" y="168"/>
                  <a:pt x="53" y="168"/>
                </a:cubicBezTo>
                <a:lnTo>
                  <a:pt x="53" y="168"/>
                </a:lnTo>
                <a:cubicBezTo>
                  <a:pt x="53" y="168"/>
                  <a:pt x="54" y="168"/>
                  <a:pt x="54" y="168"/>
                </a:cubicBezTo>
                <a:lnTo>
                  <a:pt x="42" y="154"/>
                </a:lnTo>
                <a:cubicBezTo>
                  <a:pt x="40" y="154"/>
                  <a:pt x="37" y="159"/>
                  <a:pt x="32" y="166"/>
                </a:cubicBezTo>
                <a:lnTo>
                  <a:pt x="33" y="160"/>
                </a:lnTo>
                <a:cubicBezTo>
                  <a:pt x="35" y="157"/>
                  <a:pt x="37" y="153"/>
                  <a:pt x="38" y="148"/>
                </a:cubicBezTo>
                <a:cubicBezTo>
                  <a:pt x="39" y="144"/>
                  <a:pt x="40" y="141"/>
                  <a:pt x="41" y="139"/>
                </a:cubicBezTo>
                <a:cubicBezTo>
                  <a:pt x="48" y="129"/>
                  <a:pt x="55" y="121"/>
                  <a:pt x="62" y="113"/>
                </a:cubicBezTo>
                <a:cubicBezTo>
                  <a:pt x="74" y="99"/>
                  <a:pt x="83" y="91"/>
                  <a:pt x="88" y="92"/>
                </a:cubicBezTo>
                <a:cubicBezTo>
                  <a:pt x="89" y="92"/>
                  <a:pt x="90" y="93"/>
                  <a:pt x="92" y="94"/>
                </a:cubicBezTo>
                <a:cubicBezTo>
                  <a:pt x="93" y="95"/>
                  <a:pt x="95" y="96"/>
                  <a:pt x="96" y="96"/>
                </a:cubicBezTo>
                <a:cubicBezTo>
                  <a:pt x="98" y="96"/>
                  <a:pt x="103" y="95"/>
                  <a:pt x="110" y="92"/>
                </a:cubicBezTo>
                <a:cubicBezTo>
                  <a:pt x="111" y="92"/>
                  <a:pt x="113" y="91"/>
                  <a:pt x="116" y="89"/>
                </a:cubicBezTo>
                <a:cubicBezTo>
                  <a:pt x="118" y="88"/>
                  <a:pt x="120" y="87"/>
                  <a:pt x="122" y="87"/>
                </a:cubicBezTo>
                <a:cubicBezTo>
                  <a:pt x="123" y="87"/>
                  <a:pt x="125" y="88"/>
                  <a:pt x="129" y="91"/>
                </a:cubicBezTo>
                <a:cubicBezTo>
                  <a:pt x="134" y="93"/>
                  <a:pt x="139" y="94"/>
                  <a:pt x="143" y="95"/>
                </a:cubicBezTo>
                <a:cubicBezTo>
                  <a:pt x="150" y="96"/>
                  <a:pt x="155" y="95"/>
                  <a:pt x="158" y="94"/>
                </a:cubicBezTo>
                <a:cubicBezTo>
                  <a:pt x="160" y="94"/>
                  <a:pt x="164" y="91"/>
                  <a:pt x="171" y="87"/>
                </a:cubicBezTo>
                <a:cubicBezTo>
                  <a:pt x="174" y="86"/>
                  <a:pt x="176" y="82"/>
                  <a:pt x="179" y="78"/>
                </a:cubicBezTo>
                <a:cubicBezTo>
                  <a:pt x="184" y="70"/>
                  <a:pt x="186" y="66"/>
                  <a:pt x="187" y="65"/>
                </a:cubicBezTo>
                <a:cubicBezTo>
                  <a:pt x="190" y="59"/>
                  <a:pt x="193" y="55"/>
                  <a:pt x="195" y="52"/>
                </a:cubicBezTo>
                <a:cubicBezTo>
                  <a:pt x="197" y="48"/>
                  <a:pt x="200" y="45"/>
                  <a:pt x="203" y="42"/>
                </a:cubicBezTo>
                <a:cubicBezTo>
                  <a:pt x="210" y="35"/>
                  <a:pt x="217" y="28"/>
                  <a:pt x="221" y="21"/>
                </a:cubicBezTo>
                <a:cubicBezTo>
                  <a:pt x="222" y="21"/>
                  <a:pt x="223" y="21"/>
                  <a:pt x="225" y="22"/>
                </a:cubicBezTo>
                <a:lnTo>
                  <a:pt x="225" y="22"/>
                </a:lnTo>
                <a:lnTo>
                  <a:pt x="225" y="22"/>
                </a:lnTo>
                <a:close/>
                <a:moveTo>
                  <a:pt x="225" y="22"/>
                </a:moveTo>
                <a:lnTo>
                  <a:pt x="225" y="22"/>
                </a:lnTo>
                <a:cubicBezTo>
                  <a:pt x="225" y="22"/>
                  <a:pt x="225" y="22"/>
                  <a:pt x="225" y="22"/>
                </a:cubicBezTo>
                <a:lnTo>
                  <a:pt x="226" y="22"/>
                </a:lnTo>
                <a:cubicBezTo>
                  <a:pt x="226" y="22"/>
                  <a:pt x="225" y="22"/>
                  <a:pt x="225" y="22"/>
                </a:cubicBezTo>
                <a:lnTo>
                  <a:pt x="225" y="22"/>
                </a:lnTo>
                <a:close/>
                <a:moveTo>
                  <a:pt x="225" y="21"/>
                </a:moveTo>
                <a:lnTo>
                  <a:pt x="225" y="21"/>
                </a:lnTo>
                <a:cubicBezTo>
                  <a:pt x="225" y="21"/>
                  <a:pt x="225" y="22"/>
                  <a:pt x="225" y="22"/>
                </a:cubicBezTo>
                <a:lnTo>
                  <a:pt x="225" y="22"/>
                </a:lnTo>
                <a:lnTo>
                  <a:pt x="225" y="21"/>
                </a:lnTo>
                <a:lnTo>
                  <a:pt x="225" y="21"/>
                </a:lnTo>
                <a:close/>
                <a:moveTo>
                  <a:pt x="304" y="94"/>
                </a:moveTo>
                <a:lnTo>
                  <a:pt x="304" y="94"/>
                </a:lnTo>
                <a:lnTo>
                  <a:pt x="304" y="87"/>
                </a:lnTo>
                <a:cubicBezTo>
                  <a:pt x="308" y="84"/>
                  <a:pt x="314" y="81"/>
                  <a:pt x="322" y="80"/>
                </a:cubicBezTo>
                <a:cubicBezTo>
                  <a:pt x="329" y="78"/>
                  <a:pt x="333" y="78"/>
                  <a:pt x="333" y="80"/>
                </a:cubicBezTo>
                <a:cubicBezTo>
                  <a:pt x="333" y="79"/>
                  <a:pt x="330" y="82"/>
                  <a:pt x="324" y="88"/>
                </a:cubicBezTo>
                <a:cubicBezTo>
                  <a:pt x="320" y="91"/>
                  <a:pt x="317" y="95"/>
                  <a:pt x="314" y="98"/>
                </a:cubicBezTo>
                <a:cubicBezTo>
                  <a:pt x="310" y="96"/>
                  <a:pt x="306" y="95"/>
                  <a:pt x="304" y="94"/>
                </a:cubicBezTo>
                <a:lnTo>
                  <a:pt x="304" y="94"/>
                </a:lnTo>
                <a:close/>
                <a:moveTo>
                  <a:pt x="107" y="128"/>
                </a:moveTo>
                <a:lnTo>
                  <a:pt x="107" y="128"/>
                </a:lnTo>
                <a:cubicBezTo>
                  <a:pt x="108" y="129"/>
                  <a:pt x="108" y="130"/>
                  <a:pt x="108" y="131"/>
                </a:cubicBezTo>
                <a:cubicBezTo>
                  <a:pt x="108" y="133"/>
                  <a:pt x="106" y="136"/>
                  <a:pt x="104" y="139"/>
                </a:cubicBezTo>
                <a:cubicBezTo>
                  <a:pt x="101" y="142"/>
                  <a:pt x="100" y="146"/>
                  <a:pt x="100" y="151"/>
                </a:cubicBezTo>
                <a:cubicBezTo>
                  <a:pt x="99" y="153"/>
                  <a:pt x="98" y="154"/>
                  <a:pt x="97" y="156"/>
                </a:cubicBezTo>
                <a:cubicBezTo>
                  <a:pt x="96" y="158"/>
                  <a:pt x="95" y="160"/>
                  <a:pt x="93" y="162"/>
                </a:cubicBezTo>
                <a:cubicBezTo>
                  <a:pt x="90" y="166"/>
                  <a:pt x="87" y="168"/>
                  <a:pt x="85" y="168"/>
                </a:cubicBezTo>
                <a:cubicBezTo>
                  <a:pt x="83" y="168"/>
                  <a:pt x="82" y="166"/>
                  <a:pt x="81" y="163"/>
                </a:cubicBezTo>
                <a:cubicBezTo>
                  <a:pt x="80" y="161"/>
                  <a:pt x="79" y="160"/>
                  <a:pt x="78" y="159"/>
                </a:cubicBezTo>
                <a:cubicBezTo>
                  <a:pt x="78" y="159"/>
                  <a:pt x="77" y="159"/>
                  <a:pt x="77" y="159"/>
                </a:cubicBezTo>
                <a:cubicBezTo>
                  <a:pt x="76" y="158"/>
                  <a:pt x="75" y="159"/>
                  <a:pt x="74" y="159"/>
                </a:cubicBezTo>
                <a:cubicBezTo>
                  <a:pt x="74" y="159"/>
                  <a:pt x="73" y="159"/>
                  <a:pt x="73" y="159"/>
                </a:cubicBezTo>
                <a:cubicBezTo>
                  <a:pt x="72" y="159"/>
                  <a:pt x="71" y="159"/>
                  <a:pt x="70" y="159"/>
                </a:cubicBezTo>
                <a:lnTo>
                  <a:pt x="70" y="159"/>
                </a:lnTo>
                <a:lnTo>
                  <a:pt x="70" y="155"/>
                </a:lnTo>
                <a:lnTo>
                  <a:pt x="73" y="153"/>
                </a:lnTo>
                <a:cubicBezTo>
                  <a:pt x="74" y="153"/>
                  <a:pt x="74" y="153"/>
                  <a:pt x="74" y="153"/>
                </a:cubicBezTo>
                <a:cubicBezTo>
                  <a:pt x="74" y="153"/>
                  <a:pt x="73" y="154"/>
                  <a:pt x="73" y="155"/>
                </a:cubicBezTo>
                <a:cubicBezTo>
                  <a:pt x="73" y="154"/>
                  <a:pt x="74" y="153"/>
                  <a:pt x="74" y="153"/>
                </a:cubicBezTo>
                <a:cubicBezTo>
                  <a:pt x="75" y="153"/>
                  <a:pt x="75" y="153"/>
                  <a:pt x="75" y="154"/>
                </a:cubicBezTo>
                <a:cubicBezTo>
                  <a:pt x="75" y="153"/>
                  <a:pt x="75" y="153"/>
                  <a:pt x="74" y="153"/>
                </a:cubicBezTo>
                <a:cubicBezTo>
                  <a:pt x="76" y="149"/>
                  <a:pt x="78" y="146"/>
                  <a:pt x="79" y="144"/>
                </a:cubicBezTo>
                <a:cubicBezTo>
                  <a:pt x="81" y="140"/>
                  <a:pt x="84" y="137"/>
                  <a:pt x="86" y="137"/>
                </a:cubicBezTo>
                <a:cubicBezTo>
                  <a:pt x="90" y="136"/>
                  <a:pt x="94" y="133"/>
                  <a:pt x="98" y="130"/>
                </a:cubicBezTo>
                <a:cubicBezTo>
                  <a:pt x="101" y="127"/>
                  <a:pt x="103" y="126"/>
                  <a:pt x="105" y="126"/>
                </a:cubicBezTo>
                <a:cubicBezTo>
                  <a:pt x="105" y="126"/>
                  <a:pt x="106" y="127"/>
                  <a:pt x="107" y="128"/>
                </a:cubicBezTo>
                <a:lnTo>
                  <a:pt x="107" y="128"/>
                </a:lnTo>
                <a:close/>
                <a:moveTo>
                  <a:pt x="32" y="389"/>
                </a:moveTo>
                <a:lnTo>
                  <a:pt x="32" y="389"/>
                </a:lnTo>
                <a:cubicBezTo>
                  <a:pt x="32" y="394"/>
                  <a:pt x="32" y="397"/>
                  <a:pt x="32" y="399"/>
                </a:cubicBezTo>
                <a:cubicBezTo>
                  <a:pt x="32" y="402"/>
                  <a:pt x="31" y="405"/>
                  <a:pt x="30" y="406"/>
                </a:cubicBezTo>
                <a:cubicBezTo>
                  <a:pt x="26" y="403"/>
                  <a:pt x="24" y="397"/>
                  <a:pt x="22" y="387"/>
                </a:cubicBez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cubicBezTo>
                  <a:pt x="26" y="388"/>
                  <a:pt x="26" y="388"/>
                  <a:pt x="27" y="388"/>
                </a:cubicBezTo>
                <a:cubicBezTo>
                  <a:pt x="28" y="389"/>
                  <a:pt x="30" y="389"/>
                  <a:pt x="32" y="389"/>
                </a:cubicBezTo>
                <a:lnTo>
                  <a:pt x="32" y="389"/>
                </a:lnTo>
                <a:close/>
                <a:moveTo>
                  <a:pt x="25" y="387"/>
                </a:moveTo>
                <a:lnTo>
                  <a:pt x="25" y="387"/>
                </a:lnTo>
                <a:lnTo>
                  <a:pt x="25" y="387"/>
                </a:lnTo>
                <a:lnTo>
                  <a:pt x="25" y="387"/>
                </a:lnTo>
                <a:cubicBezTo>
                  <a:pt x="25" y="387"/>
                  <a:pt x="25" y="387"/>
                  <a:pt x="25" y="387"/>
                </a:cubicBezTo>
                <a:lnTo>
                  <a:pt x="25" y="387"/>
                </a:lnTo>
                <a:close/>
                <a:moveTo>
                  <a:pt x="33" y="436"/>
                </a:moveTo>
                <a:lnTo>
                  <a:pt x="33" y="436"/>
                </a:lnTo>
                <a:cubicBezTo>
                  <a:pt x="34" y="436"/>
                  <a:pt x="34" y="437"/>
                  <a:pt x="35" y="437"/>
                </a:cubicBezTo>
                <a:cubicBezTo>
                  <a:pt x="36" y="438"/>
                  <a:pt x="37" y="440"/>
                  <a:pt x="37" y="442"/>
                </a:cubicBezTo>
                <a:cubicBezTo>
                  <a:pt x="37" y="443"/>
                  <a:pt x="36" y="445"/>
                  <a:pt x="36" y="446"/>
                </a:cubicBezTo>
                <a:cubicBezTo>
                  <a:pt x="35" y="451"/>
                  <a:pt x="33" y="457"/>
                  <a:pt x="31" y="462"/>
                </a:cubicBezTo>
                <a:lnTo>
                  <a:pt x="29" y="462"/>
                </a:lnTo>
                <a:cubicBezTo>
                  <a:pt x="28" y="462"/>
                  <a:pt x="27" y="459"/>
                  <a:pt x="26" y="454"/>
                </a:cubicBezTo>
                <a:cubicBezTo>
                  <a:pt x="25" y="452"/>
                  <a:pt x="25" y="449"/>
                  <a:pt x="25" y="446"/>
                </a:cubicBezTo>
                <a:lnTo>
                  <a:pt x="26" y="439"/>
                </a:lnTo>
                <a:cubicBezTo>
                  <a:pt x="27" y="436"/>
                  <a:pt x="29" y="435"/>
                  <a:pt x="33" y="436"/>
                </a:cubicBezTo>
                <a:cubicBezTo>
                  <a:pt x="33" y="436"/>
                  <a:pt x="33" y="436"/>
                  <a:pt x="33" y="436"/>
                </a:cubicBezTo>
                <a:lnTo>
                  <a:pt x="33" y="436"/>
                </a:lnTo>
                <a:close/>
                <a:moveTo>
                  <a:pt x="159" y="394"/>
                </a:moveTo>
                <a:lnTo>
                  <a:pt x="159" y="394"/>
                </a:lnTo>
                <a:cubicBezTo>
                  <a:pt x="159" y="393"/>
                  <a:pt x="161" y="390"/>
                  <a:pt x="164" y="387"/>
                </a:cubicBezTo>
                <a:cubicBezTo>
                  <a:pt x="167" y="384"/>
                  <a:pt x="169" y="382"/>
                  <a:pt x="171" y="382"/>
                </a:cubicBezTo>
                <a:cubicBezTo>
                  <a:pt x="171" y="382"/>
                  <a:pt x="173" y="383"/>
                  <a:pt x="175" y="386"/>
                </a:cubicBezTo>
                <a:cubicBezTo>
                  <a:pt x="178" y="387"/>
                  <a:pt x="180" y="389"/>
                  <a:pt x="182" y="389"/>
                </a:cubicBezTo>
                <a:lnTo>
                  <a:pt x="182" y="389"/>
                </a:lnTo>
                <a:lnTo>
                  <a:pt x="183" y="390"/>
                </a:lnTo>
                <a:lnTo>
                  <a:pt x="182" y="389"/>
                </a:lnTo>
                <a:lnTo>
                  <a:pt x="182" y="389"/>
                </a:lnTo>
                <a:cubicBezTo>
                  <a:pt x="183" y="389"/>
                  <a:pt x="183" y="389"/>
                  <a:pt x="183" y="389"/>
                </a:cubicBezTo>
                <a:cubicBezTo>
                  <a:pt x="185" y="388"/>
                  <a:pt x="187" y="387"/>
                  <a:pt x="191" y="385"/>
                </a:cubicBezTo>
                <a:cubicBezTo>
                  <a:pt x="194" y="382"/>
                  <a:pt x="198" y="382"/>
                  <a:pt x="202" y="383"/>
                </a:cubicBezTo>
                <a:cubicBezTo>
                  <a:pt x="204" y="383"/>
                  <a:pt x="208" y="383"/>
                  <a:pt x="213" y="381"/>
                </a:cubicBezTo>
                <a:cubicBezTo>
                  <a:pt x="219" y="379"/>
                  <a:pt x="222" y="378"/>
                  <a:pt x="223" y="378"/>
                </a:cubicBezTo>
                <a:cubicBezTo>
                  <a:pt x="224" y="378"/>
                  <a:pt x="227" y="380"/>
                  <a:pt x="230" y="384"/>
                </a:cubicBezTo>
                <a:cubicBezTo>
                  <a:pt x="233" y="386"/>
                  <a:pt x="235" y="387"/>
                  <a:pt x="237" y="387"/>
                </a:cubicBezTo>
                <a:cubicBezTo>
                  <a:pt x="237" y="387"/>
                  <a:pt x="238" y="389"/>
                  <a:pt x="237" y="392"/>
                </a:cubicBezTo>
                <a:cubicBezTo>
                  <a:pt x="237" y="393"/>
                  <a:pt x="237" y="395"/>
                  <a:pt x="235" y="399"/>
                </a:cubicBezTo>
                <a:cubicBezTo>
                  <a:pt x="234" y="402"/>
                  <a:pt x="233" y="404"/>
                  <a:pt x="233" y="405"/>
                </a:cubicBezTo>
                <a:cubicBezTo>
                  <a:pt x="238" y="404"/>
                  <a:pt x="240" y="402"/>
                  <a:pt x="241" y="399"/>
                </a:cubicBezTo>
                <a:cubicBezTo>
                  <a:pt x="241" y="397"/>
                  <a:pt x="242" y="395"/>
                  <a:pt x="244" y="393"/>
                </a:cubicBezTo>
                <a:cubicBezTo>
                  <a:pt x="245" y="392"/>
                  <a:pt x="246" y="391"/>
                  <a:pt x="246" y="390"/>
                </a:cubicBezTo>
                <a:cubicBezTo>
                  <a:pt x="245" y="386"/>
                  <a:pt x="245" y="384"/>
                  <a:pt x="245" y="382"/>
                </a:cubicBezTo>
                <a:cubicBezTo>
                  <a:pt x="246" y="379"/>
                  <a:pt x="246" y="378"/>
                  <a:pt x="246" y="377"/>
                </a:cubicBezTo>
                <a:cubicBezTo>
                  <a:pt x="249" y="378"/>
                  <a:pt x="251" y="382"/>
                  <a:pt x="254" y="388"/>
                </a:cubicBezTo>
                <a:cubicBezTo>
                  <a:pt x="256" y="393"/>
                  <a:pt x="257" y="396"/>
                  <a:pt x="257" y="398"/>
                </a:cubicBezTo>
                <a:cubicBezTo>
                  <a:pt x="257" y="399"/>
                  <a:pt x="256" y="400"/>
                  <a:pt x="255" y="401"/>
                </a:cubicBezTo>
                <a:cubicBezTo>
                  <a:pt x="254" y="402"/>
                  <a:pt x="253" y="403"/>
                  <a:pt x="253" y="405"/>
                </a:cubicBezTo>
                <a:cubicBezTo>
                  <a:pt x="248" y="405"/>
                  <a:pt x="244" y="406"/>
                  <a:pt x="243" y="408"/>
                </a:cubicBezTo>
                <a:cubicBezTo>
                  <a:pt x="244" y="408"/>
                  <a:pt x="244" y="408"/>
                  <a:pt x="244" y="409"/>
                </a:cubicBezTo>
                <a:lnTo>
                  <a:pt x="247" y="409"/>
                </a:lnTo>
                <a:cubicBezTo>
                  <a:pt x="249" y="408"/>
                  <a:pt x="250" y="408"/>
                  <a:pt x="251" y="408"/>
                </a:cubicBezTo>
                <a:cubicBezTo>
                  <a:pt x="252" y="408"/>
                  <a:pt x="255" y="411"/>
                  <a:pt x="259" y="418"/>
                </a:cubicBezTo>
                <a:cubicBezTo>
                  <a:pt x="264" y="426"/>
                  <a:pt x="267" y="430"/>
                  <a:pt x="266" y="431"/>
                </a:cubicBezTo>
                <a:cubicBezTo>
                  <a:pt x="266" y="433"/>
                  <a:pt x="265" y="435"/>
                  <a:pt x="262" y="437"/>
                </a:cubicBezTo>
                <a:cubicBezTo>
                  <a:pt x="262" y="438"/>
                  <a:pt x="263" y="440"/>
                  <a:pt x="264" y="442"/>
                </a:cubicBezTo>
                <a:cubicBezTo>
                  <a:pt x="265" y="444"/>
                  <a:pt x="266" y="447"/>
                  <a:pt x="266" y="448"/>
                </a:cubicBezTo>
                <a:cubicBezTo>
                  <a:pt x="266" y="452"/>
                  <a:pt x="265" y="456"/>
                  <a:pt x="264" y="460"/>
                </a:cubicBezTo>
                <a:cubicBezTo>
                  <a:pt x="263" y="462"/>
                  <a:pt x="263" y="463"/>
                  <a:pt x="263" y="465"/>
                </a:cubicBezTo>
                <a:cubicBezTo>
                  <a:pt x="261" y="469"/>
                  <a:pt x="260" y="472"/>
                  <a:pt x="258" y="474"/>
                </a:cubicBezTo>
                <a:cubicBezTo>
                  <a:pt x="255" y="476"/>
                  <a:pt x="250" y="478"/>
                  <a:pt x="243" y="480"/>
                </a:cubicBezTo>
                <a:cubicBezTo>
                  <a:pt x="240" y="481"/>
                  <a:pt x="238" y="481"/>
                  <a:pt x="236" y="482"/>
                </a:cubicBezTo>
                <a:cubicBezTo>
                  <a:pt x="233" y="481"/>
                  <a:pt x="221" y="477"/>
                  <a:pt x="200" y="467"/>
                </a:cubicBezTo>
                <a:cubicBezTo>
                  <a:pt x="197" y="468"/>
                  <a:pt x="195" y="468"/>
                  <a:pt x="194" y="466"/>
                </a:cubicBezTo>
                <a:cubicBezTo>
                  <a:pt x="197" y="463"/>
                  <a:pt x="198" y="461"/>
                  <a:pt x="198" y="459"/>
                </a:cubicBezTo>
                <a:cubicBezTo>
                  <a:pt x="199" y="458"/>
                  <a:pt x="198" y="457"/>
                  <a:pt x="196" y="455"/>
                </a:cubicBezTo>
                <a:cubicBezTo>
                  <a:pt x="194" y="454"/>
                  <a:pt x="193" y="453"/>
                  <a:pt x="191" y="453"/>
                </a:cubicBezTo>
                <a:cubicBezTo>
                  <a:pt x="190" y="453"/>
                  <a:pt x="187" y="454"/>
                  <a:pt x="184" y="456"/>
                </a:cubicBezTo>
                <a:cubicBezTo>
                  <a:pt x="183" y="453"/>
                  <a:pt x="181" y="447"/>
                  <a:pt x="176" y="436"/>
                </a:cubicBezTo>
                <a:cubicBezTo>
                  <a:pt x="172" y="426"/>
                  <a:pt x="170" y="421"/>
                  <a:pt x="170" y="419"/>
                </a:cubicBezTo>
                <a:cubicBezTo>
                  <a:pt x="171" y="419"/>
                  <a:pt x="172" y="418"/>
                  <a:pt x="172" y="417"/>
                </a:cubicBezTo>
                <a:cubicBezTo>
                  <a:pt x="172" y="414"/>
                  <a:pt x="172" y="412"/>
                  <a:pt x="170" y="410"/>
                </a:cubicBezTo>
                <a:cubicBezTo>
                  <a:pt x="170" y="410"/>
                  <a:pt x="168" y="409"/>
                  <a:pt x="164" y="406"/>
                </a:cubicBezTo>
                <a:cubicBezTo>
                  <a:pt x="163" y="406"/>
                  <a:pt x="162" y="405"/>
                  <a:pt x="162" y="404"/>
                </a:cubicBezTo>
                <a:cubicBezTo>
                  <a:pt x="163" y="402"/>
                  <a:pt x="163" y="401"/>
                  <a:pt x="163" y="400"/>
                </a:cubicBezTo>
                <a:cubicBezTo>
                  <a:pt x="163" y="399"/>
                  <a:pt x="162" y="398"/>
                  <a:pt x="161" y="397"/>
                </a:cubicBezTo>
                <a:cubicBezTo>
                  <a:pt x="160" y="396"/>
                  <a:pt x="159" y="395"/>
                  <a:pt x="159" y="395"/>
                </a:cubicBezTo>
                <a:cubicBezTo>
                  <a:pt x="159" y="394"/>
                  <a:pt x="159" y="394"/>
                  <a:pt x="159" y="394"/>
                </a:cubicBezTo>
                <a:lnTo>
                  <a:pt x="159" y="394"/>
                </a:lnTo>
                <a:close/>
                <a:moveTo>
                  <a:pt x="248" y="311"/>
                </a:moveTo>
                <a:lnTo>
                  <a:pt x="248" y="311"/>
                </a:lnTo>
                <a:lnTo>
                  <a:pt x="252" y="311"/>
                </a:lnTo>
                <a:cubicBezTo>
                  <a:pt x="252" y="314"/>
                  <a:pt x="253" y="318"/>
                  <a:pt x="256" y="323"/>
                </a:cubicBezTo>
                <a:cubicBezTo>
                  <a:pt x="259" y="329"/>
                  <a:pt x="260" y="332"/>
                  <a:pt x="260" y="332"/>
                </a:cubicBezTo>
                <a:cubicBezTo>
                  <a:pt x="260" y="332"/>
                  <a:pt x="259" y="335"/>
                  <a:pt x="256" y="341"/>
                </a:cubicBezTo>
                <a:cubicBezTo>
                  <a:pt x="255" y="343"/>
                  <a:pt x="255" y="345"/>
                  <a:pt x="255" y="348"/>
                </a:cubicBezTo>
                <a:cubicBezTo>
                  <a:pt x="254" y="350"/>
                  <a:pt x="253" y="351"/>
                  <a:pt x="250" y="350"/>
                </a:cubicBezTo>
                <a:cubicBezTo>
                  <a:pt x="247" y="350"/>
                  <a:pt x="246" y="346"/>
                  <a:pt x="246" y="337"/>
                </a:cubicBezTo>
                <a:cubicBezTo>
                  <a:pt x="247" y="335"/>
                  <a:pt x="247" y="334"/>
                  <a:pt x="249" y="332"/>
                </a:cubicBezTo>
                <a:cubicBezTo>
                  <a:pt x="250" y="330"/>
                  <a:pt x="251" y="329"/>
                  <a:pt x="251" y="328"/>
                </a:cubicBezTo>
                <a:cubicBezTo>
                  <a:pt x="251" y="328"/>
                  <a:pt x="250" y="326"/>
                  <a:pt x="249" y="322"/>
                </a:cubicBezTo>
                <a:cubicBezTo>
                  <a:pt x="247" y="319"/>
                  <a:pt x="246" y="317"/>
                  <a:pt x="247" y="315"/>
                </a:cubicBezTo>
                <a:cubicBezTo>
                  <a:pt x="247" y="313"/>
                  <a:pt x="248" y="312"/>
                  <a:pt x="248" y="311"/>
                </a:cubicBezTo>
                <a:lnTo>
                  <a:pt x="248" y="311"/>
                </a:lnTo>
                <a:close/>
                <a:moveTo>
                  <a:pt x="243" y="482"/>
                </a:moveTo>
                <a:lnTo>
                  <a:pt x="243" y="482"/>
                </a:lnTo>
                <a:lnTo>
                  <a:pt x="243" y="482"/>
                </a:lnTo>
                <a:lnTo>
                  <a:pt x="243" y="483"/>
                </a:lnTo>
                <a:lnTo>
                  <a:pt x="243" y="482"/>
                </a:lnTo>
                <a:lnTo>
                  <a:pt x="243" y="482"/>
                </a:lnTo>
                <a:close/>
                <a:moveTo>
                  <a:pt x="229" y="486"/>
                </a:moveTo>
                <a:lnTo>
                  <a:pt x="229" y="486"/>
                </a:lnTo>
                <a:cubicBezTo>
                  <a:pt x="231" y="485"/>
                  <a:pt x="234" y="485"/>
                  <a:pt x="236" y="484"/>
                </a:cubicBezTo>
                <a:cubicBezTo>
                  <a:pt x="239" y="483"/>
                  <a:pt x="241" y="483"/>
                  <a:pt x="243" y="483"/>
                </a:cubicBezTo>
                <a:lnTo>
                  <a:pt x="243" y="482"/>
                </a:lnTo>
                <a:cubicBezTo>
                  <a:pt x="246" y="482"/>
                  <a:pt x="247" y="483"/>
                  <a:pt x="247" y="485"/>
                </a:cubicBezTo>
                <a:cubicBezTo>
                  <a:pt x="247" y="485"/>
                  <a:pt x="245" y="487"/>
                  <a:pt x="242" y="489"/>
                </a:cubicBezTo>
                <a:cubicBezTo>
                  <a:pt x="239" y="491"/>
                  <a:pt x="237" y="492"/>
                  <a:pt x="236" y="492"/>
                </a:cubicBezTo>
                <a:cubicBezTo>
                  <a:pt x="231" y="491"/>
                  <a:pt x="229" y="489"/>
                  <a:pt x="229" y="486"/>
                </a:cubicBezTo>
                <a:lnTo>
                  <a:pt x="229" y="486"/>
                </a:lnTo>
                <a:close/>
                <a:moveTo>
                  <a:pt x="274" y="468"/>
                </a:moveTo>
                <a:lnTo>
                  <a:pt x="274" y="468"/>
                </a:lnTo>
                <a:cubicBezTo>
                  <a:pt x="274" y="468"/>
                  <a:pt x="274" y="469"/>
                  <a:pt x="274" y="469"/>
                </a:cubicBezTo>
                <a:lnTo>
                  <a:pt x="274" y="468"/>
                </a:lnTo>
                <a:lnTo>
                  <a:pt x="274" y="468"/>
                </a:lnTo>
                <a:close/>
                <a:moveTo>
                  <a:pt x="274" y="469"/>
                </a:moveTo>
                <a:lnTo>
                  <a:pt x="274" y="469"/>
                </a:lnTo>
                <a:cubicBezTo>
                  <a:pt x="276" y="470"/>
                  <a:pt x="277" y="471"/>
                  <a:pt x="277" y="472"/>
                </a:cubicBezTo>
                <a:cubicBezTo>
                  <a:pt x="276" y="476"/>
                  <a:pt x="274" y="481"/>
                  <a:pt x="270" y="488"/>
                </a:cubicBezTo>
                <a:cubicBezTo>
                  <a:pt x="265" y="497"/>
                  <a:pt x="262" y="501"/>
                  <a:pt x="262" y="501"/>
                </a:cubicBezTo>
                <a:cubicBezTo>
                  <a:pt x="258" y="522"/>
                  <a:pt x="254" y="532"/>
                  <a:pt x="250" y="532"/>
                </a:cubicBezTo>
                <a:cubicBezTo>
                  <a:pt x="244" y="526"/>
                  <a:pt x="241" y="522"/>
                  <a:pt x="241" y="521"/>
                </a:cubicBezTo>
                <a:cubicBezTo>
                  <a:pt x="241" y="520"/>
                  <a:pt x="242" y="519"/>
                  <a:pt x="243" y="519"/>
                </a:cubicBezTo>
                <a:cubicBezTo>
                  <a:pt x="249" y="509"/>
                  <a:pt x="254" y="501"/>
                  <a:pt x="258" y="494"/>
                </a:cubicBezTo>
                <a:cubicBezTo>
                  <a:pt x="258" y="494"/>
                  <a:pt x="261" y="491"/>
                  <a:pt x="267" y="483"/>
                </a:cubicBezTo>
                <a:cubicBezTo>
                  <a:pt x="271" y="479"/>
                  <a:pt x="273" y="474"/>
                  <a:pt x="274" y="469"/>
                </a:cubicBezTo>
                <a:lnTo>
                  <a:pt x="274" y="469"/>
                </a:lnTo>
                <a:close/>
                <a:moveTo>
                  <a:pt x="287" y="536"/>
                </a:moveTo>
                <a:lnTo>
                  <a:pt x="287" y="536"/>
                </a:lnTo>
                <a:cubicBezTo>
                  <a:pt x="281" y="534"/>
                  <a:pt x="277" y="532"/>
                  <a:pt x="274" y="529"/>
                </a:cubicBezTo>
                <a:cubicBezTo>
                  <a:pt x="275" y="529"/>
                  <a:pt x="279" y="528"/>
                  <a:pt x="288" y="526"/>
                </a:cubicBezTo>
                <a:cubicBezTo>
                  <a:pt x="288" y="525"/>
                  <a:pt x="287" y="523"/>
                  <a:pt x="285" y="519"/>
                </a:cubicBezTo>
                <a:cubicBezTo>
                  <a:pt x="284" y="516"/>
                  <a:pt x="283" y="513"/>
                  <a:pt x="284" y="512"/>
                </a:cubicBezTo>
                <a:cubicBezTo>
                  <a:pt x="284" y="504"/>
                  <a:pt x="290" y="501"/>
                  <a:pt x="300" y="502"/>
                </a:cubicBezTo>
                <a:cubicBezTo>
                  <a:pt x="307" y="502"/>
                  <a:pt x="312" y="505"/>
                  <a:pt x="317" y="511"/>
                </a:cubicBezTo>
                <a:cubicBezTo>
                  <a:pt x="323" y="518"/>
                  <a:pt x="328" y="523"/>
                  <a:pt x="331" y="524"/>
                </a:cubicBezTo>
                <a:cubicBezTo>
                  <a:pt x="332" y="526"/>
                  <a:pt x="334" y="527"/>
                  <a:pt x="337" y="527"/>
                </a:cubicBezTo>
                <a:cubicBezTo>
                  <a:pt x="339" y="527"/>
                  <a:pt x="340" y="525"/>
                  <a:pt x="342" y="522"/>
                </a:cubicBezTo>
                <a:cubicBezTo>
                  <a:pt x="343" y="519"/>
                  <a:pt x="344" y="517"/>
                  <a:pt x="344" y="516"/>
                </a:cubicBezTo>
                <a:lnTo>
                  <a:pt x="348" y="516"/>
                </a:lnTo>
                <a:cubicBezTo>
                  <a:pt x="350" y="519"/>
                  <a:pt x="354" y="523"/>
                  <a:pt x="358" y="530"/>
                </a:cubicBezTo>
                <a:lnTo>
                  <a:pt x="358" y="530"/>
                </a:lnTo>
                <a:cubicBezTo>
                  <a:pt x="358" y="530"/>
                  <a:pt x="358" y="530"/>
                  <a:pt x="359" y="530"/>
                </a:cubicBezTo>
                <a:cubicBezTo>
                  <a:pt x="362" y="535"/>
                  <a:pt x="364" y="538"/>
                  <a:pt x="365" y="540"/>
                </a:cubicBezTo>
                <a:cubicBezTo>
                  <a:pt x="365" y="541"/>
                  <a:pt x="365" y="542"/>
                  <a:pt x="365" y="542"/>
                </a:cubicBezTo>
                <a:cubicBezTo>
                  <a:pt x="365" y="543"/>
                  <a:pt x="363" y="547"/>
                  <a:pt x="360" y="554"/>
                </a:cubicBezTo>
                <a:cubicBezTo>
                  <a:pt x="361" y="559"/>
                  <a:pt x="360" y="561"/>
                  <a:pt x="357" y="561"/>
                </a:cubicBezTo>
                <a:cubicBezTo>
                  <a:pt x="356" y="561"/>
                  <a:pt x="354" y="560"/>
                  <a:pt x="350" y="559"/>
                </a:cubicBezTo>
                <a:cubicBezTo>
                  <a:pt x="344" y="558"/>
                  <a:pt x="338" y="558"/>
                  <a:pt x="333" y="560"/>
                </a:cubicBezTo>
                <a:cubicBezTo>
                  <a:pt x="328" y="561"/>
                  <a:pt x="324" y="562"/>
                  <a:pt x="323" y="562"/>
                </a:cubicBezTo>
                <a:cubicBezTo>
                  <a:pt x="320" y="562"/>
                  <a:pt x="316" y="559"/>
                  <a:pt x="312" y="554"/>
                </a:cubicBezTo>
                <a:cubicBezTo>
                  <a:pt x="308" y="547"/>
                  <a:pt x="305" y="544"/>
                  <a:pt x="303" y="543"/>
                </a:cubicBezTo>
                <a:cubicBezTo>
                  <a:pt x="301" y="542"/>
                  <a:pt x="296" y="540"/>
                  <a:pt x="287" y="536"/>
                </a:cubicBezTo>
                <a:lnTo>
                  <a:pt x="287" y="536"/>
                </a:lnTo>
                <a:close/>
                <a:moveTo>
                  <a:pt x="214" y="507"/>
                </a:moveTo>
                <a:lnTo>
                  <a:pt x="214" y="507"/>
                </a:lnTo>
                <a:cubicBezTo>
                  <a:pt x="218" y="512"/>
                  <a:pt x="224" y="514"/>
                  <a:pt x="232" y="512"/>
                </a:cubicBezTo>
                <a:cubicBezTo>
                  <a:pt x="229" y="514"/>
                  <a:pt x="227" y="516"/>
                  <a:pt x="227" y="515"/>
                </a:cubicBezTo>
                <a:cubicBezTo>
                  <a:pt x="225" y="515"/>
                  <a:pt x="224" y="516"/>
                  <a:pt x="222" y="517"/>
                </a:cubicBezTo>
                <a:cubicBezTo>
                  <a:pt x="220" y="519"/>
                  <a:pt x="219" y="519"/>
                  <a:pt x="218" y="519"/>
                </a:cubicBezTo>
                <a:cubicBezTo>
                  <a:pt x="214" y="513"/>
                  <a:pt x="208" y="505"/>
                  <a:pt x="199" y="495"/>
                </a:cubicBezTo>
                <a:cubicBezTo>
                  <a:pt x="198" y="494"/>
                  <a:pt x="198" y="494"/>
                  <a:pt x="198" y="494"/>
                </a:cubicBezTo>
                <a:lnTo>
                  <a:pt x="201" y="494"/>
                </a:lnTo>
                <a:cubicBezTo>
                  <a:pt x="204" y="495"/>
                  <a:pt x="206" y="497"/>
                  <a:pt x="208" y="500"/>
                </a:cubicBezTo>
                <a:cubicBezTo>
                  <a:pt x="210" y="501"/>
                  <a:pt x="211" y="504"/>
                  <a:pt x="214" y="507"/>
                </a:cubicBezTo>
                <a:lnTo>
                  <a:pt x="214" y="507"/>
                </a:lnTo>
                <a:close/>
                <a:moveTo>
                  <a:pt x="701" y="485"/>
                </a:moveTo>
                <a:lnTo>
                  <a:pt x="701" y="485"/>
                </a:lnTo>
                <a:cubicBezTo>
                  <a:pt x="704" y="488"/>
                  <a:pt x="706" y="491"/>
                  <a:pt x="706" y="496"/>
                </a:cubicBezTo>
                <a:cubicBezTo>
                  <a:pt x="705" y="499"/>
                  <a:pt x="704" y="503"/>
                  <a:pt x="703" y="509"/>
                </a:cubicBezTo>
                <a:cubicBezTo>
                  <a:pt x="701" y="515"/>
                  <a:pt x="699" y="518"/>
                  <a:pt x="698" y="518"/>
                </a:cubicBezTo>
                <a:cubicBezTo>
                  <a:pt x="691" y="517"/>
                  <a:pt x="684" y="514"/>
                  <a:pt x="675" y="510"/>
                </a:cubicBezTo>
                <a:cubicBezTo>
                  <a:pt x="664" y="505"/>
                  <a:pt x="659" y="499"/>
                  <a:pt x="659" y="493"/>
                </a:cubicBezTo>
                <a:cubicBezTo>
                  <a:pt x="660" y="490"/>
                  <a:pt x="661" y="485"/>
                  <a:pt x="662" y="478"/>
                </a:cubicBezTo>
                <a:cubicBezTo>
                  <a:pt x="663" y="472"/>
                  <a:pt x="665" y="468"/>
                  <a:pt x="666" y="466"/>
                </a:cubicBezTo>
                <a:cubicBezTo>
                  <a:pt x="666" y="466"/>
                  <a:pt x="666" y="466"/>
                  <a:pt x="666" y="466"/>
                </a:cubicBezTo>
                <a:cubicBezTo>
                  <a:pt x="667" y="466"/>
                  <a:pt x="669" y="466"/>
                  <a:pt x="670" y="467"/>
                </a:cubicBezTo>
                <a:cubicBezTo>
                  <a:pt x="674" y="469"/>
                  <a:pt x="680" y="473"/>
                  <a:pt x="688" y="479"/>
                </a:cubicBezTo>
                <a:cubicBezTo>
                  <a:pt x="691" y="481"/>
                  <a:pt x="696" y="483"/>
                  <a:pt x="701" y="485"/>
                </a:cubicBezTo>
                <a:lnTo>
                  <a:pt x="701" y="485"/>
                </a:lnTo>
                <a:close/>
                <a:moveTo>
                  <a:pt x="153" y="475"/>
                </a:moveTo>
                <a:lnTo>
                  <a:pt x="153" y="475"/>
                </a:lnTo>
                <a:cubicBezTo>
                  <a:pt x="151" y="473"/>
                  <a:pt x="151" y="472"/>
                  <a:pt x="151" y="471"/>
                </a:cubicBezTo>
                <a:cubicBezTo>
                  <a:pt x="151" y="470"/>
                  <a:pt x="152" y="470"/>
                  <a:pt x="154" y="469"/>
                </a:cubicBezTo>
                <a:cubicBezTo>
                  <a:pt x="155" y="468"/>
                  <a:pt x="157" y="468"/>
                  <a:pt x="158" y="468"/>
                </a:cubicBezTo>
                <a:cubicBezTo>
                  <a:pt x="159" y="468"/>
                  <a:pt x="159" y="468"/>
                  <a:pt x="160" y="468"/>
                </a:cubicBezTo>
                <a:cubicBezTo>
                  <a:pt x="160" y="469"/>
                  <a:pt x="161" y="469"/>
                  <a:pt x="161" y="470"/>
                </a:cubicBezTo>
                <a:cubicBezTo>
                  <a:pt x="165" y="473"/>
                  <a:pt x="171" y="476"/>
                  <a:pt x="178" y="481"/>
                </a:cubicBezTo>
                <a:cubicBezTo>
                  <a:pt x="183" y="485"/>
                  <a:pt x="186" y="489"/>
                  <a:pt x="186" y="494"/>
                </a:cubicBezTo>
                <a:cubicBezTo>
                  <a:pt x="187" y="496"/>
                  <a:pt x="187" y="497"/>
                  <a:pt x="187" y="499"/>
                </a:cubicBezTo>
                <a:cubicBezTo>
                  <a:pt x="186" y="501"/>
                  <a:pt x="185" y="503"/>
                  <a:pt x="183" y="505"/>
                </a:cubicBezTo>
                <a:cubicBezTo>
                  <a:pt x="180" y="507"/>
                  <a:pt x="177" y="508"/>
                  <a:pt x="174" y="507"/>
                </a:cubicBezTo>
                <a:cubicBezTo>
                  <a:pt x="173" y="507"/>
                  <a:pt x="172" y="506"/>
                  <a:pt x="171" y="506"/>
                </a:cubicBezTo>
                <a:cubicBezTo>
                  <a:pt x="172" y="504"/>
                  <a:pt x="171" y="500"/>
                  <a:pt x="169" y="496"/>
                </a:cubicBezTo>
                <a:cubicBezTo>
                  <a:pt x="165" y="490"/>
                  <a:pt x="164" y="487"/>
                  <a:pt x="164" y="486"/>
                </a:cubicBezTo>
                <a:cubicBezTo>
                  <a:pt x="163" y="484"/>
                  <a:pt x="160" y="481"/>
                  <a:pt x="156" y="477"/>
                </a:cubicBezTo>
                <a:cubicBezTo>
                  <a:pt x="155" y="477"/>
                  <a:pt x="154" y="476"/>
                  <a:pt x="153" y="475"/>
                </a:cubicBezTo>
                <a:lnTo>
                  <a:pt x="153" y="475"/>
                </a:lnTo>
                <a:close/>
                <a:moveTo>
                  <a:pt x="71" y="193"/>
                </a:moveTo>
                <a:lnTo>
                  <a:pt x="71" y="193"/>
                </a:lnTo>
                <a:lnTo>
                  <a:pt x="70" y="192"/>
                </a:lnTo>
                <a:cubicBezTo>
                  <a:pt x="70" y="193"/>
                  <a:pt x="70" y="193"/>
                  <a:pt x="71" y="193"/>
                </a:cubicBezTo>
                <a:cubicBezTo>
                  <a:pt x="71" y="193"/>
                  <a:pt x="71" y="193"/>
                  <a:pt x="71" y="193"/>
                </a:cubicBezTo>
                <a:lnTo>
                  <a:pt x="71" y="193"/>
                </a:lnTo>
                <a:close/>
                <a:moveTo>
                  <a:pt x="231" y="126"/>
                </a:moveTo>
                <a:lnTo>
                  <a:pt x="231" y="126"/>
                </a:lnTo>
                <a:cubicBezTo>
                  <a:pt x="231" y="126"/>
                  <a:pt x="234" y="127"/>
                  <a:pt x="238" y="129"/>
                </a:cubicBezTo>
                <a:cubicBezTo>
                  <a:pt x="242" y="132"/>
                  <a:pt x="244" y="134"/>
                  <a:pt x="244" y="136"/>
                </a:cubicBezTo>
                <a:cubicBezTo>
                  <a:pt x="244" y="138"/>
                  <a:pt x="243" y="141"/>
                  <a:pt x="242" y="144"/>
                </a:cubicBezTo>
                <a:cubicBezTo>
                  <a:pt x="240" y="147"/>
                  <a:pt x="240" y="149"/>
                  <a:pt x="239" y="151"/>
                </a:cubicBezTo>
                <a:cubicBezTo>
                  <a:pt x="239" y="157"/>
                  <a:pt x="240" y="166"/>
                  <a:pt x="243" y="178"/>
                </a:cubicBezTo>
                <a:cubicBezTo>
                  <a:pt x="241" y="181"/>
                  <a:pt x="237" y="182"/>
                  <a:pt x="232" y="181"/>
                </a:cubicBezTo>
                <a:cubicBezTo>
                  <a:pt x="224" y="180"/>
                  <a:pt x="219" y="181"/>
                  <a:pt x="216" y="183"/>
                </a:cubicBezTo>
                <a:cubicBezTo>
                  <a:pt x="220" y="182"/>
                  <a:pt x="223" y="182"/>
                  <a:pt x="224" y="182"/>
                </a:cubicBezTo>
                <a:cubicBezTo>
                  <a:pt x="228" y="183"/>
                  <a:pt x="235" y="184"/>
                  <a:pt x="244" y="185"/>
                </a:cubicBezTo>
                <a:cubicBezTo>
                  <a:pt x="245" y="187"/>
                  <a:pt x="245" y="189"/>
                  <a:pt x="246" y="191"/>
                </a:cubicBezTo>
                <a:cubicBezTo>
                  <a:pt x="246" y="193"/>
                  <a:pt x="245" y="195"/>
                  <a:pt x="244" y="197"/>
                </a:cubicBezTo>
                <a:cubicBezTo>
                  <a:pt x="237" y="200"/>
                  <a:pt x="232" y="205"/>
                  <a:pt x="229" y="213"/>
                </a:cubicBezTo>
                <a:lnTo>
                  <a:pt x="228" y="220"/>
                </a:lnTo>
                <a:cubicBezTo>
                  <a:pt x="229" y="220"/>
                  <a:pt x="229" y="220"/>
                  <a:pt x="229" y="221"/>
                </a:cubicBezTo>
                <a:cubicBezTo>
                  <a:pt x="231" y="211"/>
                  <a:pt x="235" y="205"/>
                  <a:pt x="242" y="204"/>
                </a:cubicBezTo>
                <a:cubicBezTo>
                  <a:pt x="242" y="208"/>
                  <a:pt x="245" y="211"/>
                  <a:pt x="252" y="215"/>
                </a:cubicBezTo>
                <a:cubicBezTo>
                  <a:pt x="255" y="217"/>
                  <a:pt x="258" y="218"/>
                  <a:pt x="261" y="220"/>
                </a:cubicBezTo>
                <a:cubicBezTo>
                  <a:pt x="262" y="220"/>
                  <a:pt x="264" y="220"/>
                  <a:pt x="265" y="221"/>
                </a:cubicBezTo>
                <a:cubicBezTo>
                  <a:pt x="266" y="221"/>
                  <a:pt x="267" y="221"/>
                  <a:pt x="268" y="221"/>
                </a:cubicBezTo>
                <a:cubicBezTo>
                  <a:pt x="270" y="222"/>
                  <a:pt x="273" y="221"/>
                  <a:pt x="277" y="220"/>
                </a:cubicBezTo>
                <a:cubicBezTo>
                  <a:pt x="282" y="219"/>
                  <a:pt x="285" y="219"/>
                  <a:pt x="288" y="219"/>
                </a:cubicBezTo>
                <a:cubicBezTo>
                  <a:pt x="291" y="220"/>
                  <a:pt x="293" y="221"/>
                  <a:pt x="296" y="224"/>
                </a:cubicBezTo>
                <a:cubicBezTo>
                  <a:pt x="298" y="227"/>
                  <a:pt x="298" y="230"/>
                  <a:pt x="298" y="233"/>
                </a:cubicBezTo>
                <a:cubicBezTo>
                  <a:pt x="297" y="248"/>
                  <a:pt x="293" y="257"/>
                  <a:pt x="286" y="263"/>
                </a:cubicBezTo>
                <a:cubicBezTo>
                  <a:pt x="283" y="266"/>
                  <a:pt x="281" y="268"/>
                  <a:pt x="280" y="269"/>
                </a:cubicBezTo>
                <a:cubicBezTo>
                  <a:pt x="278" y="272"/>
                  <a:pt x="276" y="276"/>
                  <a:pt x="276" y="282"/>
                </a:cubicBezTo>
                <a:cubicBezTo>
                  <a:pt x="275" y="284"/>
                  <a:pt x="274" y="284"/>
                  <a:pt x="272" y="284"/>
                </a:cubicBezTo>
                <a:cubicBezTo>
                  <a:pt x="270" y="284"/>
                  <a:pt x="268" y="283"/>
                  <a:pt x="267" y="280"/>
                </a:cubicBezTo>
                <a:cubicBezTo>
                  <a:pt x="265" y="276"/>
                  <a:pt x="265" y="273"/>
                  <a:pt x="264" y="273"/>
                </a:cubicBezTo>
                <a:lnTo>
                  <a:pt x="261" y="273"/>
                </a:lnTo>
                <a:cubicBezTo>
                  <a:pt x="259" y="275"/>
                  <a:pt x="257" y="280"/>
                  <a:pt x="255" y="289"/>
                </a:cubicBezTo>
                <a:cubicBezTo>
                  <a:pt x="253" y="289"/>
                  <a:pt x="251" y="288"/>
                  <a:pt x="251" y="286"/>
                </a:cubicBezTo>
                <a:cubicBezTo>
                  <a:pt x="249" y="284"/>
                  <a:pt x="248" y="282"/>
                  <a:pt x="247" y="281"/>
                </a:cubicBezTo>
                <a:cubicBezTo>
                  <a:pt x="242" y="280"/>
                  <a:pt x="239" y="279"/>
                  <a:pt x="237" y="278"/>
                </a:cubicBezTo>
                <a:cubicBezTo>
                  <a:pt x="238" y="276"/>
                  <a:pt x="240" y="275"/>
                  <a:pt x="243" y="274"/>
                </a:cubicBezTo>
                <a:cubicBezTo>
                  <a:pt x="246" y="273"/>
                  <a:pt x="248" y="271"/>
                  <a:pt x="248" y="268"/>
                </a:cubicBezTo>
                <a:cubicBezTo>
                  <a:pt x="249" y="263"/>
                  <a:pt x="246" y="259"/>
                  <a:pt x="241" y="257"/>
                </a:cubicBezTo>
                <a:cubicBezTo>
                  <a:pt x="239" y="262"/>
                  <a:pt x="236" y="267"/>
                  <a:pt x="231" y="271"/>
                </a:cubicBezTo>
                <a:cubicBezTo>
                  <a:pt x="227" y="275"/>
                  <a:pt x="225" y="278"/>
                  <a:pt x="225" y="280"/>
                </a:cubicBezTo>
                <a:cubicBezTo>
                  <a:pt x="225" y="281"/>
                  <a:pt x="225" y="288"/>
                  <a:pt x="225" y="303"/>
                </a:cubicBezTo>
                <a:cubicBezTo>
                  <a:pt x="225" y="306"/>
                  <a:pt x="223" y="311"/>
                  <a:pt x="221" y="319"/>
                </a:cubicBezTo>
                <a:cubicBezTo>
                  <a:pt x="221" y="319"/>
                  <a:pt x="221" y="320"/>
                  <a:pt x="221" y="322"/>
                </a:cubicBezTo>
                <a:lnTo>
                  <a:pt x="220" y="323"/>
                </a:lnTo>
                <a:cubicBezTo>
                  <a:pt x="216" y="330"/>
                  <a:pt x="214" y="334"/>
                  <a:pt x="212" y="334"/>
                </a:cubicBezTo>
                <a:cubicBezTo>
                  <a:pt x="211" y="333"/>
                  <a:pt x="208" y="331"/>
                  <a:pt x="202" y="329"/>
                </a:cubicBezTo>
                <a:cubicBezTo>
                  <a:pt x="198" y="328"/>
                  <a:pt x="194" y="327"/>
                  <a:pt x="191" y="327"/>
                </a:cubicBezTo>
                <a:cubicBezTo>
                  <a:pt x="190" y="327"/>
                  <a:pt x="189" y="327"/>
                  <a:pt x="189" y="327"/>
                </a:cubicBezTo>
                <a:lnTo>
                  <a:pt x="189" y="329"/>
                </a:lnTo>
                <a:cubicBezTo>
                  <a:pt x="190" y="331"/>
                  <a:pt x="192" y="333"/>
                  <a:pt x="194" y="335"/>
                </a:cubicBezTo>
                <a:cubicBezTo>
                  <a:pt x="195" y="336"/>
                  <a:pt x="196" y="338"/>
                  <a:pt x="195" y="340"/>
                </a:cubicBezTo>
                <a:cubicBezTo>
                  <a:pt x="195" y="347"/>
                  <a:pt x="193" y="354"/>
                  <a:pt x="190" y="360"/>
                </a:cubicBezTo>
                <a:cubicBezTo>
                  <a:pt x="188" y="359"/>
                  <a:pt x="185" y="359"/>
                  <a:pt x="182" y="360"/>
                </a:cubicBezTo>
                <a:cubicBezTo>
                  <a:pt x="178" y="361"/>
                  <a:pt x="175" y="362"/>
                  <a:pt x="173" y="361"/>
                </a:cubicBezTo>
                <a:cubicBezTo>
                  <a:pt x="172" y="361"/>
                  <a:pt x="169" y="360"/>
                  <a:pt x="164" y="356"/>
                </a:cubicBezTo>
                <a:cubicBezTo>
                  <a:pt x="160" y="353"/>
                  <a:pt x="157" y="351"/>
                  <a:pt x="156" y="351"/>
                </a:cubicBezTo>
                <a:cubicBezTo>
                  <a:pt x="155" y="351"/>
                  <a:pt x="154" y="352"/>
                  <a:pt x="153" y="353"/>
                </a:cubicBezTo>
                <a:cubicBezTo>
                  <a:pt x="159" y="357"/>
                  <a:pt x="164" y="363"/>
                  <a:pt x="169" y="371"/>
                </a:cubicBezTo>
                <a:cubicBezTo>
                  <a:pt x="169" y="373"/>
                  <a:pt x="166" y="377"/>
                  <a:pt x="161" y="382"/>
                </a:cubicBezTo>
                <a:cubicBezTo>
                  <a:pt x="157" y="387"/>
                  <a:pt x="154" y="390"/>
                  <a:pt x="154" y="390"/>
                </a:cubicBezTo>
                <a:cubicBezTo>
                  <a:pt x="154" y="392"/>
                  <a:pt x="154" y="393"/>
                  <a:pt x="155" y="394"/>
                </a:cubicBezTo>
                <a:cubicBezTo>
                  <a:pt x="156" y="395"/>
                  <a:pt x="156" y="395"/>
                  <a:pt x="156" y="396"/>
                </a:cubicBezTo>
                <a:cubicBezTo>
                  <a:pt x="156" y="397"/>
                  <a:pt x="156" y="397"/>
                  <a:pt x="156" y="397"/>
                </a:cubicBezTo>
                <a:cubicBezTo>
                  <a:pt x="156" y="398"/>
                  <a:pt x="155" y="400"/>
                  <a:pt x="152" y="403"/>
                </a:cubicBezTo>
                <a:cubicBezTo>
                  <a:pt x="149" y="406"/>
                  <a:pt x="147" y="410"/>
                  <a:pt x="146" y="415"/>
                </a:cubicBezTo>
                <a:cubicBezTo>
                  <a:pt x="146" y="418"/>
                  <a:pt x="149" y="425"/>
                  <a:pt x="155" y="436"/>
                </a:cubicBezTo>
                <a:cubicBezTo>
                  <a:pt x="155" y="441"/>
                  <a:pt x="145" y="447"/>
                  <a:pt x="127" y="455"/>
                </a:cubicBezTo>
                <a:cubicBezTo>
                  <a:pt x="127" y="456"/>
                  <a:pt x="129" y="457"/>
                  <a:pt x="132" y="459"/>
                </a:cubicBezTo>
                <a:cubicBezTo>
                  <a:pt x="134" y="460"/>
                  <a:pt x="135" y="461"/>
                  <a:pt x="135" y="463"/>
                </a:cubicBezTo>
                <a:cubicBezTo>
                  <a:pt x="135" y="464"/>
                  <a:pt x="134" y="465"/>
                  <a:pt x="133" y="466"/>
                </a:cubicBezTo>
                <a:cubicBezTo>
                  <a:pt x="132" y="467"/>
                  <a:pt x="132" y="468"/>
                  <a:pt x="131" y="469"/>
                </a:cubicBezTo>
                <a:cubicBezTo>
                  <a:pt x="139" y="472"/>
                  <a:pt x="146" y="475"/>
                  <a:pt x="150" y="479"/>
                </a:cubicBezTo>
                <a:cubicBezTo>
                  <a:pt x="153" y="483"/>
                  <a:pt x="155" y="487"/>
                  <a:pt x="154" y="492"/>
                </a:cubicBezTo>
                <a:cubicBezTo>
                  <a:pt x="154" y="494"/>
                  <a:pt x="154" y="498"/>
                  <a:pt x="154" y="503"/>
                </a:cubicBezTo>
                <a:cubicBezTo>
                  <a:pt x="154" y="506"/>
                  <a:pt x="153" y="507"/>
                  <a:pt x="151" y="508"/>
                </a:cubicBezTo>
                <a:cubicBezTo>
                  <a:pt x="151" y="508"/>
                  <a:pt x="150" y="508"/>
                  <a:pt x="149" y="508"/>
                </a:cubicBezTo>
                <a:cubicBezTo>
                  <a:pt x="147" y="508"/>
                  <a:pt x="145" y="506"/>
                  <a:pt x="141" y="503"/>
                </a:cubicBezTo>
                <a:cubicBezTo>
                  <a:pt x="137" y="499"/>
                  <a:pt x="134" y="498"/>
                  <a:pt x="134" y="497"/>
                </a:cubicBezTo>
                <a:cubicBezTo>
                  <a:pt x="133" y="498"/>
                  <a:pt x="131" y="500"/>
                  <a:pt x="128" y="503"/>
                </a:cubicBezTo>
                <a:cubicBezTo>
                  <a:pt x="126" y="505"/>
                  <a:pt x="124" y="506"/>
                  <a:pt x="123" y="507"/>
                </a:cubicBezTo>
                <a:cubicBezTo>
                  <a:pt x="123" y="507"/>
                  <a:pt x="122" y="508"/>
                  <a:pt x="122" y="508"/>
                </a:cubicBezTo>
                <a:lnTo>
                  <a:pt x="122" y="508"/>
                </a:lnTo>
                <a:cubicBezTo>
                  <a:pt x="119" y="508"/>
                  <a:pt x="116" y="508"/>
                  <a:pt x="112" y="509"/>
                </a:cubicBezTo>
                <a:cubicBezTo>
                  <a:pt x="109" y="510"/>
                  <a:pt x="106" y="510"/>
                  <a:pt x="105" y="510"/>
                </a:cubicBezTo>
                <a:cubicBezTo>
                  <a:pt x="97" y="502"/>
                  <a:pt x="90" y="498"/>
                  <a:pt x="85" y="496"/>
                </a:cubicBezTo>
                <a:cubicBezTo>
                  <a:pt x="69" y="491"/>
                  <a:pt x="60" y="488"/>
                  <a:pt x="59" y="488"/>
                </a:cubicBezTo>
                <a:cubicBezTo>
                  <a:pt x="55" y="488"/>
                  <a:pt x="52" y="488"/>
                  <a:pt x="51" y="488"/>
                </a:cubicBezTo>
                <a:cubicBezTo>
                  <a:pt x="47" y="488"/>
                  <a:pt x="44" y="487"/>
                  <a:pt x="42" y="486"/>
                </a:cubicBezTo>
                <a:cubicBezTo>
                  <a:pt x="42" y="485"/>
                  <a:pt x="42" y="484"/>
                  <a:pt x="43" y="483"/>
                </a:cubicBezTo>
                <a:cubicBezTo>
                  <a:pt x="44" y="481"/>
                  <a:pt x="45" y="479"/>
                  <a:pt x="45" y="478"/>
                </a:cubicBezTo>
                <a:cubicBezTo>
                  <a:pt x="45" y="475"/>
                  <a:pt x="45" y="473"/>
                  <a:pt x="44" y="470"/>
                </a:cubicBezTo>
                <a:cubicBezTo>
                  <a:pt x="44" y="467"/>
                  <a:pt x="43" y="465"/>
                  <a:pt x="44" y="463"/>
                </a:cubicBezTo>
                <a:cubicBezTo>
                  <a:pt x="45" y="457"/>
                  <a:pt x="46" y="452"/>
                  <a:pt x="47" y="449"/>
                </a:cubicBezTo>
                <a:cubicBezTo>
                  <a:pt x="46" y="449"/>
                  <a:pt x="46" y="449"/>
                  <a:pt x="47" y="449"/>
                </a:cubicBezTo>
                <a:cubicBezTo>
                  <a:pt x="47" y="445"/>
                  <a:pt x="48" y="442"/>
                  <a:pt x="48" y="441"/>
                </a:cubicBezTo>
                <a:cubicBezTo>
                  <a:pt x="46" y="433"/>
                  <a:pt x="46" y="428"/>
                  <a:pt x="46" y="425"/>
                </a:cubicBezTo>
                <a:cubicBezTo>
                  <a:pt x="48" y="417"/>
                  <a:pt x="50" y="411"/>
                  <a:pt x="50" y="408"/>
                </a:cubicBezTo>
                <a:cubicBezTo>
                  <a:pt x="51" y="402"/>
                  <a:pt x="50" y="397"/>
                  <a:pt x="47" y="394"/>
                </a:cubicBezTo>
                <a:cubicBezTo>
                  <a:pt x="46" y="391"/>
                  <a:pt x="43" y="389"/>
                  <a:pt x="38" y="386"/>
                </a:cubicBezTo>
                <a:cubicBezTo>
                  <a:pt x="37" y="385"/>
                  <a:pt x="36" y="385"/>
                  <a:pt x="35" y="384"/>
                </a:cubicBezTo>
                <a:cubicBezTo>
                  <a:pt x="32" y="382"/>
                  <a:pt x="30" y="380"/>
                  <a:pt x="28" y="378"/>
                </a:cubicBezTo>
                <a:cubicBezTo>
                  <a:pt x="25" y="375"/>
                  <a:pt x="22" y="369"/>
                  <a:pt x="21" y="363"/>
                </a:cubicBezTo>
                <a:cubicBezTo>
                  <a:pt x="20" y="362"/>
                  <a:pt x="19" y="362"/>
                  <a:pt x="18" y="362"/>
                </a:cubicBezTo>
                <a:cubicBezTo>
                  <a:pt x="15" y="363"/>
                  <a:pt x="13" y="363"/>
                  <a:pt x="13" y="363"/>
                </a:cubicBezTo>
                <a:lnTo>
                  <a:pt x="17" y="377"/>
                </a:lnTo>
                <a:cubicBezTo>
                  <a:pt x="13" y="375"/>
                  <a:pt x="10" y="373"/>
                  <a:pt x="7" y="371"/>
                </a:cubicBezTo>
                <a:cubicBezTo>
                  <a:pt x="2" y="367"/>
                  <a:pt x="0" y="364"/>
                  <a:pt x="0" y="361"/>
                </a:cubicBezTo>
                <a:cubicBezTo>
                  <a:pt x="1" y="358"/>
                  <a:pt x="2" y="354"/>
                  <a:pt x="5" y="350"/>
                </a:cubicBezTo>
                <a:cubicBezTo>
                  <a:pt x="8" y="345"/>
                  <a:pt x="10" y="342"/>
                  <a:pt x="10" y="340"/>
                </a:cubicBezTo>
                <a:cubicBezTo>
                  <a:pt x="9" y="335"/>
                  <a:pt x="9" y="331"/>
                  <a:pt x="9" y="329"/>
                </a:cubicBezTo>
                <a:cubicBezTo>
                  <a:pt x="11" y="325"/>
                  <a:pt x="11" y="321"/>
                  <a:pt x="12" y="319"/>
                </a:cubicBezTo>
                <a:cubicBezTo>
                  <a:pt x="11" y="304"/>
                  <a:pt x="10" y="297"/>
                  <a:pt x="11" y="296"/>
                </a:cubicBezTo>
                <a:cubicBezTo>
                  <a:pt x="12" y="293"/>
                  <a:pt x="12" y="290"/>
                  <a:pt x="13" y="288"/>
                </a:cubicBezTo>
                <a:cubicBezTo>
                  <a:pt x="13" y="290"/>
                  <a:pt x="14" y="295"/>
                  <a:pt x="14" y="303"/>
                </a:cubicBezTo>
                <a:cubicBezTo>
                  <a:pt x="15" y="310"/>
                  <a:pt x="17" y="314"/>
                  <a:pt x="19" y="315"/>
                </a:cubicBezTo>
                <a:cubicBezTo>
                  <a:pt x="20" y="315"/>
                  <a:pt x="21" y="314"/>
                  <a:pt x="22" y="312"/>
                </a:cubicBezTo>
                <a:cubicBezTo>
                  <a:pt x="24" y="312"/>
                  <a:pt x="26" y="313"/>
                  <a:pt x="26" y="315"/>
                </a:cubicBezTo>
                <a:cubicBezTo>
                  <a:pt x="35" y="308"/>
                  <a:pt x="39" y="305"/>
                  <a:pt x="39" y="305"/>
                </a:cubicBezTo>
                <a:cubicBezTo>
                  <a:pt x="33" y="284"/>
                  <a:pt x="26" y="272"/>
                  <a:pt x="19" y="269"/>
                </a:cubicBezTo>
                <a:cubicBezTo>
                  <a:pt x="17" y="270"/>
                  <a:pt x="15" y="276"/>
                  <a:pt x="14" y="286"/>
                </a:cubicBezTo>
                <a:cubicBezTo>
                  <a:pt x="12" y="282"/>
                  <a:pt x="11" y="280"/>
                  <a:pt x="12" y="278"/>
                </a:cubicBezTo>
                <a:cubicBezTo>
                  <a:pt x="12" y="274"/>
                  <a:pt x="14" y="269"/>
                  <a:pt x="17" y="262"/>
                </a:cubicBezTo>
                <a:lnTo>
                  <a:pt x="19" y="245"/>
                </a:lnTo>
                <a:cubicBezTo>
                  <a:pt x="20" y="231"/>
                  <a:pt x="22" y="219"/>
                  <a:pt x="23" y="208"/>
                </a:cubicBezTo>
                <a:cubicBezTo>
                  <a:pt x="23" y="201"/>
                  <a:pt x="22" y="195"/>
                  <a:pt x="23" y="190"/>
                </a:cubicBezTo>
                <a:cubicBezTo>
                  <a:pt x="23" y="189"/>
                  <a:pt x="24" y="184"/>
                  <a:pt x="27" y="178"/>
                </a:cubicBezTo>
                <a:cubicBezTo>
                  <a:pt x="30" y="172"/>
                  <a:pt x="31" y="168"/>
                  <a:pt x="31" y="168"/>
                </a:cubicBezTo>
                <a:cubicBezTo>
                  <a:pt x="33" y="169"/>
                  <a:pt x="35" y="174"/>
                  <a:pt x="38" y="180"/>
                </a:cubicBezTo>
                <a:cubicBezTo>
                  <a:pt x="41" y="184"/>
                  <a:pt x="43" y="186"/>
                  <a:pt x="46" y="187"/>
                </a:cubicBezTo>
                <a:cubicBezTo>
                  <a:pt x="50" y="187"/>
                  <a:pt x="55" y="187"/>
                  <a:pt x="61" y="188"/>
                </a:cubicBezTo>
                <a:cubicBezTo>
                  <a:pt x="62" y="188"/>
                  <a:pt x="63" y="188"/>
                  <a:pt x="65" y="188"/>
                </a:cubicBezTo>
                <a:cubicBezTo>
                  <a:pt x="67" y="189"/>
                  <a:pt x="69" y="191"/>
                  <a:pt x="70" y="192"/>
                </a:cubicBezTo>
                <a:lnTo>
                  <a:pt x="71" y="193"/>
                </a:lnTo>
                <a:cubicBezTo>
                  <a:pt x="71" y="195"/>
                  <a:pt x="71" y="198"/>
                  <a:pt x="70" y="201"/>
                </a:cubicBezTo>
                <a:cubicBezTo>
                  <a:pt x="70" y="204"/>
                  <a:pt x="72" y="206"/>
                  <a:pt x="76" y="206"/>
                </a:cubicBezTo>
                <a:cubicBezTo>
                  <a:pt x="78" y="207"/>
                  <a:pt x="81" y="205"/>
                  <a:pt x="82" y="203"/>
                </a:cubicBezTo>
                <a:cubicBezTo>
                  <a:pt x="84" y="201"/>
                  <a:pt x="85" y="198"/>
                  <a:pt x="85" y="195"/>
                </a:cubicBezTo>
                <a:cubicBezTo>
                  <a:pt x="86" y="193"/>
                  <a:pt x="85" y="191"/>
                  <a:pt x="83" y="190"/>
                </a:cubicBezTo>
                <a:cubicBezTo>
                  <a:pt x="81" y="189"/>
                  <a:pt x="81" y="187"/>
                  <a:pt x="81" y="186"/>
                </a:cubicBezTo>
                <a:cubicBezTo>
                  <a:pt x="81" y="183"/>
                  <a:pt x="83" y="180"/>
                  <a:pt x="86" y="177"/>
                </a:cubicBezTo>
                <a:cubicBezTo>
                  <a:pt x="87" y="176"/>
                  <a:pt x="88" y="175"/>
                  <a:pt x="89" y="174"/>
                </a:cubicBezTo>
                <a:cubicBezTo>
                  <a:pt x="94" y="170"/>
                  <a:pt x="98" y="168"/>
                  <a:pt x="101" y="168"/>
                </a:cubicBezTo>
                <a:cubicBezTo>
                  <a:pt x="101" y="166"/>
                  <a:pt x="100" y="164"/>
                  <a:pt x="100" y="163"/>
                </a:cubicBezTo>
                <a:cubicBezTo>
                  <a:pt x="101" y="162"/>
                  <a:pt x="101" y="160"/>
                  <a:pt x="102" y="159"/>
                </a:cubicBezTo>
                <a:cubicBezTo>
                  <a:pt x="103" y="158"/>
                  <a:pt x="104" y="157"/>
                  <a:pt x="105" y="155"/>
                </a:cubicBezTo>
                <a:cubicBezTo>
                  <a:pt x="108" y="153"/>
                  <a:pt x="111" y="152"/>
                  <a:pt x="113" y="153"/>
                </a:cubicBezTo>
                <a:cubicBezTo>
                  <a:pt x="122" y="154"/>
                  <a:pt x="127" y="157"/>
                  <a:pt x="128" y="162"/>
                </a:cubicBezTo>
                <a:cubicBezTo>
                  <a:pt x="129" y="164"/>
                  <a:pt x="129" y="166"/>
                  <a:pt x="129" y="169"/>
                </a:cubicBezTo>
                <a:cubicBezTo>
                  <a:pt x="129" y="169"/>
                  <a:pt x="127" y="171"/>
                  <a:pt x="123" y="176"/>
                </a:cubicBezTo>
                <a:cubicBezTo>
                  <a:pt x="119" y="182"/>
                  <a:pt x="116" y="189"/>
                  <a:pt x="114" y="194"/>
                </a:cubicBezTo>
                <a:cubicBezTo>
                  <a:pt x="115" y="194"/>
                  <a:pt x="116" y="195"/>
                  <a:pt x="116" y="195"/>
                </a:cubicBezTo>
                <a:cubicBezTo>
                  <a:pt x="119" y="196"/>
                  <a:pt x="122" y="193"/>
                  <a:pt x="123" y="189"/>
                </a:cubicBezTo>
                <a:cubicBezTo>
                  <a:pt x="125" y="184"/>
                  <a:pt x="125" y="182"/>
                  <a:pt x="126" y="181"/>
                </a:cubicBezTo>
                <a:cubicBezTo>
                  <a:pt x="130" y="183"/>
                  <a:pt x="133" y="186"/>
                  <a:pt x="135" y="191"/>
                </a:cubicBezTo>
                <a:cubicBezTo>
                  <a:pt x="135" y="192"/>
                  <a:pt x="136" y="194"/>
                  <a:pt x="137" y="197"/>
                </a:cubicBezTo>
                <a:cubicBezTo>
                  <a:pt x="138" y="199"/>
                  <a:pt x="139" y="201"/>
                  <a:pt x="140" y="204"/>
                </a:cubicBezTo>
                <a:lnTo>
                  <a:pt x="146" y="205"/>
                </a:lnTo>
                <a:cubicBezTo>
                  <a:pt x="143" y="202"/>
                  <a:pt x="141" y="199"/>
                  <a:pt x="140" y="196"/>
                </a:cubicBezTo>
                <a:cubicBezTo>
                  <a:pt x="139" y="192"/>
                  <a:pt x="139" y="188"/>
                  <a:pt x="141" y="184"/>
                </a:cubicBezTo>
                <a:lnTo>
                  <a:pt x="142" y="174"/>
                </a:lnTo>
                <a:cubicBezTo>
                  <a:pt x="138" y="173"/>
                  <a:pt x="135" y="170"/>
                  <a:pt x="133" y="164"/>
                </a:cubicBezTo>
                <a:cubicBezTo>
                  <a:pt x="132" y="163"/>
                  <a:pt x="132" y="162"/>
                  <a:pt x="132" y="161"/>
                </a:cubicBezTo>
                <a:cubicBezTo>
                  <a:pt x="131" y="158"/>
                  <a:pt x="130" y="156"/>
                  <a:pt x="130" y="154"/>
                </a:cubicBezTo>
                <a:cubicBezTo>
                  <a:pt x="131" y="153"/>
                  <a:pt x="131" y="151"/>
                  <a:pt x="133" y="149"/>
                </a:cubicBezTo>
                <a:cubicBezTo>
                  <a:pt x="134" y="147"/>
                  <a:pt x="135" y="145"/>
                  <a:pt x="135" y="144"/>
                </a:cubicBezTo>
                <a:cubicBezTo>
                  <a:pt x="135" y="143"/>
                  <a:pt x="135" y="141"/>
                  <a:pt x="134" y="140"/>
                </a:cubicBezTo>
                <a:cubicBezTo>
                  <a:pt x="133" y="139"/>
                  <a:pt x="133" y="137"/>
                  <a:pt x="133" y="137"/>
                </a:cubicBezTo>
                <a:cubicBezTo>
                  <a:pt x="133" y="133"/>
                  <a:pt x="138" y="129"/>
                  <a:pt x="148" y="124"/>
                </a:cubicBezTo>
                <a:cubicBezTo>
                  <a:pt x="151" y="122"/>
                  <a:pt x="154" y="120"/>
                  <a:pt x="156" y="119"/>
                </a:cubicBezTo>
                <a:cubicBezTo>
                  <a:pt x="159" y="118"/>
                  <a:pt x="161" y="117"/>
                  <a:pt x="163" y="117"/>
                </a:cubicBezTo>
                <a:cubicBezTo>
                  <a:pt x="164" y="117"/>
                  <a:pt x="165" y="117"/>
                  <a:pt x="166" y="117"/>
                </a:cubicBezTo>
                <a:cubicBezTo>
                  <a:pt x="166" y="117"/>
                  <a:pt x="171" y="120"/>
                  <a:pt x="181" y="126"/>
                </a:cubicBezTo>
                <a:cubicBezTo>
                  <a:pt x="182" y="121"/>
                  <a:pt x="185" y="118"/>
                  <a:pt x="187" y="117"/>
                </a:cubicBezTo>
                <a:cubicBezTo>
                  <a:pt x="187" y="117"/>
                  <a:pt x="189" y="116"/>
                  <a:pt x="192" y="115"/>
                </a:cubicBezTo>
                <a:cubicBezTo>
                  <a:pt x="196" y="115"/>
                  <a:pt x="198" y="114"/>
                  <a:pt x="199" y="114"/>
                </a:cubicBezTo>
                <a:cubicBezTo>
                  <a:pt x="201" y="115"/>
                  <a:pt x="203" y="116"/>
                  <a:pt x="205" y="117"/>
                </a:cubicBezTo>
                <a:cubicBezTo>
                  <a:pt x="208" y="118"/>
                  <a:pt x="212" y="117"/>
                  <a:pt x="218" y="115"/>
                </a:cubicBezTo>
                <a:cubicBezTo>
                  <a:pt x="220" y="115"/>
                  <a:pt x="221" y="116"/>
                  <a:pt x="222" y="116"/>
                </a:cubicBezTo>
                <a:cubicBezTo>
                  <a:pt x="223" y="117"/>
                  <a:pt x="224" y="118"/>
                  <a:pt x="225" y="119"/>
                </a:cubicBezTo>
                <a:cubicBezTo>
                  <a:pt x="228" y="122"/>
                  <a:pt x="230" y="125"/>
                  <a:pt x="231" y="126"/>
                </a:cubicBezTo>
                <a:lnTo>
                  <a:pt x="231" y="126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6" name="Freeform 260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7" name="Freeform 261"/>
          <p:cNvSpPr/>
          <p:nvPr/>
        </p:nvSpPr>
        <p:spPr bwMode="auto">
          <a:xfrm>
            <a:off x="8867322" y="3855439"/>
            <a:ext cx="803559" cy="461173"/>
          </a:xfrm>
          <a:custGeom>
            <a:avLst/>
            <a:gdLst>
              <a:gd name="T0" fmla="*/ 708 w 769"/>
              <a:gd name="T1" fmla="*/ 205 h 440"/>
              <a:gd name="T2" fmla="*/ 677 w 769"/>
              <a:gd name="T3" fmla="*/ 186 h 440"/>
              <a:gd name="T4" fmla="*/ 661 w 769"/>
              <a:gd name="T5" fmla="*/ 196 h 440"/>
              <a:gd name="T6" fmla="*/ 636 w 769"/>
              <a:gd name="T7" fmla="*/ 170 h 440"/>
              <a:gd name="T8" fmla="*/ 639 w 769"/>
              <a:gd name="T9" fmla="*/ 141 h 440"/>
              <a:gd name="T10" fmla="*/ 560 w 769"/>
              <a:gd name="T11" fmla="*/ 124 h 440"/>
              <a:gd name="T12" fmla="*/ 555 w 769"/>
              <a:gd name="T13" fmla="*/ 146 h 440"/>
              <a:gd name="T14" fmla="*/ 502 w 769"/>
              <a:gd name="T15" fmla="*/ 151 h 440"/>
              <a:gd name="T16" fmla="*/ 482 w 769"/>
              <a:gd name="T17" fmla="*/ 103 h 440"/>
              <a:gd name="T18" fmla="*/ 468 w 769"/>
              <a:gd name="T19" fmla="*/ 78 h 440"/>
              <a:gd name="T20" fmla="*/ 451 w 769"/>
              <a:gd name="T21" fmla="*/ 78 h 440"/>
              <a:gd name="T22" fmla="*/ 423 w 769"/>
              <a:gd name="T23" fmla="*/ 58 h 440"/>
              <a:gd name="T24" fmla="*/ 373 w 769"/>
              <a:gd name="T25" fmla="*/ 49 h 440"/>
              <a:gd name="T26" fmla="*/ 351 w 769"/>
              <a:gd name="T27" fmla="*/ 12 h 440"/>
              <a:gd name="T28" fmla="*/ 333 w 769"/>
              <a:gd name="T29" fmla="*/ 19 h 440"/>
              <a:gd name="T30" fmla="*/ 312 w 769"/>
              <a:gd name="T31" fmla="*/ 32 h 440"/>
              <a:gd name="T32" fmla="*/ 289 w 769"/>
              <a:gd name="T33" fmla="*/ 20 h 440"/>
              <a:gd name="T34" fmla="*/ 266 w 769"/>
              <a:gd name="T35" fmla="*/ 3 h 440"/>
              <a:gd name="T36" fmla="*/ 261 w 769"/>
              <a:gd name="T37" fmla="*/ 24 h 440"/>
              <a:gd name="T38" fmla="*/ 230 w 769"/>
              <a:gd name="T39" fmla="*/ 39 h 440"/>
              <a:gd name="T40" fmla="*/ 206 w 769"/>
              <a:gd name="T41" fmla="*/ 49 h 440"/>
              <a:gd name="T42" fmla="*/ 193 w 769"/>
              <a:gd name="T43" fmla="*/ 56 h 440"/>
              <a:gd name="T44" fmla="*/ 161 w 769"/>
              <a:gd name="T45" fmla="*/ 69 h 440"/>
              <a:gd name="T46" fmla="*/ 130 w 769"/>
              <a:gd name="T47" fmla="*/ 90 h 440"/>
              <a:gd name="T48" fmla="*/ 109 w 769"/>
              <a:gd name="T49" fmla="*/ 96 h 440"/>
              <a:gd name="T50" fmla="*/ 81 w 769"/>
              <a:gd name="T51" fmla="*/ 101 h 440"/>
              <a:gd name="T52" fmla="*/ 36 w 769"/>
              <a:gd name="T53" fmla="*/ 119 h 440"/>
              <a:gd name="T54" fmla="*/ 25 w 769"/>
              <a:gd name="T55" fmla="*/ 143 h 440"/>
              <a:gd name="T56" fmla="*/ 0 w 769"/>
              <a:gd name="T57" fmla="*/ 127 h 440"/>
              <a:gd name="T58" fmla="*/ 28 w 769"/>
              <a:gd name="T59" fmla="*/ 174 h 440"/>
              <a:gd name="T60" fmla="*/ 28 w 769"/>
              <a:gd name="T61" fmla="*/ 222 h 440"/>
              <a:gd name="T62" fmla="*/ 60 w 769"/>
              <a:gd name="T63" fmla="*/ 285 h 440"/>
              <a:gd name="T64" fmla="*/ 95 w 769"/>
              <a:gd name="T65" fmla="*/ 311 h 440"/>
              <a:gd name="T66" fmla="*/ 116 w 769"/>
              <a:gd name="T67" fmla="*/ 340 h 440"/>
              <a:gd name="T68" fmla="*/ 143 w 769"/>
              <a:gd name="T69" fmla="*/ 363 h 440"/>
              <a:gd name="T70" fmla="*/ 182 w 769"/>
              <a:gd name="T71" fmla="*/ 397 h 440"/>
              <a:gd name="T72" fmla="*/ 187 w 769"/>
              <a:gd name="T73" fmla="*/ 405 h 440"/>
              <a:gd name="T74" fmla="*/ 206 w 769"/>
              <a:gd name="T75" fmla="*/ 428 h 440"/>
              <a:gd name="T76" fmla="*/ 286 w 769"/>
              <a:gd name="T77" fmla="*/ 440 h 440"/>
              <a:gd name="T78" fmla="*/ 318 w 769"/>
              <a:gd name="T79" fmla="*/ 396 h 440"/>
              <a:gd name="T80" fmla="*/ 320 w 769"/>
              <a:gd name="T81" fmla="*/ 372 h 440"/>
              <a:gd name="T82" fmla="*/ 344 w 769"/>
              <a:gd name="T83" fmla="*/ 375 h 440"/>
              <a:gd name="T84" fmla="*/ 394 w 769"/>
              <a:gd name="T85" fmla="*/ 389 h 440"/>
              <a:gd name="T86" fmla="*/ 421 w 769"/>
              <a:gd name="T87" fmla="*/ 392 h 440"/>
              <a:gd name="T88" fmla="*/ 488 w 769"/>
              <a:gd name="T89" fmla="*/ 412 h 440"/>
              <a:gd name="T90" fmla="*/ 545 w 769"/>
              <a:gd name="T91" fmla="*/ 428 h 440"/>
              <a:gd name="T92" fmla="*/ 569 w 769"/>
              <a:gd name="T93" fmla="*/ 400 h 440"/>
              <a:gd name="T94" fmla="*/ 606 w 769"/>
              <a:gd name="T95" fmla="*/ 397 h 440"/>
              <a:gd name="T96" fmla="*/ 642 w 769"/>
              <a:gd name="T97" fmla="*/ 390 h 440"/>
              <a:gd name="T98" fmla="*/ 660 w 769"/>
              <a:gd name="T99" fmla="*/ 370 h 440"/>
              <a:gd name="T100" fmla="*/ 686 w 769"/>
              <a:gd name="T101" fmla="*/ 347 h 440"/>
              <a:gd name="T102" fmla="*/ 707 w 769"/>
              <a:gd name="T103" fmla="*/ 315 h 440"/>
              <a:gd name="T104" fmla="*/ 743 w 769"/>
              <a:gd name="T105" fmla="*/ 282 h 440"/>
              <a:gd name="T106" fmla="*/ 767 w 769"/>
              <a:gd name="T107" fmla="*/ 270 h 440"/>
              <a:gd name="T108" fmla="*/ 745 w 769"/>
              <a:gd name="T109" fmla="*/ 241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69" h="440">
                <a:moveTo>
                  <a:pt x="741" y="218"/>
                </a:moveTo>
                <a:lnTo>
                  <a:pt x="741" y="218"/>
                </a:lnTo>
                <a:cubicBezTo>
                  <a:pt x="741" y="216"/>
                  <a:pt x="736" y="213"/>
                  <a:pt x="726" y="210"/>
                </a:cubicBezTo>
                <a:cubicBezTo>
                  <a:pt x="717" y="207"/>
                  <a:pt x="711" y="205"/>
                  <a:pt x="708" y="205"/>
                </a:cubicBezTo>
                <a:cubicBezTo>
                  <a:pt x="707" y="200"/>
                  <a:pt x="702" y="197"/>
                  <a:pt x="694" y="195"/>
                </a:cubicBezTo>
                <a:cubicBezTo>
                  <a:pt x="692" y="195"/>
                  <a:pt x="689" y="193"/>
                  <a:pt x="686" y="190"/>
                </a:cubicBezTo>
                <a:cubicBezTo>
                  <a:pt x="683" y="187"/>
                  <a:pt x="681" y="185"/>
                  <a:pt x="679" y="185"/>
                </a:cubicBezTo>
                <a:cubicBezTo>
                  <a:pt x="679" y="185"/>
                  <a:pt x="678" y="185"/>
                  <a:pt x="677" y="186"/>
                </a:cubicBezTo>
                <a:cubicBezTo>
                  <a:pt x="676" y="186"/>
                  <a:pt x="676" y="187"/>
                  <a:pt x="676" y="187"/>
                </a:cubicBezTo>
                <a:cubicBezTo>
                  <a:pt x="675" y="190"/>
                  <a:pt x="676" y="192"/>
                  <a:pt x="676" y="193"/>
                </a:cubicBezTo>
                <a:cubicBezTo>
                  <a:pt x="675" y="193"/>
                  <a:pt x="672" y="193"/>
                  <a:pt x="668" y="193"/>
                </a:cubicBezTo>
                <a:cubicBezTo>
                  <a:pt x="666" y="193"/>
                  <a:pt x="663" y="194"/>
                  <a:pt x="661" y="196"/>
                </a:cubicBezTo>
                <a:cubicBezTo>
                  <a:pt x="659" y="197"/>
                  <a:pt x="658" y="198"/>
                  <a:pt x="657" y="198"/>
                </a:cubicBezTo>
                <a:cubicBezTo>
                  <a:pt x="655" y="197"/>
                  <a:pt x="652" y="195"/>
                  <a:pt x="649" y="191"/>
                </a:cubicBezTo>
                <a:cubicBezTo>
                  <a:pt x="645" y="187"/>
                  <a:pt x="643" y="184"/>
                  <a:pt x="643" y="183"/>
                </a:cubicBezTo>
                <a:cubicBezTo>
                  <a:pt x="642" y="177"/>
                  <a:pt x="640" y="173"/>
                  <a:pt x="636" y="170"/>
                </a:cubicBezTo>
                <a:cubicBezTo>
                  <a:pt x="633" y="169"/>
                  <a:pt x="631" y="167"/>
                  <a:pt x="631" y="167"/>
                </a:cubicBezTo>
                <a:cubicBezTo>
                  <a:pt x="631" y="165"/>
                  <a:pt x="632" y="164"/>
                  <a:pt x="635" y="161"/>
                </a:cubicBezTo>
                <a:cubicBezTo>
                  <a:pt x="638" y="159"/>
                  <a:pt x="640" y="158"/>
                  <a:pt x="641" y="158"/>
                </a:cubicBezTo>
                <a:cubicBezTo>
                  <a:pt x="641" y="150"/>
                  <a:pt x="640" y="144"/>
                  <a:pt x="639" y="141"/>
                </a:cubicBezTo>
                <a:cubicBezTo>
                  <a:pt x="630" y="144"/>
                  <a:pt x="624" y="146"/>
                  <a:pt x="622" y="146"/>
                </a:cubicBezTo>
                <a:cubicBezTo>
                  <a:pt x="611" y="146"/>
                  <a:pt x="604" y="146"/>
                  <a:pt x="602" y="146"/>
                </a:cubicBezTo>
                <a:cubicBezTo>
                  <a:pt x="587" y="135"/>
                  <a:pt x="578" y="129"/>
                  <a:pt x="575" y="128"/>
                </a:cubicBezTo>
                <a:cubicBezTo>
                  <a:pt x="568" y="126"/>
                  <a:pt x="563" y="125"/>
                  <a:pt x="560" y="124"/>
                </a:cubicBezTo>
                <a:cubicBezTo>
                  <a:pt x="553" y="123"/>
                  <a:pt x="548" y="120"/>
                  <a:pt x="545" y="117"/>
                </a:cubicBezTo>
                <a:lnTo>
                  <a:pt x="544" y="127"/>
                </a:lnTo>
                <a:cubicBezTo>
                  <a:pt x="544" y="127"/>
                  <a:pt x="547" y="130"/>
                  <a:pt x="551" y="136"/>
                </a:cubicBezTo>
                <a:cubicBezTo>
                  <a:pt x="554" y="140"/>
                  <a:pt x="556" y="143"/>
                  <a:pt x="555" y="146"/>
                </a:cubicBezTo>
                <a:cubicBezTo>
                  <a:pt x="532" y="164"/>
                  <a:pt x="519" y="173"/>
                  <a:pt x="518" y="173"/>
                </a:cubicBezTo>
                <a:cubicBezTo>
                  <a:pt x="515" y="173"/>
                  <a:pt x="513" y="171"/>
                  <a:pt x="509" y="167"/>
                </a:cubicBezTo>
                <a:cubicBezTo>
                  <a:pt x="507" y="163"/>
                  <a:pt x="505" y="161"/>
                  <a:pt x="505" y="160"/>
                </a:cubicBezTo>
                <a:cubicBezTo>
                  <a:pt x="506" y="156"/>
                  <a:pt x="505" y="153"/>
                  <a:pt x="502" y="151"/>
                </a:cubicBezTo>
                <a:cubicBezTo>
                  <a:pt x="499" y="147"/>
                  <a:pt x="496" y="145"/>
                  <a:pt x="496" y="142"/>
                </a:cubicBezTo>
                <a:cubicBezTo>
                  <a:pt x="494" y="139"/>
                  <a:pt x="490" y="133"/>
                  <a:pt x="481" y="126"/>
                </a:cubicBezTo>
                <a:cubicBezTo>
                  <a:pt x="473" y="118"/>
                  <a:pt x="469" y="115"/>
                  <a:pt x="469" y="114"/>
                </a:cubicBezTo>
                <a:cubicBezTo>
                  <a:pt x="469" y="112"/>
                  <a:pt x="474" y="108"/>
                  <a:pt x="482" y="103"/>
                </a:cubicBezTo>
                <a:cubicBezTo>
                  <a:pt x="491" y="98"/>
                  <a:pt x="495" y="94"/>
                  <a:pt x="495" y="92"/>
                </a:cubicBezTo>
                <a:cubicBezTo>
                  <a:pt x="496" y="87"/>
                  <a:pt x="493" y="84"/>
                  <a:pt x="486" y="80"/>
                </a:cubicBezTo>
                <a:cubicBezTo>
                  <a:pt x="482" y="78"/>
                  <a:pt x="477" y="76"/>
                  <a:pt x="472" y="76"/>
                </a:cubicBezTo>
                <a:cubicBezTo>
                  <a:pt x="470" y="76"/>
                  <a:pt x="469" y="76"/>
                  <a:pt x="468" y="78"/>
                </a:cubicBezTo>
                <a:cubicBezTo>
                  <a:pt x="468" y="79"/>
                  <a:pt x="466" y="80"/>
                  <a:pt x="464" y="80"/>
                </a:cubicBezTo>
                <a:cubicBezTo>
                  <a:pt x="463" y="80"/>
                  <a:pt x="461" y="79"/>
                  <a:pt x="459" y="78"/>
                </a:cubicBezTo>
                <a:cubicBezTo>
                  <a:pt x="457" y="76"/>
                  <a:pt x="456" y="76"/>
                  <a:pt x="455" y="76"/>
                </a:cubicBezTo>
                <a:cubicBezTo>
                  <a:pt x="454" y="75"/>
                  <a:pt x="453" y="76"/>
                  <a:pt x="451" y="78"/>
                </a:cubicBezTo>
                <a:cubicBezTo>
                  <a:pt x="450" y="80"/>
                  <a:pt x="449" y="81"/>
                  <a:pt x="448" y="81"/>
                </a:cubicBezTo>
                <a:cubicBezTo>
                  <a:pt x="445" y="74"/>
                  <a:pt x="442" y="70"/>
                  <a:pt x="438" y="69"/>
                </a:cubicBezTo>
                <a:cubicBezTo>
                  <a:pt x="433" y="68"/>
                  <a:pt x="430" y="66"/>
                  <a:pt x="427" y="63"/>
                </a:cubicBezTo>
                <a:cubicBezTo>
                  <a:pt x="425" y="60"/>
                  <a:pt x="423" y="58"/>
                  <a:pt x="423" y="58"/>
                </a:cubicBezTo>
                <a:cubicBezTo>
                  <a:pt x="420" y="60"/>
                  <a:pt x="418" y="60"/>
                  <a:pt x="416" y="60"/>
                </a:cubicBezTo>
                <a:cubicBezTo>
                  <a:pt x="415" y="60"/>
                  <a:pt x="404" y="56"/>
                  <a:pt x="383" y="49"/>
                </a:cubicBezTo>
                <a:cubicBezTo>
                  <a:pt x="381" y="48"/>
                  <a:pt x="379" y="49"/>
                  <a:pt x="378" y="50"/>
                </a:cubicBezTo>
                <a:lnTo>
                  <a:pt x="373" y="49"/>
                </a:lnTo>
                <a:cubicBezTo>
                  <a:pt x="373" y="46"/>
                  <a:pt x="371" y="42"/>
                  <a:pt x="367" y="38"/>
                </a:cubicBezTo>
                <a:cubicBezTo>
                  <a:pt x="364" y="34"/>
                  <a:pt x="363" y="31"/>
                  <a:pt x="363" y="27"/>
                </a:cubicBezTo>
                <a:cubicBezTo>
                  <a:pt x="365" y="24"/>
                  <a:pt x="366" y="23"/>
                  <a:pt x="366" y="22"/>
                </a:cubicBezTo>
                <a:cubicBezTo>
                  <a:pt x="360" y="16"/>
                  <a:pt x="355" y="13"/>
                  <a:pt x="351" y="12"/>
                </a:cubicBezTo>
                <a:cubicBezTo>
                  <a:pt x="348" y="14"/>
                  <a:pt x="345" y="14"/>
                  <a:pt x="343" y="14"/>
                </a:cubicBezTo>
                <a:cubicBezTo>
                  <a:pt x="338" y="12"/>
                  <a:pt x="336" y="10"/>
                  <a:pt x="336" y="10"/>
                </a:cubicBezTo>
                <a:lnTo>
                  <a:pt x="332" y="10"/>
                </a:lnTo>
                <a:cubicBezTo>
                  <a:pt x="333" y="13"/>
                  <a:pt x="333" y="16"/>
                  <a:pt x="333" y="19"/>
                </a:cubicBezTo>
                <a:cubicBezTo>
                  <a:pt x="333" y="20"/>
                  <a:pt x="332" y="22"/>
                  <a:pt x="331" y="25"/>
                </a:cubicBezTo>
                <a:cubicBezTo>
                  <a:pt x="330" y="26"/>
                  <a:pt x="331" y="30"/>
                  <a:pt x="332" y="35"/>
                </a:cubicBezTo>
                <a:cubicBezTo>
                  <a:pt x="328" y="34"/>
                  <a:pt x="324" y="32"/>
                  <a:pt x="320" y="32"/>
                </a:cubicBezTo>
                <a:cubicBezTo>
                  <a:pt x="317" y="32"/>
                  <a:pt x="314" y="32"/>
                  <a:pt x="312" y="32"/>
                </a:cubicBezTo>
                <a:cubicBezTo>
                  <a:pt x="311" y="32"/>
                  <a:pt x="311" y="33"/>
                  <a:pt x="311" y="33"/>
                </a:cubicBezTo>
                <a:cubicBezTo>
                  <a:pt x="311" y="33"/>
                  <a:pt x="311" y="33"/>
                  <a:pt x="311" y="33"/>
                </a:cubicBezTo>
                <a:cubicBezTo>
                  <a:pt x="309" y="37"/>
                  <a:pt x="307" y="39"/>
                  <a:pt x="306" y="39"/>
                </a:cubicBezTo>
                <a:cubicBezTo>
                  <a:pt x="296" y="38"/>
                  <a:pt x="290" y="31"/>
                  <a:pt x="289" y="20"/>
                </a:cubicBezTo>
                <a:cubicBezTo>
                  <a:pt x="289" y="15"/>
                  <a:pt x="287" y="11"/>
                  <a:pt x="283" y="8"/>
                </a:cubicBezTo>
                <a:cubicBezTo>
                  <a:pt x="279" y="5"/>
                  <a:pt x="276" y="2"/>
                  <a:pt x="274" y="0"/>
                </a:cubicBezTo>
                <a:cubicBezTo>
                  <a:pt x="272" y="2"/>
                  <a:pt x="271" y="3"/>
                  <a:pt x="270" y="3"/>
                </a:cubicBezTo>
                <a:cubicBezTo>
                  <a:pt x="270" y="3"/>
                  <a:pt x="268" y="3"/>
                  <a:pt x="266" y="3"/>
                </a:cubicBezTo>
                <a:cubicBezTo>
                  <a:pt x="263" y="2"/>
                  <a:pt x="260" y="2"/>
                  <a:pt x="258" y="2"/>
                </a:cubicBezTo>
                <a:cubicBezTo>
                  <a:pt x="254" y="2"/>
                  <a:pt x="252" y="4"/>
                  <a:pt x="252" y="6"/>
                </a:cubicBezTo>
                <a:cubicBezTo>
                  <a:pt x="251" y="9"/>
                  <a:pt x="253" y="11"/>
                  <a:pt x="256" y="15"/>
                </a:cubicBezTo>
                <a:cubicBezTo>
                  <a:pt x="260" y="18"/>
                  <a:pt x="261" y="21"/>
                  <a:pt x="261" y="24"/>
                </a:cubicBezTo>
                <a:cubicBezTo>
                  <a:pt x="261" y="26"/>
                  <a:pt x="258" y="28"/>
                  <a:pt x="253" y="28"/>
                </a:cubicBezTo>
                <a:cubicBezTo>
                  <a:pt x="247" y="29"/>
                  <a:pt x="243" y="30"/>
                  <a:pt x="242" y="31"/>
                </a:cubicBezTo>
                <a:cubicBezTo>
                  <a:pt x="239" y="32"/>
                  <a:pt x="237" y="34"/>
                  <a:pt x="233" y="35"/>
                </a:cubicBezTo>
                <a:cubicBezTo>
                  <a:pt x="233" y="36"/>
                  <a:pt x="231" y="37"/>
                  <a:pt x="230" y="39"/>
                </a:cubicBezTo>
                <a:cubicBezTo>
                  <a:pt x="229" y="40"/>
                  <a:pt x="228" y="41"/>
                  <a:pt x="226" y="41"/>
                </a:cubicBezTo>
                <a:cubicBezTo>
                  <a:pt x="221" y="41"/>
                  <a:pt x="217" y="41"/>
                  <a:pt x="215" y="42"/>
                </a:cubicBezTo>
                <a:cubicBezTo>
                  <a:pt x="211" y="42"/>
                  <a:pt x="209" y="43"/>
                  <a:pt x="207" y="45"/>
                </a:cubicBezTo>
                <a:cubicBezTo>
                  <a:pt x="207" y="46"/>
                  <a:pt x="207" y="47"/>
                  <a:pt x="206" y="49"/>
                </a:cubicBezTo>
                <a:cubicBezTo>
                  <a:pt x="205" y="51"/>
                  <a:pt x="204" y="52"/>
                  <a:pt x="203" y="53"/>
                </a:cubicBezTo>
                <a:cubicBezTo>
                  <a:pt x="201" y="55"/>
                  <a:pt x="198" y="56"/>
                  <a:pt x="195" y="56"/>
                </a:cubicBezTo>
                <a:cubicBezTo>
                  <a:pt x="194" y="56"/>
                  <a:pt x="194" y="56"/>
                  <a:pt x="194" y="56"/>
                </a:cubicBezTo>
                <a:cubicBezTo>
                  <a:pt x="194" y="56"/>
                  <a:pt x="193" y="56"/>
                  <a:pt x="193" y="56"/>
                </a:cubicBezTo>
                <a:lnTo>
                  <a:pt x="194" y="55"/>
                </a:lnTo>
                <a:cubicBezTo>
                  <a:pt x="187" y="55"/>
                  <a:pt x="183" y="54"/>
                  <a:pt x="180" y="55"/>
                </a:cubicBezTo>
                <a:cubicBezTo>
                  <a:pt x="175" y="55"/>
                  <a:pt x="171" y="56"/>
                  <a:pt x="168" y="59"/>
                </a:cubicBezTo>
                <a:cubicBezTo>
                  <a:pt x="167" y="59"/>
                  <a:pt x="165" y="63"/>
                  <a:pt x="161" y="69"/>
                </a:cubicBezTo>
                <a:cubicBezTo>
                  <a:pt x="159" y="73"/>
                  <a:pt x="155" y="75"/>
                  <a:pt x="151" y="75"/>
                </a:cubicBezTo>
                <a:cubicBezTo>
                  <a:pt x="148" y="74"/>
                  <a:pt x="144" y="75"/>
                  <a:pt x="139" y="77"/>
                </a:cubicBezTo>
                <a:cubicBezTo>
                  <a:pt x="132" y="80"/>
                  <a:pt x="129" y="83"/>
                  <a:pt x="129" y="85"/>
                </a:cubicBezTo>
                <a:cubicBezTo>
                  <a:pt x="129" y="87"/>
                  <a:pt x="129" y="88"/>
                  <a:pt x="130" y="90"/>
                </a:cubicBezTo>
                <a:cubicBezTo>
                  <a:pt x="128" y="91"/>
                  <a:pt x="126" y="91"/>
                  <a:pt x="124" y="91"/>
                </a:cubicBezTo>
                <a:cubicBezTo>
                  <a:pt x="120" y="90"/>
                  <a:pt x="118" y="89"/>
                  <a:pt x="117" y="89"/>
                </a:cubicBezTo>
                <a:cubicBezTo>
                  <a:pt x="115" y="89"/>
                  <a:pt x="112" y="90"/>
                  <a:pt x="108" y="92"/>
                </a:cubicBezTo>
                <a:cubicBezTo>
                  <a:pt x="108" y="93"/>
                  <a:pt x="108" y="94"/>
                  <a:pt x="109" y="96"/>
                </a:cubicBezTo>
                <a:cubicBezTo>
                  <a:pt x="109" y="98"/>
                  <a:pt x="106" y="100"/>
                  <a:pt x="101" y="102"/>
                </a:cubicBezTo>
                <a:cubicBezTo>
                  <a:pt x="96" y="105"/>
                  <a:pt x="92" y="106"/>
                  <a:pt x="91" y="106"/>
                </a:cubicBezTo>
                <a:cubicBezTo>
                  <a:pt x="89" y="106"/>
                  <a:pt x="87" y="105"/>
                  <a:pt x="85" y="104"/>
                </a:cubicBezTo>
                <a:cubicBezTo>
                  <a:pt x="84" y="102"/>
                  <a:pt x="82" y="101"/>
                  <a:pt x="81" y="101"/>
                </a:cubicBezTo>
                <a:cubicBezTo>
                  <a:pt x="79" y="101"/>
                  <a:pt x="74" y="102"/>
                  <a:pt x="66" y="103"/>
                </a:cubicBezTo>
                <a:cubicBezTo>
                  <a:pt x="56" y="104"/>
                  <a:pt x="49" y="105"/>
                  <a:pt x="46" y="107"/>
                </a:cubicBezTo>
                <a:cubicBezTo>
                  <a:pt x="44" y="108"/>
                  <a:pt x="42" y="110"/>
                  <a:pt x="40" y="113"/>
                </a:cubicBezTo>
                <a:cubicBezTo>
                  <a:pt x="39" y="115"/>
                  <a:pt x="37" y="117"/>
                  <a:pt x="36" y="119"/>
                </a:cubicBezTo>
                <a:cubicBezTo>
                  <a:pt x="35" y="120"/>
                  <a:pt x="33" y="122"/>
                  <a:pt x="29" y="125"/>
                </a:cubicBezTo>
                <a:cubicBezTo>
                  <a:pt x="26" y="127"/>
                  <a:pt x="25" y="130"/>
                  <a:pt x="24" y="132"/>
                </a:cubicBezTo>
                <a:cubicBezTo>
                  <a:pt x="24" y="134"/>
                  <a:pt x="25" y="137"/>
                  <a:pt x="26" y="141"/>
                </a:cubicBezTo>
                <a:cubicBezTo>
                  <a:pt x="26" y="142"/>
                  <a:pt x="25" y="143"/>
                  <a:pt x="25" y="143"/>
                </a:cubicBezTo>
                <a:lnTo>
                  <a:pt x="23" y="143"/>
                </a:lnTo>
                <a:cubicBezTo>
                  <a:pt x="19" y="126"/>
                  <a:pt x="12" y="118"/>
                  <a:pt x="3" y="117"/>
                </a:cubicBezTo>
                <a:lnTo>
                  <a:pt x="0" y="117"/>
                </a:lnTo>
                <a:cubicBezTo>
                  <a:pt x="0" y="119"/>
                  <a:pt x="0" y="123"/>
                  <a:pt x="0" y="127"/>
                </a:cubicBezTo>
                <a:cubicBezTo>
                  <a:pt x="0" y="131"/>
                  <a:pt x="1" y="134"/>
                  <a:pt x="3" y="136"/>
                </a:cubicBezTo>
                <a:cubicBezTo>
                  <a:pt x="8" y="141"/>
                  <a:pt x="9" y="147"/>
                  <a:pt x="7" y="156"/>
                </a:cubicBezTo>
                <a:cubicBezTo>
                  <a:pt x="11" y="156"/>
                  <a:pt x="14" y="158"/>
                  <a:pt x="17" y="163"/>
                </a:cubicBezTo>
                <a:cubicBezTo>
                  <a:pt x="21" y="169"/>
                  <a:pt x="24" y="172"/>
                  <a:pt x="28" y="174"/>
                </a:cubicBezTo>
                <a:cubicBezTo>
                  <a:pt x="33" y="176"/>
                  <a:pt x="36" y="179"/>
                  <a:pt x="37" y="183"/>
                </a:cubicBezTo>
                <a:cubicBezTo>
                  <a:pt x="37" y="183"/>
                  <a:pt x="38" y="185"/>
                  <a:pt x="39" y="190"/>
                </a:cubicBezTo>
                <a:cubicBezTo>
                  <a:pt x="41" y="193"/>
                  <a:pt x="41" y="195"/>
                  <a:pt x="41" y="197"/>
                </a:cubicBezTo>
                <a:cubicBezTo>
                  <a:pt x="41" y="198"/>
                  <a:pt x="36" y="206"/>
                  <a:pt x="28" y="222"/>
                </a:cubicBezTo>
                <a:cubicBezTo>
                  <a:pt x="28" y="222"/>
                  <a:pt x="32" y="228"/>
                  <a:pt x="40" y="240"/>
                </a:cubicBezTo>
                <a:cubicBezTo>
                  <a:pt x="47" y="253"/>
                  <a:pt x="51" y="261"/>
                  <a:pt x="51" y="265"/>
                </a:cubicBezTo>
                <a:cubicBezTo>
                  <a:pt x="51" y="267"/>
                  <a:pt x="50" y="269"/>
                  <a:pt x="48" y="271"/>
                </a:cubicBezTo>
                <a:cubicBezTo>
                  <a:pt x="51" y="275"/>
                  <a:pt x="55" y="280"/>
                  <a:pt x="60" y="285"/>
                </a:cubicBezTo>
                <a:cubicBezTo>
                  <a:pt x="67" y="293"/>
                  <a:pt x="74" y="298"/>
                  <a:pt x="79" y="299"/>
                </a:cubicBezTo>
                <a:cubicBezTo>
                  <a:pt x="80" y="299"/>
                  <a:pt x="82" y="299"/>
                  <a:pt x="87" y="298"/>
                </a:cubicBezTo>
                <a:cubicBezTo>
                  <a:pt x="89" y="298"/>
                  <a:pt x="91" y="300"/>
                  <a:pt x="93" y="303"/>
                </a:cubicBezTo>
                <a:cubicBezTo>
                  <a:pt x="94" y="306"/>
                  <a:pt x="95" y="309"/>
                  <a:pt x="95" y="311"/>
                </a:cubicBezTo>
                <a:cubicBezTo>
                  <a:pt x="95" y="311"/>
                  <a:pt x="95" y="311"/>
                  <a:pt x="95" y="311"/>
                </a:cubicBezTo>
                <a:cubicBezTo>
                  <a:pt x="102" y="324"/>
                  <a:pt x="106" y="331"/>
                  <a:pt x="106" y="332"/>
                </a:cubicBezTo>
                <a:cubicBezTo>
                  <a:pt x="106" y="332"/>
                  <a:pt x="107" y="334"/>
                  <a:pt x="110" y="337"/>
                </a:cubicBezTo>
                <a:cubicBezTo>
                  <a:pt x="112" y="339"/>
                  <a:pt x="113" y="340"/>
                  <a:pt x="116" y="340"/>
                </a:cubicBezTo>
                <a:cubicBezTo>
                  <a:pt x="118" y="341"/>
                  <a:pt x="120" y="341"/>
                  <a:pt x="124" y="341"/>
                </a:cubicBezTo>
                <a:cubicBezTo>
                  <a:pt x="126" y="343"/>
                  <a:pt x="128" y="345"/>
                  <a:pt x="129" y="349"/>
                </a:cubicBezTo>
                <a:cubicBezTo>
                  <a:pt x="131" y="353"/>
                  <a:pt x="134" y="358"/>
                  <a:pt x="136" y="361"/>
                </a:cubicBezTo>
                <a:cubicBezTo>
                  <a:pt x="138" y="362"/>
                  <a:pt x="140" y="363"/>
                  <a:pt x="143" y="363"/>
                </a:cubicBezTo>
                <a:cubicBezTo>
                  <a:pt x="146" y="364"/>
                  <a:pt x="148" y="364"/>
                  <a:pt x="153" y="365"/>
                </a:cubicBezTo>
                <a:cubicBezTo>
                  <a:pt x="155" y="365"/>
                  <a:pt x="158" y="369"/>
                  <a:pt x="162" y="376"/>
                </a:cubicBezTo>
                <a:cubicBezTo>
                  <a:pt x="163" y="378"/>
                  <a:pt x="167" y="381"/>
                  <a:pt x="173" y="385"/>
                </a:cubicBezTo>
                <a:cubicBezTo>
                  <a:pt x="175" y="386"/>
                  <a:pt x="178" y="390"/>
                  <a:pt x="182" y="397"/>
                </a:cubicBezTo>
                <a:cubicBezTo>
                  <a:pt x="183" y="400"/>
                  <a:pt x="185" y="403"/>
                  <a:pt x="186" y="405"/>
                </a:cubicBezTo>
                <a:lnTo>
                  <a:pt x="186" y="405"/>
                </a:lnTo>
                <a:lnTo>
                  <a:pt x="187" y="405"/>
                </a:lnTo>
                <a:lnTo>
                  <a:pt x="187" y="405"/>
                </a:lnTo>
                <a:cubicBezTo>
                  <a:pt x="188" y="406"/>
                  <a:pt x="188" y="406"/>
                  <a:pt x="189" y="406"/>
                </a:cubicBezTo>
                <a:cubicBezTo>
                  <a:pt x="195" y="409"/>
                  <a:pt x="201" y="411"/>
                  <a:pt x="206" y="412"/>
                </a:cubicBezTo>
                <a:cubicBezTo>
                  <a:pt x="207" y="413"/>
                  <a:pt x="207" y="415"/>
                  <a:pt x="207" y="417"/>
                </a:cubicBezTo>
                <a:cubicBezTo>
                  <a:pt x="207" y="419"/>
                  <a:pt x="206" y="422"/>
                  <a:pt x="206" y="428"/>
                </a:cubicBezTo>
                <a:cubicBezTo>
                  <a:pt x="205" y="433"/>
                  <a:pt x="215" y="436"/>
                  <a:pt x="237" y="439"/>
                </a:cubicBezTo>
                <a:cubicBezTo>
                  <a:pt x="246" y="440"/>
                  <a:pt x="251" y="440"/>
                  <a:pt x="252" y="439"/>
                </a:cubicBezTo>
                <a:cubicBezTo>
                  <a:pt x="255" y="439"/>
                  <a:pt x="257" y="434"/>
                  <a:pt x="260" y="427"/>
                </a:cubicBezTo>
                <a:cubicBezTo>
                  <a:pt x="268" y="432"/>
                  <a:pt x="277" y="437"/>
                  <a:pt x="286" y="440"/>
                </a:cubicBezTo>
                <a:cubicBezTo>
                  <a:pt x="290" y="427"/>
                  <a:pt x="293" y="420"/>
                  <a:pt x="295" y="417"/>
                </a:cubicBezTo>
                <a:cubicBezTo>
                  <a:pt x="300" y="410"/>
                  <a:pt x="307" y="408"/>
                  <a:pt x="317" y="409"/>
                </a:cubicBezTo>
                <a:lnTo>
                  <a:pt x="319" y="408"/>
                </a:lnTo>
                <a:cubicBezTo>
                  <a:pt x="317" y="403"/>
                  <a:pt x="317" y="399"/>
                  <a:pt x="318" y="396"/>
                </a:cubicBezTo>
                <a:cubicBezTo>
                  <a:pt x="318" y="393"/>
                  <a:pt x="319" y="390"/>
                  <a:pt x="321" y="389"/>
                </a:cubicBezTo>
                <a:cubicBezTo>
                  <a:pt x="322" y="388"/>
                  <a:pt x="324" y="386"/>
                  <a:pt x="324" y="385"/>
                </a:cubicBezTo>
                <a:cubicBezTo>
                  <a:pt x="324" y="383"/>
                  <a:pt x="323" y="381"/>
                  <a:pt x="322" y="379"/>
                </a:cubicBezTo>
                <a:cubicBezTo>
                  <a:pt x="320" y="377"/>
                  <a:pt x="320" y="375"/>
                  <a:pt x="320" y="372"/>
                </a:cubicBezTo>
                <a:cubicBezTo>
                  <a:pt x="320" y="369"/>
                  <a:pt x="321" y="368"/>
                  <a:pt x="323" y="367"/>
                </a:cubicBezTo>
                <a:cubicBezTo>
                  <a:pt x="324" y="367"/>
                  <a:pt x="326" y="368"/>
                  <a:pt x="329" y="368"/>
                </a:cubicBezTo>
                <a:cubicBezTo>
                  <a:pt x="333" y="368"/>
                  <a:pt x="335" y="370"/>
                  <a:pt x="338" y="371"/>
                </a:cubicBezTo>
                <a:cubicBezTo>
                  <a:pt x="340" y="374"/>
                  <a:pt x="342" y="374"/>
                  <a:pt x="344" y="375"/>
                </a:cubicBezTo>
                <a:cubicBezTo>
                  <a:pt x="345" y="375"/>
                  <a:pt x="347" y="374"/>
                  <a:pt x="350" y="373"/>
                </a:cubicBezTo>
                <a:cubicBezTo>
                  <a:pt x="353" y="371"/>
                  <a:pt x="355" y="371"/>
                  <a:pt x="358" y="371"/>
                </a:cubicBezTo>
                <a:cubicBezTo>
                  <a:pt x="367" y="372"/>
                  <a:pt x="373" y="375"/>
                  <a:pt x="378" y="380"/>
                </a:cubicBezTo>
                <a:cubicBezTo>
                  <a:pt x="382" y="385"/>
                  <a:pt x="387" y="388"/>
                  <a:pt x="394" y="389"/>
                </a:cubicBezTo>
                <a:cubicBezTo>
                  <a:pt x="397" y="389"/>
                  <a:pt x="398" y="391"/>
                  <a:pt x="399" y="393"/>
                </a:cubicBezTo>
                <a:cubicBezTo>
                  <a:pt x="399" y="395"/>
                  <a:pt x="400" y="396"/>
                  <a:pt x="403" y="396"/>
                </a:cubicBezTo>
                <a:cubicBezTo>
                  <a:pt x="404" y="396"/>
                  <a:pt x="407" y="396"/>
                  <a:pt x="411" y="394"/>
                </a:cubicBezTo>
                <a:cubicBezTo>
                  <a:pt x="416" y="392"/>
                  <a:pt x="419" y="392"/>
                  <a:pt x="421" y="392"/>
                </a:cubicBezTo>
                <a:cubicBezTo>
                  <a:pt x="440" y="409"/>
                  <a:pt x="449" y="417"/>
                  <a:pt x="450" y="417"/>
                </a:cubicBezTo>
                <a:cubicBezTo>
                  <a:pt x="451" y="417"/>
                  <a:pt x="455" y="417"/>
                  <a:pt x="461" y="416"/>
                </a:cubicBezTo>
                <a:cubicBezTo>
                  <a:pt x="468" y="416"/>
                  <a:pt x="473" y="416"/>
                  <a:pt x="477" y="416"/>
                </a:cubicBezTo>
                <a:cubicBezTo>
                  <a:pt x="480" y="416"/>
                  <a:pt x="484" y="415"/>
                  <a:pt x="488" y="412"/>
                </a:cubicBezTo>
                <a:cubicBezTo>
                  <a:pt x="492" y="409"/>
                  <a:pt x="495" y="407"/>
                  <a:pt x="495" y="407"/>
                </a:cubicBezTo>
                <a:cubicBezTo>
                  <a:pt x="499" y="408"/>
                  <a:pt x="507" y="411"/>
                  <a:pt x="517" y="417"/>
                </a:cubicBezTo>
                <a:cubicBezTo>
                  <a:pt x="519" y="418"/>
                  <a:pt x="527" y="419"/>
                  <a:pt x="539" y="421"/>
                </a:cubicBezTo>
                <a:cubicBezTo>
                  <a:pt x="540" y="421"/>
                  <a:pt x="542" y="423"/>
                  <a:pt x="545" y="428"/>
                </a:cubicBezTo>
                <a:cubicBezTo>
                  <a:pt x="547" y="430"/>
                  <a:pt x="548" y="432"/>
                  <a:pt x="549" y="433"/>
                </a:cubicBezTo>
                <a:cubicBezTo>
                  <a:pt x="550" y="428"/>
                  <a:pt x="551" y="424"/>
                  <a:pt x="552" y="421"/>
                </a:cubicBezTo>
                <a:cubicBezTo>
                  <a:pt x="555" y="414"/>
                  <a:pt x="557" y="411"/>
                  <a:pt x="560" y="410"/>
                </a:cubicBezTo>
                <a:cubicBezTo>
                  <a:pt x="564" y="409"/>
                  <a:pt x="567" y="406"/>
                  <a:pt x="569" y="400"/>
                </a:cubicBezTo>
                <a:cubicBezTo>
                  <a:pt x="571" y="395"/>
                  <a:pt x="575" y="393"/>
                  <a:pt x="580" y="393"/>
                </a:cubicBezTo>
                <a:cubicBezTo>
                  <a:pt x="582" y="393"/>
                  <a:pt x="585" y="394"/>
                  <a:pt x="587" y="396"/>
                </a:cubicBezTo>
                <a:cubicBezTo>
                  <a:pt x="590" y="398"/>
                  <a:pt x="592" y="399"/>
                  <a:pt x="594" y="399"/>
                </a:cubicBezTo>
                <a:cubicBezTo>
                  <a:pt x="595" y="400"/>
                  <a:pt x="599" y="399"/>
                  <a:pt x="606" y="397"/>
                </a:cubicBezTo>
                <a:cubicBezTo>
                  <a:pt x="608" y="398"/>
                  <a:pt x="610" y="399"/>
                  <a:pt x="613" y="400"/>
                </a:cubicBezTo>
                <a:cubicBezTo>
                  <a:pt x="614" y="400"/>
                  <a:pt x="618" y="399"/>
                  <a:pt x="624" y="398"/>
                </a:cubicBezTo>
                <a:cubicBezTo>
                  <a:pt x="631" y="396"/>
                  <a:pt x="635" y="395"/>
                  <a:pt x="637" y="394"/>
                </a:cubicBezTo>
                <a:cubicBezTo>
                  <a:pt x="639" y="393"/>
                  <a:pt x="641" y="392"/>
                  <a:pt x="642" y="390"/>
                </a:cubicBezTo>
                <a:cubicBezTo>
                  <a:pt x="643" y="388"/>
                  <a:pt x="644" y="386"/>
                  <a:pt x="645" y="385"/>
                </a:cubicBezTo>
                <a:cubicBezTo>
                  <a:pt x="647" y="385"/>
                  <a:pt x="648" y="386"/>
                  <a:pt x="650" y="386"/>
                </a:cubicBezTo>
                <a:cubicBezTo>
                  <a:pt x="652" y="386"/>
                  <a:pt x="654" y="384"/>
                  <a:pt x="655" y="382"/>
                </a:cubicBezTo>
                <a:cubicBezTo>
                  <a:pt x="658" y="378"/>
                  <a:pt x="660" y="374"/>
                  <a:pt x="660" y="370"/>
                </a:cubicBezTo>
                <a:cubicBezTo>
                  <a:pt x="660" y="368"/>
                  <a:pt x="662" y="366"/>
                  <a:pt x="668" y="364"/>
                </a:cubicBezTo>
                <a:cubicBezTo>
                  <a:pt x="675" y="362"/>
                  <a:pt x="679" y="361"/>
                  <a:pt x="681" y="360"/>
                </a:cubicBezTo>
                <a:cubicBezTo>
                  <a:pt x="685" y="359"/>
                  <a:pt x="687" y="356"/>
                  <a:pt x="687" y="352"/>
                </a:cubicBezTo>
                <a:cubicBezTo>
                  <a:pt x="688" y="351"/>
                  <a:pt x="687" y="349"/>
                  <a:pt x="686" y="347"/>
                </a:cubicBezTo>
                <a:cubicBezTo>
                  <a:pt x="685" y="345"/>
                  <a:pt x="685" y="344"/>
                  <a:pt x="685" y="342"/>
                </a:cubicBezTo>
                <a:cubicBezTo>
                  <a:pt x="686" y="333"/>
                  <a:pt x="688" y="326"/>
                  <a:pt x="690" y="323"/>
                </a:cubicBezTo>
                <a:cubicBezTo>
                  <a:pt x="691" y="321"/>
                  <a:pt x="693" y="320"/>
                  <a:pt x="697" y="319"/>
                </a:cubicBezTo>
                <a:cubicBezTo>
                  <a:pt x="701" y="318"/>
                  <a:pt x="705" y="317"/>
                  <a:pt x="707" y="315"/>
                </a:cubicBezTo>
                <a:cubicBezTo>
                  <a:pt x="711" y="312"/>
                  <a:pt x="716" y="306"/>
                  <a:pt x="720" y="298"/>
                </a:cubicBezTo>
                <a:cubicBezTo>
                  <a:pt x="721" y="296"/>
                  <a:pt x="723" y="295"/>
                  <a:pt x="726" y="293"/>
                </a:cubicBezTo>
                <a:cubicBezTo>
                  <a:pt x="730" y="292"/>
                  <a:pt x="732" y="291"/>
                  <a:pt x="733" y="290"/>
                </a:cubicBezTo>
                <a:cubicBezTo>
                  <a:pt x="735" y="285"/>
                  <a:pt x="739" y="283"/>
                  <a:pt x="743" y="282"/>
                </a:cubicBezTo>
                <a:cubicBezTo>
                  <a:pt x="744" y="282"/>
                  <a:pt x="749" y="281"/>
                  <a:pt x="756" y="278"/>
                </a:cubicBezTo>
                <a:cubicBezTo>
                  <a:pt x="760" y="277"/>
                  <a:pt x="764" y="276"/>
                  <a:pt x="767" y="276"/>
                </a:cubicBezTo>
                <a:cubicBezTo>
                  <a:pt x="768" y="276"/>
                  <a:pt x="768" y="276"/>
                  <a:pt x="768" y="276"/>
                </a:cubicBezTo>
                <a:cubicBezTo>
                  <a:pt x="769" y="273"/>
                  <a:pt x="768" y="272"/>
                  <a:pt x="767" y="270"/>
                </a:cubicBezTo>
                <a:cubicBezTo>
                  <a:pt x="765" y="266"/>
                  <a:pt x="763" y="264"/>
                  <a:pt x="763" y="264"/>
                </a:cubicBezTo>
                <a:cubicBezTo>
                  <a:pt x="763" y="263"/>
                  <a:pt x="763" y="260"/>
                  <a:pt x="763" y="254"/>
                </a:cubicBezTo>
                <a:cubicBezTo>
                  <a:pt x="763" y="251"/>
                  <a:pt x="761" y="249"/>
                  <a:pt x="757" y="248"/>
                </a:cubicBezTo>
                <a:cubicBezTo>
                  <a:pt x="754" y="248"/>
                  <a:pt x="750" y="245"/>
                  <a:pt x="745" y="241"/>
                </a:cubicBezTo>
                <a:cubicBezTo>
                  <a:pt x="740" y="235"/>
                  <a:pt x="738" y="230"/>
                  <a:pt x="738" y="226"/>
                </a:cubicBezTo>
                <a:cubicBezTo>
                  <a:pt x="740" y="222"/>
                  <a:pt x="741" y="219"/>
                  <a:pt x="741" y="218"/>
                </a:cubicBezTo>
                <a:lnTo>
                  <a:pt x="741" y="218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 262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 263"/>
          <p:cNvSpPr/>
          <p:nvPr/>
        </p:nvSpPr>
        <p:spPr bwMode="auto">
          <a:xfrm>
            <a:off x="11821272" y="6447789"/>
            <a:ext cx="321423" cy="248055"/>
          </a:xfrm>
          <a:custGeom>
            <a:avLst/>
            <a:gdLst>
              <a:gd name="T0" fmla="*/ 281 w 307"/>
              <a:gd name="T1" fmla="*/ 30 h 237"/>
              <a:gd name="T2" fmla="*/ 281 w 307"/>
              <a:gd name="T3" fmla="*/ 30 h 237"/>
              <a:gd name="T4" fmla="*/ 287 w 307"/>
              <a:gd name="T5" fmla="*/ 24 h 237"/>
              <a:gd name="T6" fmla="*/ 307 w 307"/>
              <a:gd name="T7" fmla="*/ 3 h 237"/>
              <a:gd name="T8" fmla="*/ 305 w 307"/>
              <a:gd name="T9" fmla="*/ 0 h 237"/>
              <a:gd name="T10" fmla="*/ 257 w 307"/>
              <a:gd name="T11" fmla="*/ 35 h 237"/>
              <a:gd name="T12" fmla="*/ 205 w 307"/>
              <a:gd name="T13" fmla="*/ 66 h 237"/>
              <a:gd name="T14" fmla="*/ 193 w 307"/>
              <a:gd name="T15" fmla="*/ 73 h 237"/>
              <a:gd name="T16" fmla="*/ 180 w 307"/>
              <a:gd name="T17" fmla="*/ 80 h 237"/>
              <a:gd name="T18" fmla="*/ 153 w 307"/>
              <a:gd name="T19" fmla="*/ 89 h 237"/>
              <a:gd name="T20" fmla="*/ 119 w 307"/>
              <a:gd name="T21" fmla="*/ 93 h 237"/>
              <a:gd name="T22" fmla="*/ 86 w 307"/>
              <a:gd name="T23" fmla="*/ 96 h 237"/>
              <a:gd name="T24" fmla="*/ 88 w 307"/>
              <a:gd name="T25" fmla="*/ 102 h 237"/>
              <a:gd name="T26" fmla="*/ 91 w 307"/>
              <a:gd name="T27" fmla="*/ 108 h 237"/>
              <a:gd name="T28" fmla="*/ 87 w 307"/>
              <a:gd name="T29" fmla="*/ 117 h 237"/>
              <a:gd name="T30" fmla="*/ 88 w 307"/>
              <a:gd name="T31" fmla="*/ 124 h 237"/>
              <a:gd name="T32" fmla="*/ 68 w 307"/>
              <a:gd name="T33" fmla="*/ 136 h 237"/>
              <a:gd name="T34" fmla="*/ 53 w 307"/>
              <a:gd name="T35" fmla="*/ 134 h 237"/>
              <a:gd name="T36" fmla="*/ 42 w 307"/>
              <a:gd name="T37" fmla="*/ 136 h 237"/>
              <a:gd name="T38" fmla="*/ 29 w 307"/>
              <a:gd name="T39" fmla="*/ 154 h 237"/>
              <a:gd name="T40" fmla="*/ 14 w 307"/>
              <a:gd name="T41" fmla="*/ 169 h 237"/>
              <a:gd name="T42" fmla="*/ 8 w 307"/>
              <a:gd name="T43" fmla="*/ 166 h 237"/>
              <a:gd name="T44" fmla="*/ 0 w 307"/>
              <a:gd name="T45" fmla="*/ 163 h 237"/>
              <a:gd name="T46" fmla="*/ 0 w 307"/>
              <a:gd name="T47" fmla="*/ 169 h 237"/>
              <a:gd name="T48" fmla="*/ 39 w 307"/>
              <a:gd name="T49" fmla="*/ 223 h 237"/>
              <a:gd name="T50" fmla="*/ 48 w 307"/>
              <a:gd name="T51" fmla="*/ 222 h 237"/>
              <a:gd name="T52" fmla="*/ 57 w 307"/>
              <a:gd name="T53" fmla="*/ 225 h 237"/>
              <a:gd name="T54" fmla="*/ 68 w 307"/>
              <a:gd name="T55" fmla="*/ 228 h 237"/>
              <a:gd name="T56" fmla="*/ 87 w 307"/>
              <a:gd name="T57" fmla="*/ 226 h 237"/>
              <a:gd name="T58" fmla="*/ 101 w 307"/>
              <a:gd name="T59" fmla="*/ 223 h 237"/>
              <a:gd name="T60" fmla="*/ 109 w 307"/>
              <a:gd name="T61" fmla="*/ 230 h 237"/>
              <a:gd name="T62" fmla="*/ 115 w 307"/>
              <a:gd name="T63" fmla="*/ 237 h 237"/>
              <a:gd name="T64" fmla="*/ 120 w 307"/>
              <a:gd name="T65" fmla="*/ 236 h 237"/>
              <a:gd name="T66" fmla="*/ 124 w 307"/>
              <a:gd name="T67" fmla="*/ 232 h 237"/>
              <a:gd name="T68" fmla="*/ 119 w 307"/>
              <a:gd name="T69" fmla="*/ 219 h 237"/>
              <a:gd name="T70" fmla="*/ 134 w 307"/>
              <a:gd name="T71" fmla="*/ 208 h 237"/>
              <a:gd name="T72" fmla="*/ 142 w 307"/>
              <a:gd name="T73" fmla="*/ 207 h 237"/>
              <a:gd name="T74" fmla="*/ 151 w 307"/>
              <a:gd name="T75" fmla="*/ 205 h 237"/>
              <a:gd name="T76" fmla="*/ 158 w 307"/>
              <a:gd name="T77" fmla="*/ 201 h 237"/>
              <a:gd name="T78" fmla="*/ 166 w 307"/>
              <a:gd name="T79" fmla="*/ 199 h 237"/>
              <a:gd name="T80" fmla="*/ 171 w 307"/>
              <a:gd name="T81" fmla="*/ 194 h 237"/>
              <a:gd name="T82" fmla="*/ 177 w 307"/>
              <a:gd name="T83" fmla="*/ 188 h 237"/>
              <a:gd name="T84" fmla="*/ 191 w 307"/>
              <a:gd name="T85" fmla="*/ 179 h 237"/>
              <a:gd name="T86" fmla="*/ 201 w 307"/>
              <a:gd name="T87" fmla="*/ 169 h 237"/>
              <a:gd name="T88" fmla="*/ 217 w 307"/>
              <a:gd name="T89" fmla="*/ 139 h 237"/>
              <a:gd name="T90" fmla="*/ 226 w 307"/>
              <a:gd name="T91" fmla="*/ 142 h 237"/>
              <a:gd name="T92" fmla="*/ 243 w 307"/>
              <a:gd name="T93" fmla="*/ 134 h 237"/>
              <a:gd name="T94" fmla="*/ 261 w 307"/>
              <a:gd name="T95" fmla="*/ 128 h 237"/>
              <a:gd name="T96" fmla="*/ 256 w 307"/>
              <a:gd name="T97" fmla="*/ 124 h 237"/>
              <a:gd name="T98" fmla="*/ 249 w 307"/>
              <a:gd name="T99" fmla="*/ 121 h 237"/>
              <a:gd name="T100" fmla="*/ 241 w 307"/>
              <a:gd name="T101" fmla="*/ 109 h 237"/>
              <a:gd name="T102" fmla="*/ 232 w 307"/>
              <a:gd name="T103" fmla="*/ 99 h 237"/>
              <a:gd name="T104" fmla="*/ 226 w 307"/>
              <a:gd name="T105" fmla="*/ 87 h 237"/>
              <a:gd name="T106" fmla="*/ 237 w 307"/>
              <a:gd name="T107" fmla="*/ 77 h 237"/>
              <a:gd name="T108" fmla="*/ 249 w 307"/>
              <a:gd name="T109" fmla="*/ 66 h 237"/>
              <a:gd name="T110" fmla="*/ 268 w 307"/>
              <a:gd name="T111" fmla="*/ 45 h 237"/>
              <a:gd name="T112" fmla="*/ 271 w 307"/>
              <a:gd name="T113" fmla="*/ 39 h 237"/>
              <a:gd name="T114" fmla="*/ 275 w 307"/>
              <a:gd name="T115" fmla="*/ 34 h 237"/>
              <a:gd name="T116" fmla="*/ 281 w 307"/>
              <a:gd name="T117" fmla="*/ 30 h 237"/>
              <a:gd name="T118" fmla="*/ 281 w 307"/>
              <a:gd name="T119" fmla="*/ 3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7" h="236">
                <a:moveTo>
                  <a:pt x="281" y="30"/>
                </a:moveTo>
                <a:lnTo>
                  <a:pt x="281" y="30"/>
                </a:lnTo>
                <a:cubicBezTo>
                  <a:pt x="284" y="29"/>
                  <a:pt x="286" y="27"/>
                  <a:pt x="287" y="24"/>
                </a:cubicBezTo>
                <a:cubicBezTo>
                  <a:pt x="300" y="11"/>
                  <a:pt x="307" y="4"/>
                  <a:pt x="307" y="3"/>
                </a:cubicBezTo>
                <a:lnTo>
                  <a:pt x="305" y="0"/>
                </a:lnTo>
                <a:cubicBezTo>
                  <a:pt x="293" y="6"/>
                  <a:pt x="277" y="17"/>
                  <a:pt x="257" y="35"/>
                </a:cubicBezTo>
                <a:cubicBezTo>
                  <a:pt x="238" y="51"/>
                  <a:pt x="220" y="62"/>
                  <a:pt x="205" y="66"/>
                </a:cubicBezTo>
                <a:cubicBezTo>
                  <a:pt x="203" y="67"/>
                  <a:pt x="198" y="69"/>
                  <a:pt x="193" y="73"/>
                </a:cubicBezTo>
                <a:cubicBezTo>
                  <a:pt x="187" y="77"/>
                  <a:pt x="182" y="79"/>
                  <a:pt x="180" y="80"/>
                </a:cubicBezTo>
                <a:cubicBezTo>
                  <a:pt x="170" y="85"/>
                  <a:pt x="161" y="88"/>
                  <a:pt x="153" y="89"/>
                </a:cubicBezTo>
                <a:cubicBezTo>
                  <a:pt x="144" y="91"/>
                  <a:pt x="133" y="92"/>
                  <a:pt x="119" y="93"/>
                </a:cubicBezTo>
                <a:cubicBezTo>
                  <a:pt x="107" y="93"/>
                  <a:pt x="95" y="95"/>
                  <a:pt x="86" y="96"/>
                </a:cubicBezTo>
                <a:cubicBezTo>
                  <a:pt x="86" y="98"/>
                  <a:pt x="86" y="99"/>
                  <a:pt x="88" y="102"/>
                </a:cubicBezTo>
                <a:cubicBezTo>
                  <a:pt x="90" y="105"/>
                  <a:pt x="91" y="107"/>
                  <a:pt x="91" y="108"/>
                </a:cubicBezTo>
                <a:cubicBezTo>
                  <a:pt x="91" y="109"/>
                  <a:pt x="89" y="112"/>
                  <a:pt x="87" y="117"/>
                </a:cubicBezTo>
                <a:cubicBezTo>
                  <a:pt x="86" y="118"/>
                  <a:pt x="87" y="121"/>
                  <a:pt x="88" y="124"/>
                </a:cubicBezTo>
                <a:cubicBezTo>
                  <a:pt x="87" y="134"/>
                  <a:pt x="80" y="137"/>
                  <a:pt x="68" y="136"/>
                </a:cubicBezTo>
                <a:cubicBezTo>
                  <a:pt x="61" y="134"/>
                  <a:pt x="56" y="134"/>
                  <a:pt x="53" y="134"/>
                </a:cubicBezTo>
                <a:cubicBezTo>
                  <a:pt x="48" y="133"/>
                  <a:pt x="44" y="134"/>
                  <a:pt x="42" y="136"/>
                </a:cubicBezTo>
                <a:cubicBezTo>
                  <a:pt x="42" y="136"/>
                  <a:pt x="38" y="142"/>
                  <a:pt x="29" y="154"/>
                </a:cubicBezTo>
                <a:cubicBezTo>
                  <a:pt x="22" y="164"/>
                  <a:pt x="17" y="169"/>
                  <a:pt x="14" y="169"/>
                </a:cubicBezTo>
                <a:cubicBezTo>
                  <a:pt x="12" y="169"/>
                  <a:pt x="10" y="168"/>
                  <a:pt x="8" y="166"/>
                </a:cubicBezTo>
                <a:cubicBezTo>
                  <a:pt x="5" y="165"/>
                  <a:pt x="3" y="164"/>
                  <a:pt x="0" y="163"/>
                </a:cubicBezTo>
                <a:lnTo>
                  <a:pt x="0" y="169"/>
                </a:lnTo>
                <a:cubicBezTo>
                  <a:pt x="22" y="204"/>
                  <a:pt x="35" y="223"/>
                  <a:pt x="39" y="223"/>
                </a:cubicBezTo>
                <a:cubicBezTo>
                  <a:pt x="40" y="223"/>
                  <a:pt x="44" y="223"/>
                  <a:pt x="48" y="222"/>
                </a:cubicBezTo>
                <a:cubicBezTo>
                  <a:pt x="50" y="222"/>
                  <a:pt x="53" y="223"/>
                  <a:pt x="57" y="225"/>
                </a:cubicBezTo>
                <a:cubicBezTo>
                  <a:pt x="61" y="227"/>
                  <a:pt x="65" y="228"/>
                  <a:pt x="68" y="228"/>
                </a:cubicBezTo>
                <a:cubicBezTo>
                  <a:pt x="74" y="229"/>
                  <a:pt x="80" y="228"/>
                  <a:pt x="87" y="226"/>
                </a:cubicBezTo>
                <a:cubicBezTo>
                  <a:pt x="95" y="224"/>
                  <a:pt x="99" y="223"/>
                  <a:pt x="101" y="223"/>
                </a:cubicBezTo>
                <a:cubicBezTo>
                  <a:pt x="105" y="223"/>
                  <a:pt x="107" y="226"/>
                  <a:pt x="109" y="230"/>
                </a:cubicBezTo>
                <a:cubicBezTo>
                  <a:pt x="110" y="234"/>
                  <a:pt x="112" y="237"/>
                  <a:pt x="115" y="237"/>
                </a:cubicBezTo>
                <a:cubicBezTo>
                  <a:pt x="116" y="237"/>
                  <a:pt x="118" y="237"/>
                  <a:pt x="120" y="236"/>
                </a:cubicBezTo>
                <a:cubicBezTo>
                  <a:pt x="123" y="234"/>
                  <a:pt x="124" y="233"/>
                  <a:pt x="124" y="232"/>
                </a:cubicBezTo>
                <a:cubicBezTo>
                  <a:pt x="124" y="228"/>
                  <a:pt x="123" y="224"/>
                  <a:pt x="119" y="219"/>
                </a:cubicBezTo>
                <a:cubicBezTo>
                  <a:pt x="124" y="217"/>
                  <a:pt x="129" y="213"/>
                  <a:pt x="134" y="208"/>
                </a:cubicBezTo>
                <a:cubicBezTo>
                  <a:pt x="135" y="207"/>
                  <a:pt x="137" y="207"/>
                  <a:pt x="142" y="207"/>
                </a:cubicBezTo>
                <a:cubicBezTo>
                  <a:pt x="147" y="206"/>
                  <a:pt x="150" y="206"/>
                  <a:pt x="151" y="205"/>
                </a:cubicBezTo>
                <a:cubicBezTo>
                  <a:pt x="152" y="204"/>
                  <a:pt x="155" y="202"/>
                  <a:pt x="158" y="201"/>
                </a:cubicBezTo>
                <a:cubicBezTo>
                  <a:pt x="163" y="200"/>
                  <a:pt x="165" y="199"/>
                  <a:pt x="166" y="199"/>
                </a:cubicBezTo>
                <a:cubicBezTo>
                  <a:pt x="167" y="198"/>
                  <a:pt x="169" y="197"/>
                  <a:pt x="171" y="194"/>
                </a:cubicBezTo>
                <a:cubicBezTo>
                  <a:pt x="174" y="191"/>
                  <a:pt x="176" y="189"/>
                  <a:pt x="177" y="188"/>
                </a:cubicBezTo>
                <a:cubicBezTo>
                  <a:pt x="178" y="187"/>
                  <a:pt x="183" y="184"/>
                  <a:pt x="191" y="179"/>
                </a:cubicBezTo>
                <a:cubicBezTo>
                  <a:pt x="196" y="176"/>
                  <a:pt x="200" y="172"/>
                  <a:pt x="201" y="169"/>
                </a:cubicBezTo>
                <a:cubicBezTo>
                  <a:pt x="207" y="149"/>
                  <a:pt x="213" y="138"/>
                  <a:pt x="217" y="139"/>
                </a:cubicBezTo>
                <a:cubicBezTo>
                  <a:pt x="219" y="139"/>
                  <a:pt x="221" y="140"/>
                  <a:pt x="226" y="142"/>
                </a:cubicBezTo>
                <a:cubicBezTo>
                  <a:pt x="229" y="142"/>
                  <a:pt x="234" y="139"/>
                  <a:pt x="243" y="134"/>
                </a:cubicBezTo>
                <a:cubicBezTo>
                  <a:pt x="254" y="134"/>
                  <a:pt x="260" y="132"/>
                  <a:pt x="261" y="128"/>
                </a:cubicBezTo>
                <a:cubicBezTo>
                  <a:pt x="261" y="126"/>
                  <a:pt x="259" y="125"/>
                  <a:pt x="256" y="124"/>
                </a:cubicBezTo>
                <a:cubicBezTo>
                  <a:pt x="251" y="122"/>
                  <a:pt x="249" y="121"/>
                  <a:pt x="249" y="121"/>
                </a:cubicBezTo>
                <a:cubicBezTo>
                  <a:pt x="248" y="115"/>
                  <a:pt x="245" y="111"/>
                  <a:pt x="241" y="109"/>
                </a:cubicBezTo>
                <a:cubicBezTo>
                  <a:pt x="239" y="108"/>
                  <a:pt x="236" y="105"/>
                  <a:pt x="232" y="99"/>
                </a:cubicBezTo>
                <a:cubicBezTo>
                  <a:pt x="228" y="93"/>
                  <a:pt x="226" y="89"/>
                  <a:pt x="226" y="87"/>
                </a:cubicBezTo>
                <a:cubicBezTo>
                  <a:pt x="227" y="84"/>
                  <a:pt x="230" y="80"/>
                  <a:pt x="237" y="77"/>
                </a:cubicBezTo>
                <a:cubicBezTo>
                  <a:pt x="243" y="73"/>
                  <a:pt x="248" y="70"/>
                  <a:pt x="249" y="66"/>
                </a:cubicBezTo>
                <a:cubicBezTo>
                  <a:pt x="251" y="61"/>
                  <a:pt x="258" y="54"/>
                  <a:pt x="268" y="45"/>
                </a:cubicBezTo>
                <a:cubicBezTo>
                  <a:pt x="270" y="43"/>
                  <a:pt x="271" y="41"/>
                  <a:pt x="271" y="39"/>
                </a:cubicBezTo>
                <a:cubicBezTo>
                  <a:pt x="272" y="37"/>
                  <a:pt x="273" y="35"/>
                  <a:pt x="275" y="34"/>
                </a:cubicBezTo>
                <a:cubicBezTo>
                  <a:pt x="275" y="33"/>
                  <a:pt x="277" y="32"/>
                  <a:pt x="281" y="30"/>
                </a:cubicBezTo>
                <a:lnTo>
                  <a:pt x="281" y="30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0" name="Freeform 264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86 w 744"/>
              <a:gd name="T3" fmla="*/ 447 h 730"/>
              <a:gd name="T4" fmla="*/ 189 w 744"/>
              <a:gd name="T5" fmla="*/ 455 h 730"/>
              <a:gd name="T6" fmla="*/ 230 w 744"/>
              <a:gd name="T7" fmla="*/ 463 h 730"/>
              <a:gd name="T8" fmla="*/ 205 w 744"/>
              <a:gd name="T9" fmla="*/ 389 h 730"/>
              <a:gd name="T10" fmla="*/ 167 w 744"/>
              <a:gd name="T11" fmla="*/ 350 h 730"/>
              <a:gd name="T12" fmla="*/ 144 w 744"/>
              <a:gd name="T13" fmla="*/ 253 h 730"/>
              <a:gd name="T14" fmla="*/ 127 w 744"/>
              <a:gd name="T15" fmla="*/ 240 h 730"/>
              <a:gd name="T16" fmla="*/ 112 w 744"/>
              <a:gd name="T17" fmla="*/ 327 h 730"/>
              <a:gd name="T18" fmla="*/ 107 w 744"/>
              <a:gd name="T19" fmla="*/ 260 h 730"/>
              <a:gd name="T20" fmla="*/ 103 w 744"/>
              <a:gd name="T21" fmla="*/ 260 h 730"/>
              <a:gd name="T22" fmla="*/ 108 w 744"/>
              <a:gd name="T23" fmla="*/ 329 h 730"/>
              <a:gd name="T24" fmla="*/ 121 w 744"/>
              <a:gd name="T25" fmla="*/ 361 h 730"/>
              <a:gd name="T26" fmla="*/ 271 w 744"/>
              <a:gd name="T27" fmla="*/ 519 h 730"/>
              <a:gd name="T28" fmla="*/ 157 w 744"/>
              <a:gd name="T29" fmla="*/ 319 h 730"/>
              <a:gd name="T30" fmla="*/ 518 w 744"/>
              <a:gd name="T31" fmla="*/ 651 h 730"/>
              <a:gd name="T32" fmla="*/ 466 w 744"/>
              <a:gd name="T33" fmla="*/ 628 h 730"/>
              <a:gd name="T34" fmla="*/ 536 w 744"/>
              <a:gd name="T35" fmla="*/ 671 h 730"/>
              <a:gd name="T36" fmla="*/ 629 w 744"/>
              <a:gd name="T37" fmla="*/ 716 h 730"/>
              <a:gd name="T38" fmla="*/ 485 w 744"/>
              <a:gd name="T39" fmla="*/ 670 h 730"/>
              <a:gd name="T40" fmla="*/ 442 w 744"/>
              <a:gd name="T41" fmla="*/ 640 h 730"/>
              <a:gd name="T42" fmla="*/ 459 w 744"/>
              <a:gd name="T43" fmla="*/ 646 h 730"/>
              <a:gd name="T44" fmla="*/ 674 w 744"/>
              <a:gd name="T45" fmla="*/ 166 h 730"/>
              <a:gd name="T46" fmla="*/ 669 w 744"/>
              <a:gd name="T47" fmla="*/ 107 h 730"/>
              <a:gd name="T48" fmla="*/ 568 w 744"/>
              <a:gd name="T49" fmla="*/ 135 h 730"/>
              <a:gd name="T50" fmla="*/ 498 w 744"/>
              <a:gd name="T51" fmla="*/ 106 h 730"/>
              <a:gd name="T52" fmla="*/ 413 w 744"/>
              <a:gd name="T53" fmla="*/ 26 h 730"/>
              <a:gd name="T54" fmla="*/ 344 w 744"/>
              <a:gd name="T55" fmla="*/ 9 h 730"/>
              <a:gd name="T56" fmla="*/ 289 w 744"/>
              <a:gd name="T57" fmla="*/ 53 h 730"/>
              <a:gd name="T58" fmla="*/ 278 w 744"/>
              <a:gd name="T59" fmla="*/ 113 h 730"/>
              <a:gd name="T60" fmla="*/ 234 w 744"/>
              <a:gd name="T61" fmla="*/ 154 h 730"/>
              <a:gd name="T62" fmla="*/ 173 w 744"/>
              <a:gd name="T63" fmla="*/ 183 h 730"/>
              <a:gd name="T64" fmla="*/ 76 w 744"/>
              <a:gd name="T65" fmla="*/ 180 h 730"/>
              <a:gd name="T66" fmla="*/ 6 w 744"/>
              <a:gd name="T67" fmla="*/ 177 h 730"/>
              <a:gd name="T68" fmla="*/ 13 w 744"/>
              <a:gd name="T69" fmla="*/ 237 h 730"/>
              <a:gd name="T70" fmla="*/ 41 w 744"/>
              <a:gd name="T71" fmla="*/ 298 h 730"/>
              <a:gd name="T72" fmla="*/ 87 w 744"/>
              <a:gd name="T73" fmla="*/ 242 h 730"/>
              <a:gd name="T74" fmla="*/ 145 w 744"/>
              <a:gd name="T75" fmla="*/ 236 h 730"/>
              <a:gd name="T76" fmla="*/ 202 w 744"/>
              <a:gd name="T77" fmla="*/ 370 h 730"/>
              <a:gd name="T78" fmla="*/ 259 w 744"/>
              <a:gd name="T79" fmla="*/ 412 h 730"/>
              <a:gd name="T80" fmla="*/ 219 w 744"/>
              <a:gd name="T81" fmla="*/ 394 h 730"/>
              <a:gd name="T82" fmla="*/ 235 w 744"/>
              <a:gd name="T83" fmla="*/ 460 h 730"/>
              <a:gd name="T84" fmla="*/ 299 w 744"/>
              <a:gd name="T85" fmla="*/ 524 h 730"/>
              <a:gd name="T86" fmla="*/ 357 w 744"/>
              <a:gd name="T87" fmla="*/ 535 h 730"/>
              <a:gd name="T88" fmla="*/ 490 w 744"/>
              <a:gd name="T89" fmla="*/ 628 h 730"/>
              <a:gd name="T90" fmla="*/ 493 w 744"/>
              <a:gd name="T91" fmla="*/ 595 h 730"/>
              <a:gd name="T92" fmla="*/ 431 w 744"/>
              <a:gd name="T93" fmla="*/ 508 h 730"/>
              <a:gd name="T94" fmla="*/ 366 w 744"/>
              <a:gd name="T95" fmla="*/ 448 h 730"/>
              <a:gd name="T96" fmla="*/ 332 w 744"/>
              <a:gd name="T97" fmla="*/ 379 h 730"/>
              <a:gd name="T98" fmla="*/ 279 w 744"/>
              <a:gd name="T99" fmla="*/ 287 h 730"/>
              <a:gd name="T100" fmla="*/ 380 w 744"/>
              <a:gd name="T101" fmla="*/ 235 h 730"/>
              <a:gd name="T102" fmla="*/ 507 w 744"/>
              <a:gd name="T103" fmla="*/ 251 h 730"/>
              <a:gd name="T104" fmla="*/ 627 w 744"/>
              <a:gd name="T105" fmla="*/ 258 h 730"/>
              <a:gd name="T106" fmla="*/ 695 w 744"/>
              <a:gd name="T107" fmla="*/ 296 h 730"/>
              <a:gd name="T108" fmla="*/ 384 w 744"/>
              <a:gd name="T109" fmla="*/ 585 h 730"/>
              <a:gd name="T110" fmla="*/ 374 w 744"/>
              <a:gd name="T111" fmla="*/ 584 h 730"/>
              <a:gd name="T112" fmla="*/ 335 w 744"/>
              <a:gd name="T113" fmla="*/ 623 h 730"/>
              <a:gd name="T114" fmla="*/ 353 w 744"/>
              <a:gd name="T115" fmla="*/ 567 h 730"/>
              <a:gd name="T116" fmla="*/ 391 w 744"/>
              <a:gd name="T117" fmla="*/ 598 h 730"/>
              <a:gd name="T118" fmla="*/ 376 w 744"/>
              <a:gd name="T119" fmla="*/ 605 h 730"/>
              <a:gd name="T120" fmla="*/ 424 w 744"/>
              <a:gd name="T121" fmla="*/ 682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1" name="Freeform 265"/>
          <p:cNvSpPr>
            <a:spLocks noEditPoints="1"/>
          </p:cNvSpPr>
          <p:nvPr/>
        </p:nvSpPr>
        <p:spPr bwMode="auto">
          <a:xfrm>
            <a:off x="8989602" y="4704416"/>
            <a:ext cx="777356" cy="763381"/>
          </a:xfrm>
          <a:custGeom>
            <a:avLst/>
            <a:gdLst>
              <a:gd name="T0" fmla="*/ 210 w 744"/>
              <a:gd name="T1" fmla="*/ 443 h 730"/>
              <a:gd name="T2" fmla="*/ 193 w 744"/>
              <a:gd name="T3" fmla="*/ 456 h 730"/>
              <a:gd name="T4" fmla="*/ 184 w 744"/>
              <a:gd name="T5" fmla="*/ 450 h 730"/>
              <a:gd name="T6" fmla="*/ 228 w 744"/>
              <a:gd name="T7" fmla="*/ 468 h 730"/>
              <a:gd name="T8" fmla="*/ 190 w 744"/>
              <a:gd name="T9" fmla="*/ 377 h 730"/>
              <a:gd name="T10" fmla="*/ 157 w 744"/>
              <a:gd name="T11" fmla="*/ 333 h 730"/>
              <a:gd name="T12" fmla="*/ 153 w 744"/>
              <a:gd name="T13" fmla="*/ 274 h 730"/>
              <a:gd name="T14" fmla="*/ 131 w 744"/>
              <a:gd name="T15" fmla="*/ 228 h 730"/>
              <a:gd name="T16" fmla="*/ 140 w 744"/>
              <a:gd name="T17" fmla="*/ 275 h 730"/>
              <a:gd name="T18" fmla="*/ 113 w 744"/>
              <a:gd name="T19" fmla="*/ 301 h 730"/>
              <a:gd name="T20" fmla="*/ 99 w 744"/>
              <a:gd name="T21" fmla="*/ 241 h 730"/>
              <a:gd name="T22" fmla="*/ 99 w 744"/>
              <a:gd name="T23" fmla="*/ 297 h 730"/>
              <a:gd name="T24" fmla="*/ 99 w 744"/>
              <a:gd name="T25" fmla="*/ 322 h 730"/>
              <a:gd name="T26" fmla="*/ 111 w 744"/>
              <a:gd name="T27" fmla="*/ 339 h 730"/>
              <a:gd name="T28" fmla="*/ 162 w 744"/>
              <a:gd name="T29" fmla="*/ 323 h 730"/>
              <a:gd name="T30" fmla="*/ 162 w 744"/>
              <a:gd name="T31" fmla="*/ 323 h 730"/>
              <a:gd name="T32" fmla="*/ 527 w 744"/>
              <a:gd name="T33" fmla="*/ 658 h 730"/>
              <a:gd name="T34" fmla="*/ 444 w 744"/>
              <a:gd name="T35" fmla="*/ 628 h 730"/>
              <a:gd name="T36" fmla="*/ 542 w 744"/>
              <a:gd name="T37" fmla="*/ 668 h 730"/>
              <a:gd name="T38" fmla="*/ 628 w 744"/>
              <a:gd name="T39" fmla="*/ 713 h 730"/>
              <a:gd name="T40" fmla="*/ 485 w 744"/>
              <a:gd name="T41" fmla="*/ 670 h 730"/>
              <a:gd name="T42" fmla="*/ 453 w 744"/>
              <a:gd name="T43" fmla="*/ 642 h 730"/>
              <a:gd name="T44" fmla="*/ 454 w 744"/>
              <a:gd name="T45" fmla="*/ 649 h 730"/>
              <a:gd name="T46" fmla="*/ 699 w 744"/>
              <a:gd name="T47" fmla="*/ 178 h 730"/>
              <a:gd name="T48" fmla="*/ 675 w 744"/>
              <a:gd name="T49" fmla="*/ 121 h 730"/>
              <a:gd name="T50" fmla="*/ 587 w 744"/>
              <a:gd name="T51" fmla="*/ 137 h 730"/>
              <a:gd name="T52" fmla="*/ 515 w 744"/>
              <a:gd name="T53" fmla="*/ 122 h 730"/>
              <a:gd name="T54" fmla="*/ 423 w 744"/>
              <a:gd name="T55" fmla="*/ 41 h 730"/>
              <a:gd name="T56" fmla="*/ 359 w 744"/>
              <a:gd name="T57" fmla="*/ 0 h 730"/>
              <a:gd name="T58" fmla="*/ 306 w 744"/>
              <a:gd name="T59" fmla="*/ 45 h 730"/>
              <a:gd name="T60" fmla="*/ 278 w 744"/>
              <a:gd name="T61" fmla="*/ 98 h 730"/>
              <a:gd name="T62" fmla="*/ 217 w 744"/>
              <a:gd name="T63" fmla="*/ 147 h 730"/>
              <a:gd name="T64" fmla="*/ 182 w 744"/>
              <a:gd name="T65" fmla="*/ 177 h 730"/>
              <a:gd name="T66" fmla="*/ 94 w 744"/>
              <a:gd name="T67" fmla="*/ 175 h 730"/>
              <a:gd name="T68" fmla="*/ 9 w 744"/>
              <a:gd name="T69" fmla="*/ 175 h 730"/>
              <a:gd name="T70" fmla="*/ 7 w 744"/>
              <a:gd name="T71" fmla="*/ 213 h 730"/>
              <a:gd name="T72" fmla="*/ 32 w 744"/>
              <a:gd name="T73" fmla="*/ 285 h 730"/>
              <a:gd name="T74" fmla="*/ 78 w 744"/>
              <a:gd name="T75" fmla="*/ 254 h 730"/>
              <a:gd name="T76" fmla="*/ 136 w 744"/>
              <a:gd name="T77" fmla="*/ 225 h 730"/>
              <a:gd name="T78" fmla="*/ 197 w 744"/>
              <a:gd name="T79" fmla="*/ 365 h 730"/>
              <a:gd name="T80" fmla="*/ 251 w 744"/>
              <a:gd name="T81" fmla="*/ 410 h 730"/>
              <a:gd name="T82" fmla="*/ 233 w 744"/>
              <a:gd name="T83" fmla="*/ 405 h 730"/>
              <a:gd name="T84" fmla="*/ 217 w 744"/>
              <a:gd name="T85" fmla="*/ 438 h 730"/>
              <a:gd name="T86" fmla="*/ 300 w 744"/>
              <a:gd name="T87" fmla="*/ 510 h 730"/>
              <a:gd name="T88" fmla="*/ 339 w 744"/>
              <a:gd name="T89" fmla="*/ 541 h 730"/>
              <a:gd name="T90" fmla="*/ 480 w 744"/>
              <a:gd name="T91" fmla="*/ 618 h 730"/>
              <a:gd name="T92" fmla="*/ 518 w 744"/>
              <a:gd name="T93" fmla="*/ 618 h 730"/>
              <a:gd name="T94" fmla="*/ 437 w 744"/>
              <a:gd name="T95" fmla="*/ 516 h 730"/>
              <a:gd name="T96" fmla="*/ 381 w 744"/>
              <a:gd name="T97" fmla="*/ 461 h 730"/>
              <a:gd name="T98" fmla="*/ 340 w 744"/>
              <a:gd name="T99" fmla="*/ 392 h 730"/>
              <a:gd name="T100" fmla="*/ 284 w 744"/>
              <a:gd name="T101" fmla="*/ 299 h 730"/>
              <a:gd name="T102" fmla="*/ 363 w 744"/>
              <a:gd name="T103" fmla="*/ 253 h 730"/>
              <a:gd name="T104" fmla="*/ 482 w 744"/>
              <a:gd name="T105" fmla="*/ 249 h 730"/>
              <a:gd name="T106" fmla="*/ 591 w 744"/>
              <a:gd name="T107" fmla="*/ 249 h 730"/>
              <a:gd name="T108" fmla="*/ 671 w 744"/>
              <a:gd name="T109" fmla="*/ 294 h 730"/>
              <a:gd name="T110" fmla="*/ 744 w 744"/>
              <a:gd name="T111" fmla="*/ 233 h 730"/>
              <a:gd name="T112" fmla="*/ 362 w 744"/>
              <a:gd name="T113" fmla="*/ 574 h 730"/>
              <a:gd name="T114" fmla="*/ 319 w 744"/>
              <a:gd name="T115" fmla="*/ 619 h 730"/>
              <a:gd name="T116" fmla="*/ 347 w 744"/>
              <a:gd name="T117" fmla="*/ 564 h 730"/>
              <a:gd name="T118" fmla="*/ 443 w 744"/>
              <a:gd name="T119" fmla="*/ 615 h 730"/>
              <a:gd name="T120" fmla="*/ 384 w 744"/>
              <a:gd name="T121" fmla="*/ 598 h 730"/>
              <a:gd name="T122" fmla="*/ 437 w 744"/>
              <a:gd name="T123" fmla="*/ 615 h 730"/>
              <a:gd name="T124" fmla="*/ 425 w 744"/>
              <a:gd name="T125" fmla="*/ 675 h 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4" h="730">
                <a:moveTo>
                  <a:pt x="190" y="428"/>
                </a:moveTo>
                <a:lnTo>
                  <a:pt x="190" y="428"/>
                </a:lnTo>
                <a:cubicBezTo>
                  <a:pt x="191" y="428"/>
                  <a:pt x="191" y="428"/>
                  <a:pt x="191" y="429"/>
                </a:cubicBezTo>
                <a:cubicBezTo>
                  <a:pt x="191" y="429"/>
                  <a:pt x="191" y="429"/>
                  <a:pt x="191" y="430"/>
                </a:cubicBezTo>
                <a:cubicBezTo>
                  <a:pt x="192" y="430"/>
                  <a:pt x="192" y="430"/>
                  <a:pt x="192" y="431"/>
                </a:cubicBezTo>
                <a:cubicBezTo>
                  <a:pt x="194" y="433"/>
                  <a:pt x="197" y="436"/>
                  <a:pt x="201" y="439"/>
                </a:cubicBezTo>
                <a:cubicBezTo>
                  <a:pt x="207" y="444"/>
                  <a:pt x="211" y="447"/>
                  <a:pt x="212" y="448"/>
                </a:cubicBezTo>
                <a:lnTo>
                  <a:pt x="213" y="448"/>
                </a:lnTo>
                <a:cubicBezTo>
                  <a:pt x="213" y="448"/>
                  <a:pt x="213" y="448"/>
                  <a:pt x="213" y="448"/>
                </a:cubicBezTo>
                <a:cubicBezTo>
                  <a:pt x="212" y="446"/>
                  <a:pt x="211" y="444"/>
                  <a:pt x="210" y="443"/>
                </a:cubicBezTo>
                <a:cubicBezTo>
                  <a:pt x="208" y="441"/>
                  <a:pt x="206" y="438"/>
                  <a:pt x="203" y="436"/>
                </a:cubicBezTo>
                <a:cubicBezTo>
                  <a:pt x="203" y="436"/>
                  <a:pt x="199" y="433"/>
                  <a:pt x="191" y="428"/>
                </a:cubicBezTo>
                <a:cubicBezTo>
                  <a:pt x="191" y="428"/>
                  <a:pt x="191" y="428"/>
                  <a:pt x="190" y="428"/>
                </a:cubicBezTo>
                <a:lnTo>
                  <a:pt x="190" y="428"/>
                </a:lnTo>
                <a:close/>
                <a:moveTo>
                  <a:pt x="223" y="485"/>
                </a:moveTo>
                <a:lnTo>
                  <a:pt x="223" y="485"/>
                </a:lnTo>
                <a:cubicBezTo>
                  <a:pt x="220" y="482"/>
                  <a:pt x="218" y="480"/>
                  <a:pt x="215" y="478"/>
                </a:cubicBezTo>
                <a:cubicBezTo>
                  <a:pt x="214" y="476"/>
                  <a:pt x="212" y="475"/>
                  <a:pt x="211" y="474"/>
                </a:cubicBezTo>
                <a:cubicBezTo>
                  <a:pt x="207" y="472"/>
                  <a:pt x="204" y="468"/>
                  <a:pt x="203" y="462"/>
                </a:cubicBezTo>
                <a:cubicBezTo>
                  <a:pt x="201" y="458"/>
                  <a:pt x="198" y="456"/>
                  <a:pt x="193" y="456"/>
                </a:cubicBezTo>
                <a:cubicBezTo>
                  <a:pt x="191" y="455"/>
                  <a:pt x="189" y="453"/>
                  <a:pt x="186" y="447"/>
                </a:cubicBezTo>
                <a:cubicBezTo>
                  <a:pt x="184" y="441"/>
                  <a:pt x="182" y="438"/>
                  <a:pt x="182" y="437"/>
                </a:cubicBezTo>
                <a:cubicBezTo>
                  <a:pt x="182" y="437"/>
                  <a:pt x="182" y="437"/>
                  <a:pt x="181" y="436"/>
                </a:cubicBezTo>
                <a:cubicBezTo>
                  <a:pt x="180" y="434"/>
                  <a:pt x="177" y="431"/>
                  <a:pt x="172" y="428"/>
                </a:cubicBezTo>
                <a:cubicBezTo>
                  <a:pt x="166" y="424"/>
                  <a:pt x="163" y="422"/>
                  <a:pt x="162" y="422"/>
                </a:cubicBezTo>
                <a:cubicBezTo>
                  <a:pt x="161" y="422"/>
                  <a:pt x="161" y="422"/>
                  <a:pt x="160" y="422"/>
                </a:cubicBezTo>
                <a:lnTo>
                  <a:pt x="160" y="423"/>
                </a:lnTo>
                <a:cubicBezTo>
                  <a:pt x="160" y="423"/>
                  <a:pt x="160" y="423"/>
                  <a:pt x="161" y="424"/>
                </a:cubicBezTo>
                <a:cubicBezTo>
                  <a:pt x="163" y="428"/>
                  <a:pt x="169" y="434"/>
                  <a:pt x="178" y="440"/>
                </a:cubicBezTo>
                <a:cubicBezTo>
                  <a:pt x="179" y="442"/>
                  <a:pt x="181" y="445"/>
                  <a:pt x="184" y="450"/>
                </a:cubicBezTo>
                <a:cubicBezTo>
                  <a:pt x="184" y="451"/>
                  <a:pt x="186" y="453"/>
                  <a:pt x="189" y="455"/>
                </a:cubicBezTo>
                <a:cubicBezTo>
                  <a:pt x="189" y="455"/>
                  <a:pt x="190" y="457"/>
                  <a:pt x="190" y="460"/>
                </a:cubicBezTo>
                <a:cubicBezTo>
                  <a:pt x="198" y="468"/>
                  <a:pt x="210" y="480"/>
                  <a:pt x="226" y="494"/>
                </a:cubicBezTo>
                <a:lnTo>
                  <a:pt x="230" y="495"/>
                </a:lnTo>
                <a:cubicBezTo>
                  <a:pt x="231" y="495"/>
                  <a:pt x="231" y="494"/>
                  <a:pt x="231" y="493"/>
                </a:cubicBezTo>
                <a:cubicBezTo>
                  <a:pt x="231" y="493"/>
                  <a:pt x="228" y="490"/>
                  <a:pt x="223" y="485"/>
                </a:cubicBezTo>
                <a:lnTo>
                  <a:pt x="223" y="485"/>
                </a:lnTo>
                <a:close/>
                <a:moveTo>
                  <a:pt x="224" y="467"/>
                </a:moveTo>
                <a:lnTo>
                  <a:pt x="224" y="467"/>
                </a:lnTo>
                <a:cubicBezTo>
                  <a:pt x="225" y="468"/>
                  <a:pt x="227" y="468"/>
                  <a:pt x="228" y="468"/>
                </a:cubicBezTo>
                <a:cubicBezTo>
                  <a:pt x="229" y="468"/>
                  <a:pt x="229" y="467"/>
                  <a:pt x="230" y="464"/>
                </a:cubicBezTo>
                <a:cubicBezTo>
                  <a:pt x="230" y="464"/>
                  <a:pt x="230" y="463"/>
                  <a:pt x="230" y="463"/>
                </a:cubicBezTo>
                <a:cubicBezTo>
                  <a:pt x="229" y="461"/>
                  <a:pt x="227" y="460"/>
                  <a:pt x="224" y="457"/>
                </a:cubicBezTo>
                <a:cubicBezTo>
                  <a:pt x="219" y="454"/>
                  <a:pt x="216" y="452"/>
                  <a:pt x="214" y="453"/>
                </a:cubicBezTo>
                <a:cubicBezTo>
                  <a:pt x="215" y="456"/>
                  <a:pt x="217" y="459"/>
                  <a:pt x="219" y="463"/>
                </a:cubicBezTo>
                <a:cubicBezTo>
                  <a:pt x="221" y="464"/>
                  <a:pt x="222" y="466"/>
                  <a:pt x="224" y="467"/>
                </a:cubicBezTo>
                <a:lnTo>
                  <a:pt x="224" y="467"/>
                </a:lnTo>
                <a:close/>
                <a:moveTo>
                  <a:pt x="182" y="372"/>
                </a:moveTo>
                <a:lnTo>
                  <a:pt x="182" y="372"/>
                </a:lnTo>
                <a:cubicBezTo>
                  <a:pt x="186" y="375"/>
                  <a:pt x="189" y="377"/>
                  <a:pt x="190" y="377"/>
                </a:cubicBezTo>
                <a:cubicBezTo>
                  <a:pt x="194" y="378"/>
                  <a:pt x="196" y="380"/>
                  <a:pt x="196" y="384"/>
                </a:cubicBezTo>
                <a:cubicBezTo>
                  <a:pt x="197" y="387"/>
                  <a:pt x="199" y="389"/>
                  <a:pt x="202" y="389"/>
                </a:cubicBezTo>
                <a:cubicBezTo>
                  <a:pt x="202" y="389"/>
                  <a:pt x="204" y="390"/>
                  <a:pt x="205" y="389"/>
                </a:cubicBezTo>
                <a:cubicBezTo>
                  <a:pt x="205" y="384"/>
                  <a:pt x="204" y="379"/>
                  <a:pt x="201" y="375"/>
                </a:cubicBezTo>
                <a:cubicBezTo>
                  <a:pt x="200" y="375"/>
                  <a:pt x="200" y="374"/>
                  <a:pt x="199" y="373"/>
                </a:cubicBezTo>
                <a:cubicBezTo>
                  <a:pt x="198" y="373"/>
                  <a:pt x="198" y="372"/>
                  <a:pt x="197" y="372"/>
                </a:cubicBezTo>
                <a:cubicBezTo>
                  <a:pt x="189" y="367"/>
                  <a:pt x="184" y="363"/>
                  <a:pt x="180" y="361"/>
                </a:cubicBezTo>
                <a:cubicBezTo>
                  <a:pt x="178" y="359"/>
                  <a:pt x="176" y="357"/>
                  <a:pt x="174" y="354"/>
                </a:cubicBezTo>
                <a:cubicBezTo>
                  <a:pt x="172" y="350"/>
                  <a:pt x="170" y="348"/>
                  <a:pt x="169" y="346"/>
                </a:cubicBezTo>
                <a:cubicBezTo>
                  <a:pt x="162" y="337"/>
                  <a:pt x="158" y="333"/>
                  <a:pt x="157" y="333"/>
                </a:cubicBezTo>
                <a:cubicBezTo>
                  <a:pt x="156" y="334"/>
                  <a:pt x="156" y="334"/>
                  <a:pt x="156" y="334"/>
                </a:cubicBezTo>
                <a:cubicBezTo>
                  <a:pt x="156" y="335"/>
                  <a:pt x="157" y="337"/>
                  <a:pt x="161" y="340"/>
                </a:cubicBezTo>
                <a:cubicBezTo>
                  <a:pt x="164" y="344"/>
                  <a:pt x="166" y="348"/>
                  <a:pt x="167" y="350"/>
                </a:cubicBezTo>
                <a:cubicBezTo>
                  <a:pt x="169" y="356"/>
                  <a:pt x="173" y="361"/>
                  <a:pt x="176" y="366"/>
                </a:cubicBezTo>
                <a:cubicBezTo>
                  <a:pt x="178" y="367"/>
                  <a:pt x="180" y="369"/>
                  <a:pt x="182" y="372"/>
                </a:cubicBezTo>
                <a:lnTo>
                  <a:pt x="182" y="372"/>
                </a:lnTo>
                <a:close/>
                <a:moveTo>
                  <a:pt x="150" y="276"/>
                </a:moveTo>
                <a:lnTo>
                  <a:pt x="150" y="276"/>
                </a:lnTo>
                <a:cubicBezTo>
                  <a:pt x="150" y="276"/>
                  <a:pt x="150" y="276"/>
                  <a:pt x="151" y="276"/>
                </a:cubicBezTo>
                <a:cubicBezTo>
                  <a:pt x="151" y="275"/>
                  <a:pt x="152" y="275"/>
                  <a:pt x="153" y="274"/>
                </a:cubicBezTo>
                <a:cubicBezTo>
                  <a:pt x="156" y="272"/>
                  <a:pt x="157" y="271"/>
                  <a:pt x="157" y="270"/>
                </a:cubicBezTo>
                <a:cubicBezTo>
                  <a:pt x="157" y="269"/>
                  <a:pt x="156" y="266"/>
                  <a:pt x="154" y="263"/>
                </a:cubicBezTo>
                <a:cubicBezTo>
                  <a:pt x="151" y="260"/>
                  <a:pt x="150" y="258"/>
                  <a:pt x="149" y="258"/>
                </a:cubicBezTo>
                <a:cubicBezTo>
                  <a:pt x="149" y="258"/>
                  <a:pt x="148" y="256"/>
                  <a:pt x="144" y="253"/>
                </a:cubicBezTo>
                <a:cubicBezTo>
                  <a:pt x="144" y="252"/>
                  <a:pt x="143" y="251"/>
                  <a:pt x="143" y="250"/>
                </a:cubicBezTo>
                <a:cubicBezTo>
                  <a:pt x="143" y="249"/>
                  <a:pt x="143" y="248"/>
                  <a:pt x="142" y="247"/>
                </a:cubicBezTo>
                <a:cubicBezTo>
                  <a:pt x="142" y="246"/>
                  <a:pt x="140" y="244"/>
                  <a:pt x="137" y="243"/>
                </a:cubicBezTo>
                <a:cubicBezTo>
                  <a:pt x="135" y="242"/>
                  <a:pt x="134" y="240"/>
                  <a:pt x="134" y="238"/>
                </a:cubicBezTo>
                <a:cubicBezTo>
                  <a:pt x="133" y="234"/>
                  <a:pt x="133" y="232"/>
                  <a:pt x="133" y="231"/>
                </a:cubicBezTo>
                <a:cubicBezTo>
                  <a:pt x="133" y="230"/>
                  <a:pt x="132" y="229"/>
                  <a:pt x="131" y="228"/>
                </a:cubicBezTo>
                <a:cubicBezTo>
                  <a:pt x="130" y="228"/>
                  <a:pt x="130" y="227"/>
                  <a:pt x="128" y="227"/>
                </a:cubicBezTo>
                <a:cubicBezTo>
                  <a:pt x="126" y="227"/>
                  <a:pt x="125" y="227"/>
                  <a:pt x="125" y="229"/>
                </a:cubicBezTo>
                <a:cubicBezTo>
                  <a:pt x="125" y="230"/>
                  <a:pt x="125" y="231"/>
                  <a:pt x="126" y="234"/>
                </a:cubicBezTo>
                <a:cubicBezTo>
                  <a:pt x="127" y="236"/>
                  <a:pt x="127" y="238"/>
                  <a:pt x="127" y="240"/>
                </a:cubicBezTo>
                <a:cubicBezTo>
                  <a:pt x="127" y="241"/>
                  <a:pt x="125" y="242"/>
                  <a:pt x="121" y="244"/>
                </a:cubicBezTo>
                <a:cubicBezTo>
                  <a:pt x="117" y="246"/>
                  <a:pt x="116" y="249"/>
                  <a:pt x="115" y="253"/>
                </a:cubicBezTo>
                <a:cubicBezTo>
                  <a:pt x="115" y="254"/>
                  <a:pt x="115" y="255"/>
                  <a:pt x="116" y="256"/>
                </a:cubicBezTo>
                <a:cubicBezTo>
                  <a:pt x="117" y="259"/>
                  <a:pt x="121" y="262"/>
                  <a:pt x="128" y="266"/>
                </a:cubicBezTo>
                <a:cubicBezTo>
                  <a:pt x="134" y="268"/>
                  <a:pt x="137" y="270"/>
                  <a:pt x="137" y="271"/>
                </a:cubicBezTo>
                <a:cubicBezTo>
                  <a:pt x="138" y="272"/>
                  <a:pt x="139" y="273"/>
                  <a:pt x="140" y="275"/>
                </a:cubicBezTo>
                <a:cubicBezTo>
                  <a:pt x="141" y="276"/>
                  <a:pt x="142" y="277"/>
                  <a:pt x="144" y="278"/>
                </a:cubicBezTo>
                <a:cubicBezTo>
                  <a:pt x="147" y="278"/>
                  <a:pt x="149" y="277"/>
                  <a:pt x="150" y="276"/>
                </a:cubicBezTo>
                <a:lnTo>
                  <a:pt x="150" y="276"/>
                </a:lnTo>
                <a:close/>
                <a:moveTo>
                  <a:pt x="112" y="327"/>
                </a:moveTo>
                <a:lnTo>
                  <a:pt x="112" y="327"/>
                </a:lnTo>
                <a:cubicBezTo>
                  <a:pt x="113" y="329"/>
                  <a:pt x="114" y="331"/>
                  <a:pt x="116" y="333"/>
                </a:cubicBezTo>
                <a:lnTo>
                  <a:pt x="119" y="333"/>
                </a:lnTo>
                <a:lnTo>
                  <a:pt x="120" y="328"/>
                </a:lnTo>
                <a:cubicBezTo>
                  <a:pt x="114" y="316"/>
                  <a:pt x="111" y="309"/>
                  <a:pt x="111" y="306"/>
                </a:cubicBezTo>
                <a:cubicBezTo>
                  <a:pt x="112" y="305"/>
                  <a:pt x="113" y="303"/>
                  <a:pt x="113" y="301"/>
                </a:cubicBezTo>
                <a:cubicBezTo>
                  <a:pt x="113" y="292"/>
                  <a:pt x="113" y="285"/>
                  <a:pt x="113" y="282"/>
                </a:cubicBezTo>
                <a:cubicBezTo>
                  <a:pt x="115" y="278"/>
                  <a:pt x="116" y="275"/>
                  <a:pt x="116" y="274"/>
                </a:cubicBezTo>
                <a:cubicBezTo>
                  <a:pt x="112" y="268"/>
                  <a:pt x="109" y="264"/>
                  <a:pt x="108" y="261"/>
                </a:cubicBezTo>
                <a:lnTo>
                  <a:pt x="108" y="261"/>
                </a:lnTo>
                <a:cubicBezTo>
                  <a:pt x="107" y="260"/>
                  <a:pt x="108" y="260"/>
                  <a:pt x="107" y="260"/>
                </a:cubicBezTo>
                <a:cubicBezTo>
                  <a:pt x="107" y="259"/>
                  <a:pt x="106" y="258"/>
                  <a:pt x="106" y="257"/>
                </a:cubicBezTo>
                <a:cubicBezTo>
                  <a:pt x="105" y="255"/>
                  <a:pt x="104" y="254"/>
                  <a:pt x="103" y="253"/>
                </a:cubicBezTo>
                <a:cubicBezTo>
                  <a:pt x="102" y="252"/>
                  <a:pt x="102" y="250"/>
                  <a:pt x="103" y="248"/>
                </a:cubicBezTo>
                <a:cubicBezTo>
                  <a:pt x="104" y="243"/>
                  <a:pt x="105" y="239"/>
                  <a:pt x="104" y="238"/>
                </a:cubicBezTo>
                <a:cubicBezTo>
                  <a:pt x="103" y="239"/>
                  <a:pt x="101" y="240"/>
                  <a:pt x="99" y="241"/>
                </a:cubicBezTo>
                <a:cubicBezTo>
                  <a:pt x="98" y="242"/>
                  <a:pt x="97" y="243"/>
                  <a:pt x="96" y="244"/>
                </a:cubicBezTo>
                <a:cubicBezTo>
                  <a:pt x="95" y="245"/>
                  <a:pt x="95" y="246"/>
                  <a:pt x="95" y="247"/>
                </a:cubicBezTo>
                <a:cubicBezTo>
                  <a:pt x="94" y="250"/>
                  <a:pt x="95" y="252"/>
                  <a:pt x="97" y="255"/>
                </a:cubicBezTo>
                <a:cubicBezTo>
                  <a:pt x="98" y="256"/>
                  <a:pt x="99" y="257"/>
                  <a:pt x="100" y="257"/>
                </a:cubicBezTo>
                <a:cubicBezTo>
                  <a:pt x="102" y="258"/>
                  <a:pt x="103" y="259"/>
                  <a:pt x="103" y="260"/>
                </a:cubicBezTo>
                <a:cubicBezTo>
                  <a:pt x="104" y="266"/>
                  <a:pt x="105" y="272"/>
                  <a:pt x="107" y="275"/>
                </a:cubicBezTo>
                <a:cubicBezTo>
                  <a:pt x="107" y="277"/>
                  <a:pt x="105" y="279"/>
                  <a:pt x="103" y="282"/>
                </a:cubicBezTo>
                <a:cubicBezTo>
                  <a:pt x="103" y="283"/>
                  <a:pt x="101" y="283"/>
                  <a:pt x="99" y="283"/>
                </a:cubicBezTo>
                <a:cubicBezTo>
                  <a:pt x="97" y="283"/>
                  <a:pt x="96" y="283"/>
                  <a:pt x="96" y="284"/>
                </a:cubicBezTo>
                <a:cubicBezTo>
                  <a:pt x="96" y="286"/>
                  <a:pt x="97" y="290"/>
                  <a:pt x="99" y="297"/>
                </a:cubicBezTo>
                <a:cubicBezTo>
                  <a:pt x="101" y="304"/>
                  <a:pt x="103" y="309"/>
                  <a:pt x="104" y="311"/>
                </a:cubicBezTo>
                <a:cubicBezTo>
                  <a:pt x="107" y="317"/>
                  <a:pt x="109" y="323"/>
                  <a:pt x="112" y="327"/>
                </a:cubicBezTo>
                <a:lnTo>
                  <a:pt x="112" y="327"/>
                </a:lnTo>
                <a:close/>
                <a:moveTo>
                  <a:pt x="111" y="339"/>
                </a:moveTo>
                <a:lnTo>
                  <a:pt x="111" y="339"/>
                </a:lnTo>
                <a:cubicBezTo>
                  <a:pt x="110" y="333"/>
                  <a:pt x="109" y="329"/>
                  <a:pt x="108" y="329"/>
                </a:cubicBezTo>
                <a:cubicBezTo>
                  <a:pt x="106" y="324"/>
                  <a:pt x="104" y="322"/>
                  <a:pt x="101" y="321"/>
                </a:cubicBezTo>
                <a:cubicBezTo>
                  <a:pt x="100" y="321"/>
                  <a:pt x="100" y="321"/>
                  <a:pt x="100" y="322"/>
                </a:cubicBezTo>
                <a:lnTo>
                  <a:pt x="100" y="321"/>
                </a:lnTo>
                <a:cubicBezTo>
                  <a:pt x="100" y="321"/>
                  <a:pt x="99" y="322"/>
                  <a:pt x="99" y="322"/>
                </a:cubicBezTo>
                <a:cubicBezTo>
                  <a:pt x="99" y="323"/>
                  <a:pt x="100" y="325"/>
                  <a:pt x="102" y="328"/>
                </a:cubicBezTo>
                <a:cubicBezTo>
                  <a:pt x="103" y="333"/>
                  <a:pt x="104" y="336"/>
                  <a:pt x="104" y="338"/>
                </a:cubicBezTo>
                <a:cubicBezTo>
                  <a:pt x="104" y="338"/>
                  <a:pt x="103" y="340"/>
                  <a:pt x="102" y="343"/>
                </a:cubicBezTo>
                <a:cubicBezTo>
                  <a:pt x="102" y="345"/>
                  <a:pt x="103" y="347"/>
                  <a:pt x="106" y="348"/>
                </a:cubicBezTo>
                <a:cubicBezTo>
                  <a:pt x="110" y="349"/>
                  <a:pt x="111" y="350"/>
                  <a:pt x="112" y="351"/>
                </a:cubicBezTo>
                <a:cubicBezTo>
                  <a:pt x="116" y="357"/>
                  <a:pt x="119" y="361"/>
                  <a:pt x="121" y="361"/>
                </a:cubicBezTo>
                <a:cubicBezTo>
                  <a:pt x="122" y="361"/>
                  <a:pt x="123" y="360"/>
                  <a:pt x="123" y="359"/>
                </a:cubicBezTo>
                <a:cubicBezTo>
                  <a:pt x="123" y="357"/>
                  <a:pt x="121" y="354"/>
                  <a:pt x="118" y="349"/>
                </a:cubicBezTo>
                <a:cubicBezTo>
                  <a:pt x="114" y="344"/>
                  <a:pt x="112" y="341"/>
                  <a:pt x="111" y="339"/>
                </a:cubicBezTo>
                <a:lnTo>
                  <a:pt x="111" y="339"/>
                </a:lnTo>
                <a:close/>
                <a:moveTo>
                  <a:pt x="260" y="513"/>
                </a:moveTo>
                <a:lnTo>
                  <a:pt x="260" y="513"/>
                </a:lnTo>
                <a:cubicBezTo>
                  <a:pt x="260" y="512"/>
                  <a:pt x="259" y="512"/>
                  <a:pt x="259" y="512"/>
                </a:cubicBezTo>
                <a:cubicBezTo>
                  <a:pt x="258" y="512"/>
                  <a:pt x="258" y="513"/>
                  <a:pt x="258" y="514"/>
                </a:cubicBezTo>
                <a:cubicBezTo>
                  <a:pt x="257" y="515"/>
                  <a:pt x="261" y="517"/>
                  <a:pt x="267" y="520"/>
                </a:cubicBezTo>
                <a:lnTo>
                  <a:pt x="270" y="521"/>
                </a:lnTo>
                <a:cubicBezTo>
                  <a:pt x="271" y="520"/>
                  <a:pt x="271" y="520"/>
                  <a:pt x="271" y="519"/>
                </a:cubicBezTo>
                <a:cubicBezTo>
                  <a:pt x="271" y="518"/>
                  <a:pt x="267" y="515"/>
                  <a:pt x="260" y="513"/>
                </a:cubicBezTo>
                <a:lnTo>
                  <a:pt x="260" y="513"/>
                </a:lnTo>
                <a:close/>
                <a:moveTo>
                  <a:pt x="162" y="323"/>
                </a:moveTo>
                <a:lnTo>
                  <a:pt x="162" y="323"/>
                </a:lnTo>
                <a:lnTo>
                  <a:pt x="165" y="323"/>
                </a:lnTo>
                <a:cubicBezTo>
                  <a:pt x="160" y="315"/>
                  <a:pt x="157" y="310"/>
                  <a:pt x="157" y="310"/>
                </a:cubicBezTo>
                <a:cubicBezTo>
                  <a:pt x="153" y="306"/>
                  <a:pt x="149" y="303"/>
                  <a:pt x="144" y="301"/>
                </a:cubicBezTo>
                <a:lnTo>
                  <a:pt x="144" y="301"/>
                </a:lnTo>
                <a:cubicBezTo>
                  <a:pt x="143" y="304"/>
                  <a:pt x="142" y="307"/>
                  <a:pt x="140" y="310"/>
                </a:cubicBezTo>
                <a:cubicBezTo>
                  <a:pt x="139" y="312"/>
                  <a:pt x="143" y="313"/>
                  <a:pt x="152" y="314"/>
                </a:cubicBezTo>
                <a:cubicBezTo>
                  <a:pt x="153" y="314"/>
                  <a:pt x="155" y="316"/>
                  <a:pt x="157" y="319"/>
                </a:cubicBezTo>
                <a:cubicBezTo>
                  <a:pt x="158" y="320"/>
                  <a:pt x="159" y="321"/>
                  <a:pt x="162" y="323"/>
                </a:cubicBezTo>
                <a:lnTo>
                  <a:pt x="162" y="323"/>
                </a:lnTo>
                <a:close/>
                <a:moveTo>
                  <a:pt x="628" y="713"/>
                </a:moveTo>
                <a:lnTo>
                  <a:pt x="628" y="713"/>
                </a:lnTo>
                <a:cubicBezTo>
                  <a:pt x="627" y="712"/>
                  <a:pt x="627" y="711"/>
                  <a:pt x="626" y="711"/>
                </a:cubicBezTo>
                <a:cubicBezTo>
                  <a:pt x="622" y="704"/>
                  <a:pt x="617" y="700"/>
                  <a:pt x="610" y="699"/>
                </a:cubicBezTo>
                <a:cubicBezTo>
                  <a:pt x="610" y="700"/>
                  <a:pt x="610" y="702"/>
                  <a:pt x="608" y="704"/>
                </a:cubicBezTo>
                <a:cubicBezTo>
                  <a:pt x="604" y="702"/>
                  <a:pt x="591" y="691"/>
                  <a:pt x="568" y="671"/>
                </a:cubicBezTo>
                <a:cubicBezTo>
                  <a:pt x="546" y="653"/>
                  <a:pt x="534" y="644"/>
                  <a:pt x="531" y="644"/>
                </a:cubicBezTo>
                <a:cubicBezTo>
                  <a:pt x="528" y="643"/>
                  <a:pt x="524" y="646"/>
                  <a:pt x="518" y="651"/>
                </a:cubicBezTo>
                <a:cubicBezTo>
                  <a:pt x="518" y="651"/>
                  <a:pt x="518" y="651"/>
                  <a:pt x="518" y="651"/>
                </a:cubicBezTo>
                <a:cubicBezTo>
                  <a:pt x="521" y="654"/>
                  <a:pt x="524" y="656"/>
                  <a:pt x="527" y="658"/>
                </a:cubicBezTo>
                <a:cubicBezTo>
                  <a:pt x="523" y="656"/>
                  <a:pt x="520" y="655"/>
                  <a:pt x="517" y="653"/>
                </a:cubicBezTo>
                <a:lnTo>
                  <a:pt x="517" y="653"/>
                </a:lnTo>
                <a:cubicBezTo>
                  <a:pt x="515" y="652"/>
                  <a:pt x="514" y="651"/>
                  <a:pt x="513" y="650"/>
                </a:cubicBezTo>
                <a:cubicBezTo>
                  <a:pt x="513" y="650"/>
                  <a:pt x="512" y="650"/>
                  <a:pt x="512" y="650"/>
                </a:cubicBezTo>
                <a:cubicBezTo>
                  <a:pt x="510" y="648"/>
                  <a:pt x="507" y="647"/>
                  <a:pt x="504" y="647"/>
                </a:cubicBezTo>
                <a:cubicBezTo>
                  <a:pt x="502" y="646"/>
                  <a:pt x="500" y="646"/>
                  <a:pt x="499" y="646"/>
                </a:cubicBezTo>
                <a:cubicBezTo>
                  <a:pt x="496" y="643"/>
                  <a:pt x="492" y="641"/>
                  <a:pt x="489" y="638"/>
                </a:cubicBezTo>
                <a:cubicBezTo>
                  <a:pt x="487" y="637"/>
                  <a:pt x="485" y="636"/>
                  <a:pt x="484" y="635"/>
                </a:cubicBezTo>
                <a:cubicBezTo>
                  <a:pt x="478" y="631"/>
                  <a:pt x="472" y="629"/>
                  <a:pt x="466" y="628"/>
                </a:cubicBezTo>
                <a:cubicBezTo>
                  <a:pt x="460" y="628"/>
                  <a:pt x="453" y="627"/>
                  <a:pt x="444" y="628"/>
                </a:cubicBezTo>
                <a:cubicBezTo>
                  <a:pt x="444" y="628"/>
                  <a:pt x="444" y="629"/>
                  <a:pt x="443" y="629"/>
                </a:cubicBezTo>
                <a:cubicBezTo>
                  <a:pt x="443" y="632"/>
                  <a:pt x="446" y="635"/>
                  <a:pt x="451" y="637"/>
                </a:cubicBezTo>
                <a:cubicBezTo>
                  <a:pt x="451" y="637"/>
                  <a:pt x="452" y="637"/>
                  <a:pt x="454" y="637"/>
                </a:cubicBezTo>
                <a:cubicBezTo>
                  <a:pt x="456" y="638"/>
                  <a:pt x="460" y="639"/>
                  <a:pt x="466" y="640"/>
                </a:cubicBezTo>
                <a:cubicBezTo>
                  <a:pt x="472" y="641"/>
                  <a:pt x="479" y="645"/>
                  <a:pt x="487" y="650"/>
                </a:cubicBezTo>
                <a:cubicBezTo>
                  <a:pt x="489" y="651"/>
                  <a:pt x="491" y="652"/>
                  <a:pt x="495" y="654"/>
                </a:cubicBezTo>
                <a:cubicBezTo>
                  <a:pt x="499" y="656"/>
                  <a:pt x="503" y="658"/>
                  <a:pt x="509" y="661"/>
                </a:cubicBezTo>
                <a:cubicBezTo>
                  <a:pt x="514" y="664"/>
                  <a:pt x="520" y="666"/>
                  <a:pt x="524" y="668"/>
                </a:cubicBezTo>
                <a:cubicBezTo>
                  <a:pt x="529" y="669"/>
                  <a:pt x="533" y="670"/>
                  <a:pt x="536" y="671"/>
                </a:cubicBezTo>
                <a:cubicBezTo>
                  <a:pt x="538" y="671"/>
                  <a:pt x="540" y="670"/>
                  <a:pt x="542" y="668"/>
                </a:cubicBezTo>
                <a:cubicBezTo>
                  <a:pt x="547" y="669"/>
                  <a:pt x="553" y="673"/>
                  <a:pt x="560" y="679"/>
                </a:cubicBezTo>
                <a:cubicBezTo>
                  <a:pt x="566" y="685"/>
                  <a:pt x="572" y="688"/>
                  <a:pt x="577" y="688"/>
                </a:cubicBezTo>
                <a:cubicBezTo>
                  <a:pt x="577" y="691"/>
                  <a:pt x="579" y="694"/>
                  <a:pt x="581" y="695"/>
                </a:cubicBezTo>
                <a:cubicBezTo>
                  <a:pt x="583" y="697"/>
                  <a:pt x="587" y="699"/>
                  <a:pt x="592" y="701"/>
                </a:cubicBezTo>
                <a:cubicBezTo>
                  <a:pt x="594" y="702"/>
                  <a:pt x="596" y="704"/>
                  <a:pt x="598" y="708"/>
                </a:cubicBezTo>
                <a:cubicBezTo>
                  <a:pt x="602" y="712"/>
                  <a:pt x="603" y="714"/>
                  <a:pt x="604" y="715"/>
                </a:cubicBezTo>
                <a:cubicBezTo>
                  <a:pt x="606" y="717"/>
                  <a:pt x="612" y="720"/>
                  <a:pt x="622" y="726"/>
                </a:cubicBezTo>
                <a:cubicBezTo>
                  <a:pt x="625" y="727"/>
                  <a:pt x="628" y="729"/>
                  <a:pt x="630" y="730"/>
                </a:cubicBezTo>
                <a:cubicBezTo>
                  <a:pt x="631" y="725"/>
                  <a:pt x="631" y="720"/>
                  <a:pt x="629" y="716"/>
                </a:cubicBezTo>
                <a:cubicBezTo>
                  <a:pt x="628" y="715"/>
                  <a:pt x="628" y="714"/>
                  <a:pt x="628" y="713"/>
                </a:cubicBezTo>
                <a:lnTo>
                  <a:pt x="628" y="713"/>
                </a:lnTo>
                <a:close/>
                <a:moveTo>
                  <a:pt x="508" y="677"/>
                </a:moveTo>
                <a:lnTo>
                  <a:pt x="508" y="677"/>
                </a:lnTo>
                <a:cubicBezTo>
                  <a:pt x="502" y="675"/>
                  <a:pt x="498" y="674"/>
                  <a:pt x="497" y="673"/>
                </a:cubicBezTo>
                <a:cubicBezTo>
                  <a:pt x="495" y="672"/>
                  <a:pt x="492" y="671"/>
                  <a:pt x="489" y="670"/>
                </a:cubicBezTo>
                <a:cubicBezTo>
                  <a:pt x="488" y="670"/>
                  <a:pt x="487" y="670"/>
                  <a:pt x="486" y="670"/>
                </a:cubicBezTo>
                <a:cubicBezTo>
                  <a:pt x="486" y="669"/>
                  <a:pt x="486" y="669"/>
                  <a:pt x="486" y="670"/>
                </a:cubicBezTo>
                <a:cubicBezTo>
                  <a:pt x="485" y="670"/>
                  <a:pt x="485" y="670"/>
                  <a:pt x="485" y="670"/>
                </a:cubicBezTo>
                <a:lnTo>
                  <a:pt x="485" y="670"/>
                </a:lnTo>
                <a:lnTo>
                  <a:pt x="485" y="670"/>
                </a:lnTo>
                <a:cubicBezTo>
                  <a:pt x="484" y="672"/>
                  <a:pt x="487" y="675"/>
                  <a:pt x="492" y="677"/>
                </a:cubicBezTo>
                <a:cubicBezTo>
                  <a:pt x="497" y="679"/>
                  <a:pt x="501" y="680"/>
                  <a:pt x="504" y="680"/>
                </a:cubicBezTo>
                <a:cubicBezTo>
                  <a:pt x="507" y="680"/>
                  <a:pt x="510" y="681"/>
                  <a:pt x="515" y="683"/>
                </a:cubicBezTo>
                <a:cubicBezTo>
                  <a:pt x="521" y="684"/>
                  <a:pt x="525" y="686"/>
                  <a:pt x="527" y="686"/>
                </a:cubicBezTo>
                <a:cubicBezTo>
                  <a:pt x="528" y="686"/>
                  <a:pt x="529" y="686"/>
                  <a:pt x="531" y="685"/>
                </a:cubicBezTo>
                <a:cubicBezTo>
                  <a:pt x="530" y="685"/>
                  <a:pt x="527" y="683"/>
                  <a:pt x="520" y="680"/>
                </a:cubicBezTo>
                <a:cubicBezTo>
                  <a:pt x="515" y="678"/>
                  <a:pt x="511" y="677"/>
                  <a:pt x="508" y="677"/>
                </a:cubicBezTo>
                <a:lnTo>
                  <a:pt x="508" y="677"/>
                </a:lnTo>
                <a:close/>
                <a:moveTo>
                  <a:pt x="453" y="642"/>
                </a:moveTo>
                <a:lnTo>
                  <a:pt x="453" y="642"/>
                </a:lnTo>
                <a:cubicBezTo>
                  <a:pt x="450" y="641"/>
                  <a:pt x="446" y="640"/>
                  <a:pt x="442" y="640"/>
                </a:cubicBezTo>
                <a:cubicBezTo>
                  <a:pt x="432" y="639"/>
                  <a:pt x="427" y="640"/>
                  <a:pt x="425" y="641"/>
                </a:cubicBezTo>
                <a:cubicBezTo>
                  <a:pt x="423" y="643"/>
                  <a:pt x="419" y="644"/>
                  <a:pt x="412" y="643"/>
                </a:cubicBezTo>
                <a:cubicBezTo>
                  <a:pt x="404" y="640"/>
                  <a:pt x="398" y="639"/>
                  <a:pt x="394" y="638"/>
                </a:cubicBezTo>
                <a:cubicBezTo>
                  <a:pt x="395" y="640"/>
                  <a:pt x="396" y="641"/>
                  <a:pt x="397" y="644"/>
                </a:cubicBezTo>
                <a:cubicBezTo>
                  <a:pt x="398" y="647"/>
                  <a:pt x="399" y="649"/>
                  <a:pt x="400" y="649"/>
                </a:cubicBezTo>
                <a:cubicBezTo>
                  <a:pt x="404" y="650"/>
                  <a:pt x="409" y="651"/>
                  <a:pt x="415" y="651"/>
                </a:cubicBezTo>
                <a:cubicBezTo>
                  <a:pt x="420" y="652"/>
                  <a:pt x="424" y="651"/>
                  <a:pt x="427" y="648"/>
                </a:cubicBezTo>
                <a:cubicBezTo>
                  <a:pt x="431" y="646"/>
                  <a:pt x="436" y="645"/>
                  <a:pt x="443" y="646"/>
                </a:cubicBezTo>
                <a:cubicBezTo>
                  <a:pt x="445" y="646"/>
                  <a:pt x="449" y="647"/>
                  <a:pt x="454" y="649"/>
                </a:cubicBezTo>
                <a:cubicBezTo>
                  <a:pt x="457" y="649"/>
                  <a:pt x="459" y="648"/>
                  <a:pt x="459" y="646"/>
                </a:cubicBezTo>
                <a:cubicBezTo>
                  <a:pt x="460" y="644"/>
                  <a:pt x="457" y="643"/>
                  <a:pt x="453" y="642"/>
                </a:cubicBezTo>
                <a:lnTo>
                  <a:pt x="453" y="642"/>
                </a:lnTo>
                <a:close/>
                <a:moveTo>
                  <a:pt x="744" y="233"/>
                </a:moveTo>
                <a:lnTo>
                  <a:pt x="744" y="233"/>
                </a:lnTo>
                <a:lnTo>
                  <a:pt x="743" y="231"/>
                </a:lnTo>
                <a:cubicBezTo>
                  <a:pt x="732" y="229"/>
                  <a:pt x="720" y="224"/>
                  <a:pt x="708" y="216"/>
                </a:cubicBezTo>
                <a:cubicBezTo>
                  <a:pt x="694" y="207"/>
                  <a:pt x="688" y="197"/>
                  <a:pt x="689" y="187"/>
                </a:cubicBezTo>
                <a:cubicBezTo>
                  <a:pt x="689" y="186"/>
                  <a:pt x="691" y="184"/>
                  <a:pt x="694" y="182"/>
                </a:cubicBezTo>
                <a:cubicBezTo>
                  <a:pt x="697" y="180"/>
                  <a:pt x="699" y="179"/>
                  <a:pt x="699" y="178"/>
                </a:cubicBezTo>
                <a:cubicBezTo>
                  <a:pt x="698" y="176"/>
                  <a:pt x="693" y="175"/>
                  <a:pt x="685" y="173"/>
                </a:cubicBezTo>
                <a:cubicBezTo>
                  <a:pt x="678" y="171"/>
                  <a:pt x="674" y="169"/>
                  <a:pt x="674" y="166"/>
                </a:cubicBezTo>
                <a:cubicBezTo>
                  <a:pt x="681" y="157"/>
                  <a:pt x="683" y="152"/>
                  <a:pt x="683" y="152"/>
                </a:cubicBezTo>
                <a:cubicBezTo>
                  <a:pt x="684" y="151"/>
                  <a:pt x="683" y="149"/>
                  <a:pt x="681" y="149"/>
                </a:cubicBezTo>
                <a:cubicBezTo>
                  <a:pt x="679" y="148"/>
                  <a:pt x="678" y="146"/>
                  <a:pt x="678" y="144"/>
                </a:cubicBezTo>
                <a:cubicBezTo>
                  <a:pt x="678" y="143"/>
                  <a:pt x="679" y="142"/>
                  <a:pt x="680" y="140"/>
                </a:cubicBezTo>
                <a:cubicBezTo>
                  <a:pt x="682" y="139"/>
                  <a:pt x="683" y="138"/>
                  <a:pt x="683" y="136"/>
                </a:cubicBezTo>
                <a:cubicBezTo>
                  <a:pt x="683" y="135"/>
                  <a:pt x="681" y="132"/>
                  <a:pt x="678" y="129"/>
                </a:cubicBezTo>
                <a:cubicBezTo>
                  <a:pt x="674" y="126"/>
                  <a:pt x="672" y="124"/>
                  <a:pt x="672" y="124"/>
                </a:cubicBezTo>
                <a:cubicBezTo>
                  <a:pt x="674" y="124"/>
                  <a:pt x="674" y="123"/>
                  <a:pt x="675" y="121"/>
                </a:cubicBezTo>
                <a:cubicBezTo>
                  <a:pt x="675" y="120"/>
                  <a:pt x="674" y="119"/>
                  <a:pt x="672" y="115"/>
                </a:cubicBezTo>
                <a:cubicBezTo>
                  <a:pt x="670" y="112"/>
                  <a:pt x="669" y="110"/>
                  <a:pt x="669" y="107"/>
                </a:cubicBezTo>
                <a:lnTo>
                  <a:pt x="669" y="107"/>
                </a:lnTo>
                <a:cubicBezTo>
                  <a:pt x="661" y="110"/>
                  <a:pt x="652" y="111"/>
                  <a:pt x="644" y="110"/>
                </a:cubicBezTo>
                <a:cubicBezTo>
                  <a:pt x="642" y="113"/>
                  <a:pt x="640" y="117"/>
                  <a:pt x="637" y="123"/>
                </a:cubicBezTo>
                <a:cubicBezTo>
                  <a:pt x="634" y="128"/>
                  <a:pt x="629" y="130"/>
                  <a:pt x="624" y="130"/>
                </a:cubicBezTo>
                <a:cubicBezTo>
                  <a:pt x="621" y="130"/>
                  <a:pt x="619" y="131"/>
                  <a:pt x="618" y="134"/>
                </a:cubicBezTo>
                <a:cubicBezTo>
                  <a:pt x="617" y="137"/>
                  <a:pt x="615" y="139"/>
                  <a:pt x="613" y="139"/>
                </a:cubicBezTo>
                <a:cubicBezTo>
                  <a:pt x="603" y="139"/>
                  <a:pt x="598" y="140"/>
                  <a:pt x="596" y="139"/>
                </a:cubicBezTo>
                <a:cubicBezTo>
                  <a:pt x="593" y="139"/>
                  <a:pt x="590" y="138"/>
                  <a:pt x="587" y="137"/>
                </a:cubicBezTo>
                <a:cubicBezTo>
                  <a:pt x="583" y="135"/>
                  <a:pt x="581" y="134"/>
                  <a:pt x="579" y="134"/>
                </a:cubicBezTo>
                <a:cubicBezTo>
                  <a:pt x="579" y="134"/>
                  <a:pt x="575" y="134"/>
                  <a:pt x="568" y="135"/>
                </a:cubicBezTo>
                <a:cubicBezTo>
                  <a:pt x="564" y="136"/>
                  <a:pt x="559" y="135"/>
                  <a:pt x="556" y="133"/>
                </a:cubicBezTo>
                <a:lnTo>
                  <a:pt x="548" y="132"/>
                </a:lnTo>
                <a:cubicBezTo>
                  <a:pt x="548" y="134"/>
                  <a:pt x="547" y="136"/>
                  <a:pt x="546" y="138"/>
                </a:cubicBezTo>
                <a:lnTo>
                  <a:pt x="546" y="139"/>
                </a:lnTo>
                <a:cubicBezTo>
                  <a:pt x="546" y="139"/>
                  <a:pt x="545" y="139"/>
                  <a:pt x="546" y="139"/>
                </a:cubicBezTo>
                <a:cubicBezTo>
                  <a:pt x="540" y="134"/>
                  <a:pt x="536" y="130"/>
                  <a:pt x="533" y="128"/>
                </a:cubicBezTo>
                <a:cubicBezTo>
                  <a:pt x="531" y="127"/>
                  <a:pt x="528" y="126"/>
                  <a:pt x="524" y="125"/>
                </a:cubicBezTo>
                <a:cubicBezTo>
                  <a:pt x="519" y="123"/>
                  <a:pt x="516" y="123"/>
                  <a:pt x="515" y="122"/>
                </a:cubicBezTo>
                <a:cubicBezTo>
                  <a:pt x="510" y="112"/>
                  <a:pt x="506" y="107"/>
                  <a:pt x="504" y="107"/>
                </a:cubicBezTo>
                <a:cubicBezTo>
                  <a:pt x="503" y="106"/>
                  <a:pt x="501" y="106"/>
                  <a:pt x="498" y="106"/>
                </a:cubicBezTo>
                <a:cubicBezTo>
                  <a:pt x="494" y="106"/>
                  <a:pt x="491" y="106"/>
                  <a:pt x="487" y="106"/>
                </a:cubicBezTo>
                <a:cubicBezTo>
                  <a:pt x="481" y="105"/>
                  <a:pt x="476" y="102"/>
                  <a:pt x="472" y="95"/>
                </a:cubicBezTo>
                <a:cubicBezTo>
                  <a:pt x="470" y="91"/>
                  <a:pt x="469" y="89"/>
                  <a:pt x="468" y="87"/>
                </a:cubicBezTo>
                <a:cubicBezTo>
                  <a:pt x="466" y="83"/>
                  <a:pt x="464" y="81"/>
                  <a:pt x="462" y="79"/>
                </a:cubicBezTo>
                <a:cubicBezTo>
                  <a:pt x="461" y="78"/>
                  <a:pt x="460" y="75"/>
                  <a:pt x="460" y="70"/>
                </a:cubicBezTo>
                <a:cubicBezTo>
                  <a:pt x="459" y="65"/>
                  <a:pt x="458" y="62"/>
                  <a:pt x="456" y="61"/>
                </a:cubicBezTo>
                <a:cubicBezTo>
                  <a:pt x="447" y="56"/>
                  <a:pt x="442" y="53"/>
                  <a:pt x="439" y="52"/>
                </a:cubicBezTo>
                <a:cubicBezTo>
                  <a:pt x="430" y="49"/>
                  <a:pt x="425" y="45"/>
                  <a:pt x="423" y="41"/>
                </a:cubicBezTo>
                <a:cubicBezTo>
                  <a:pt x="422" y="38"/>
                  <a:pt x="421" y="35"/>
                  <a:pt x="420" y="33"/>
                </a:cubicBezTo>
                <a:cubicBezTo>
                  <a:pt x="419" y="29"/>
                  <a:pt x="416" y="27"/>
                  <a:pt x="413" y="26"/>
                </a:cubicBezTo>
                <a:cubicBezTo>
                  <a:pt x="409" y="24"/>
                  <a:pt x="403" y="21"/>
                  <a:pt x="397" y="15"/>
                </a:cubicBezTo>
                <a:cubicBezTo>
                  <a:pt x="393" y="11"/>
                  <a:pt x="388" y="9"/>
                  <a:pt x="384" y="8"/>
                </a:cubicBezTo>
                <a:lnTo>
                  <a:pt x="384" y="8"/>
                </a:lnTo>
                <a:cubicBezTo>
                  <a:pt x="384" y="7"/>
                  <a:pt x="384" y="7"/>
                  <a:pt x="384" y="8"/>
                </a:cubicBezTo>
                <a:cubicBezTo>
                  <a:pt x="383" y="8"/>
                  <a:pt x="382" y="9"/>
                  <a:pt x="381" y="9"/>
                </a:cubicBezTo>
                <a:cubicBezTo>
                  <a:pt x="381" y="9"/>
                  <a:pt x="380" y="9"/>
                  <a:pt x="380" y="9"/>
                </a:cubicBezTo>
                <a:cubicBezTo>
                  <a:pt x="378" y="8"/>
                  <a:pt x="374" y="7"/>
                  <a:pt x="371" y="4"/>
                </a:cubicBezTo>
                <a:cubicBezTo>
                  <a:pt x="368" y="2"/>
                  <a:pt x="363" y="0"/>
                  <a:pt x="359" y="0"/>
                </a:cubicBezTo>
                <a:cubicBezTo>
                  <a:pt x="356" y="0"/>
                  <a:pt x="353" y="1"/>
                  <a:pt x="349" y="3"/>
                </a:cubicBezTo>
                <a:cubicBezTo>
                  <a:pt x="346" y="5"/>
                  <a:pt x="344" y="7"/>
                  <a:pt x="344" y="9"/>
                </a:cubicBezTo>
                <a:lnTo>
                  <a:pt x="352" y="26"/>
                </a:lnTo>
                <a:cubicBezTo>
                  <a:pt x="352" y="27"/>
                  <a:pt x="351" y="28"/>
                  <a:pt x="349" y="27"/>
                </a:cubicBezTo>
                <a:cubicBezTo>
                  <a:pt x="340" y="24"/>
                  <a:pt x="334" y="23"/>
                  <a:pt x="331" y="22"/>
                </a:cubicBezTo>
                <a:cubicBezTo>
                  <a:pt x="330" y="22"/>
                  <a:pt x="328" y="24"/>
                  <a:pt x="324" y="29"/>
                </a:cubicBezTo>
                <a:cubicBezTo>
                  <a:pt x="321" y="33"/>
                  <a:pt x="319" y="36"/>
                  <a:pt x="317" y="36"/>
                </a:cubicBezTo>
                <a:cubicBezTo>
                  <a:pt x="314" y="36"/>
                  <a:pt x="311" y="38"/>
                  <a:pt x="309" y="41"/>
                </a:cubicBezTo>
                <a:cubicBezTo>
                  <a:pt x="307" y="42"/>
                  <a:pt x="306" y="43"/>
                  <a:pt x="305" y="44"/>
                </a:cubicBezTo>
                <a:lnTo>
                  <a:pt x="306" y="45"/>
                </a:lnTo>
                <a:cubicBezTo>
                  <a:pt x="304" y="46"/>
                  <a:pt x="302" y="47"/>
                  <a:pt x="300" y="49"/>
                </a:cubicBezTo>
                <a:cubicBezTo>
                  <a:pt x="296" y="52"/>
                  <a:pt x="292" y="53"/>
                  <a:pt x="289" y="53"/>
                </a:cubicBezTo>
                <a:cubicBezTo>
                  <a:pt x="289" y="53"/>
                  <a:pt x="289" y="55"/>
                  <a:pt x="289" y="56"/>
                </a:cubicBezTo>
                <a:cubicBezTo>
                  <a:pt x="280" y="56"/>
                  <a:pt x="275" y="57"/>
                  <a:pt x="273" y="59"/>
                </a:cubicBezTo>
                <a:cubicBezTo>
                  <a:pt x="271" y="60"/>
                  <a:pt x="269" y="63"/>
                  <a:pt x="267" y="67"/>
                </a:cubicBezTo>
                <a:cubicBezTo>
                  <a:pt x="265" y="71"/>
                  <a:pt x="266" y="76"/>
                  <a:pt x="272" y="79"/>
                </a:cubicBezTo>
                <a:cubicBezTo>
                  <a:pt x="278" y="83"/>
                  <a:pt x="280" y="86"/>
                  <a:pt x="280" y="87"/>
                </a:cubicBezTo>
                <a:cubicBezTo>
                  <a:pt x="280" y="88"/>
                  <a:pt x="280" y="89"/>
                  <a:pt x="280" y="90"/>
                </a:cubicBezTo>
                <a:cubicBezTo>
                  <a:pt x="280" y="90"/>
                  <a:pt x="280" y="90"/>
                  <a:pt x="280" y="91"/>
                </a:cubicBezTo>
                <a:cubicBezTo>
                  <a:pt x="279" y="93"/>
                  <a:pt x="279" y="96"/>
                  <a:pt x="278" y="98"/>
                </a:cubicBezTo>
                <a:cubicBezTo>
                  <a:pt x="277" y="100"/>
                  <a:pt x="276" y="103"/>
                  <a:pt x="276" y="105"/>
                </a:cubicBezTo>
                <a:cubicBezTo>
                  <a:pt x="276" y="107"/>
                  <a:pt x="276" y="110"/>
                  <a:pt x="278" y="113"/>
                </a:cubicBezTo>
                <a:cubicBezTo>
                  <a:pt x="279" y="115"/>
                  <a:pt x="280" y="117"/>
                  <a:pt x="280" y="118"/>
                </a:cubicBezTo>
                <a:cubicBezTo>
                  <a:pt x="279" y="119"/>
                  <a:pt x="278" y="120"/>
                  <a:pt x="274" y="121"/>
                </a:cubicBezTo>
                <a:cubicBezTo>
                  <a:pt x="270" y="122"/>
                  <a:pt x="267" y="123"/>
                  <a:pt x="266" y="124"/>
                </a:cubicBezTo>
                <a:cubicBezTo>
                  <a:pt x="266" y="124"/>
                  <a:pt x="266" y="124"/>
                  <a:pt x="266" y="124"/>
                </a:cubicBezTo>
                <a:lnTo>
                  <a:pt x="266" y="123"/>
                </a:lnTo>
                <a:cubicBezTo>
                  <a:pt x="257" y="124"/>
                  <a:pt x="250" y="125"/>
                  <a:pt x="246" y="124"/>
                </a:cubicBezTo>
                <a:cubicBezTo>
                  <a:pt x="245" y="130"/>
                  <a:pt x="240" y="135"/>
                  <a:pt x="230" y="140"/>
                </a:cubicBezTo>
                <a:cubicBezTo>
                  <a:pt x="226" y="142"/>
                  <a:pt x="221" y="144"/>
                  <a:pt x="217" y="147"/>
                </a:cubicBezTo>
                <a:cubicBezTo>
                  <a:pt x="216" y="149"/>
                  <a:pt x="219" y="150"/>
                  <a:pt x="224" y="152"/>
                </a:cubicBezTo>
                <a:cubicBezTo>
                  <a:pt x="227" y="152"/>
                  <a:pt x="230" y="154"/>
                  <a:pt x="234" y="154"/>
                </a:cubicBezTo>
                <a:cubicBezTo>
                  <a:pt x="233" y="155"/>
                  <a:pt x="231" y="157"/>
                  <a:pt x="227" y="160"/>
                </a:cubicBezTo>
                <a:cubicBezTo>
                  <a:pt x="224" y="162"/>
                  <a:pt x="222" y="164"/>
                  <a:pt x="222" y="167"/>
                </a:cubicBezTo>
                <a:cubicBezTo>
                  <a:pt x="222" y="170"/>
                  <a:pt x="222" y="173"/>
                  <a:pt x="224" y="177"/>
                </a:cubicBezTo>
                <a:cubicBezTo>
                  <a:pt x="227" y="182"/>
                  <a:pt x="229" y="185"/>
                  <a:pt x="229" y="187"/>
                </a:cubicBezTo>
                <a:cubicBezTo>
                  <a:pt x="227" y="186"/>
                  <a:pt x="222" y="187"/>
                  <a:pt x="216" y="188"/>
                </a:cubicBezTo>
                <a:cubicBezTo>
                  <a:pt x="208" y="191"/>
                  <a:pt x="205" y="192"/>
                  <a:pt x="204" y="192"/>
                </a:cubicBezTo>
                <a:cubicBezTo>
                  <a:pt x="203" y="191"/>
                  <a:pt x="199" y="189"/>
                  <a:pt x="193" y="185"/>
                </a:cubicBezTo>
                <a:cubicBezTo>
                  <a:pt x="187" y="180"/>
                  <a:pt x="183" y="177"/>
                  <a:pt x="182" y="177"/>
                </a:cubicBezTo>
                <a:lnTo>
                  <a:pt x="179" y="177"/>
                </a:lnTo>
                <a:cubicBezTo>
                  <a:pt x="178" y="178"/>
                  <a:pt x="177" y="180"/>
                  <a:pt x="173" y="183"/>
                </a:cubicBezTo>
                <a:cubicBezTo>
                  <a:pt x="170" y="185"/>
                  <a:pt x="168" y="186"/>
                  <a:pt x="166" y="186"/>
                </a:cubicBezTo>
                <a:cubicBezTo>
                  <a:pt x="163" y="186"/>
                  <a:pt x="157" y="180"/>
                  <a:pt x="150" y="169"/>
                </a:cubicBezTo>
                <a:cubicBezTo>
                  <a:pt x="143" y="158"/>
                  <a:pt x="139" y="152"/>
                  <a:pt x="137" y="150"/>
                </a:cubicBezTo>
                <a:cubicBezTo>
                  <a:pt x="132" y="154"/>
                  <a:pt x="129" y="156"/>
                  <a:pt x="129" y="156"/>
                </a:cubicBezTo>
                <a:cubicBezTo>
                  <a:pt x="126" y="158"/>
                  <a:pt x="125" y="163"/>
                  <a:pt x="125" y="169"/>
                </a:cubicBezTo>
                <a:cubicBezTo>
                  <a:pt x="125" y="172"/>
                  <a:pt x="122" y="175"/>
                  <a:pt x="117" y="177"/>
                </a:cubicBezTo>
                <a:cubicBezTo>
                  <a:pt x="112" y="179"/>
                  <a:pt x="108" y="180"/>
                  <a:pt x="104" y="180"/>
                </a:cubicBezTo>
                <a:cubicBezTo>
                  <a:pt x="98" y="177"/>
                  <a:pt x="94" y="175"/>
                  <a:pt x="94" y="175"/>
                </a:cubicBezTo>
                <a:cubicBezTo>
                  <a:pt x="93" y="175"/>
                  <a:pt x="90" y="176"/>
                  <a:pt x="85" y="178"/>
                </a:cubicBezTo>
                <a:cubicBezTo>
                  <a:pt x="81" y="179"/>
                  <a:pt x="78" y="180"/>
                  <a:pt x="76" y="180"/>
                </a:cubicBezTo>
                <a:cubicBezTo>
                  <a:pt x="68" y="176"/>
                  <a:pt x="63" y="174"/>
                  <a:pt x="62" y="174"/>
                </a:cubicBezTo>
                <a:cubicBezTo>
                  <a:pt x="62" y="178"/>
                  <a:pt x="60" y="181"/>
                  <a:pt x="56" y="183"/>
                </a:cubicBezTo>
                <a:cubicBezTo>
                  <a:pt x="53" y="184"/>
                  <a:pt x="50" y="186"/>
                  <a:pt x="45" y="188"/>
                </a:cubicBezTo>
                <a:cubicBezTo>
                  <a:pt x="43" y="184"/>
                  <a:pt x="38" y="182"/>
                  <a:pt x="32" y="181"/>
                </a:cubicBezTo>
                <a:cubicBezTo>
                  <a:pt x="28" y="182"/>
                  <a:pt x="25" y="182"/>
                  <a:pt x="24" y="182"/>
                </a:cubicBezTo>
                <a:cubicBezTo>
                  <a:pt x="22" y="182"/>
                  <a:pt x="19" y="180"/>
                  <a:pt x="14" y="178"/>
                </a:cubicBezTo>
                <a:cubicBezTo>
                  <a:pt x="12" y="176"/>
                  <a:pt x="11" y="176"/>
                  <a:pt x="9" y="175"/>
                </a:cubicBezTo>
                <a:cubicBezTo>
                  <a:pt x="9" y="175"/>
                  <a:pt x="9" y="175"/>
                  <a:pt x="9" y="175"/>
                </a:cubicBezTo>
                <a:cubicBezTo>
                  <a:pt x="8" y="176"/>
                  <a:pt x="8" y="176"/>
                  <a:pt x="8" y="176"/>
                </a:cubicBezTo>
                <a:cubicBezTo>
                  <a:pt x="7" y="176"/>
                  <a:pt x="7" y="177"/>
                  <a:pt x="6" y="177"/>
                </a:cubicBezTo>
                <a:cubicBezTo>
                  <a:pt x="2" y="177"/>
                  <a:pt x="0" y="178"/>
                  <a:pt x="0" y="180"/>
                </a:cubicBezTo>
                <a:cubicBezTo>
                  <a:pt x="0" y="181"/>
                  <a:pt x="1" y="184"/>
                  <a:pt x="3" y="189"/>
                </a:cubicBezTo>
                <a:cubicBezTo>
                  <a:pt x="4" y="193"/>
                  <a:pt x="5" y="196"/>
                  <a:pt x="5" y="199"/>
                </a:cubicBezTo>
                <a:cubicBezTo>
                  <a:pt x="5" y="200"/>
                  <a:pt x="4" y="201"/>
                  <a:pt x="3" y="202"/>
                </a:cubicBezTo>
                <a:cubicBezTo>
                  <a:pt x="3" y="204"/>
                  <a:pt x="3" y="206"/>
                  <a:pt x="5" y="206"/>
                </a:cubicBezTo>
                <a:cubicBezTo>
                  <a:pt x="6" y="207"/>
                  <a:pt x="8" y="207"/>
                  <a:pt x="10" y="207"/>
                </a:cubicBezTo>
                <a:cubicBezTo>
                  <a:pt x="9" y="209"/>
                  <a:pt x="9" y="210"/>
                  <a:pt x="9" y="211"/>
                </a:cubicBezTo>
                <a:cubicBezTo>
                  <a:pt x="8" y="211"/>
                  <a:pt x="7" y="212"/>
                  <a:pt x="7" y="213"/>
                </a:cubicBezTo>
                <a:cubicBezTo>
                  <a:pt x="7" y="216"/>
                  <a:pt x="8" y="222"/>
                  <a:pt x="9" y="232"/>
                </a:cubicBezTo>
                <a:cubicBezTo>
                  <a:pt x="9" y="234"/>
                  <a:pt x="10" y="236"/>
                  <a:pt x="13" y="237"/>
                </a:cubicBezTo>
                <a:cubicBezTo>
                  <a:pt x="15" y="238"/>
                  <a:pt x="17" y="239"/>
                  <a:pt x="20" y="240"/>
                </a:cubicBezTo>
                <a:lnTo>
                  <a:pt x="20" y="241"/>
                </a:lnTo>
                <a:cubicBezTo>
                  <a:pt x="20" y="241"/>
                  <a:pt x="19" y="242"/>
                  <a:pt x="16" y="242"/>
                </a:cubicBezTo>
                <a:cubicBezTo>
                  <a:pt x="15" y="242"/>
                  <a:pt x="14" y="243"/>
                  <a:pt x="14" y="245"/>
                </a:cubicBezTo>
                <a:cubicBezTo>
                  <a:pt x="14" y="247"/>
                  <a:pt x="15" y="249"/>
                  <a:pt x="18" y="253"/>
                </a:cubicBezTo>
                <a:cubicBezTo>
                  <a:pt x="19" y="255"/>
                  <a:pt x="21" y="257"/>
                  <a:pt x="24" y="260"/>
                </a:cubicBezTo>
                <a:cubicBezTo>
                  <a:pt x="25" y="263"/>
                  <a:pt x="28" y="268"/>
                  <a:pt x="32" y="276"/>
                </a:cubicBezTo>
                <a:cubicBezTo>
                  <a:pt x="32" y="277"/>
                  <a:pt x="32" y="280"/>
                  <a:pt x="32" y="285"/>
                </a:cubicBezTo>
                <a:cubicBezTo>
                  <a:pt x="32" y="289"/>
                  <a:pt x="33" y="291"/>
                  <a:pt x="35" y="292"/>
                </a:cubicBezTo>
                <a:cubicBezTo>
                  <a:pt x="37" y="293"/>
                  <a:pt x="39" y="295"/>
                  <a:pt x="41" y="298"/>
                </a:cubicBezTo>
                <a:cubicBezTo>
                  <a:pt x="44" y="303"/>
                  <a:pt x="45" y="305"/>
                  <a:pt x="46" y="306"/>
                </a:cubicBezTo>
                <a:cubicBezTo>
                  <a:pt x="46" y="304"/>
                  <a:pt x="47" y="301"/>
                  <a:pt x="49" y="299"/>
                </a:cubicBezTo>
                <a:cubicBezTo>
                  <a:pt x="51" y="295"/>
                  <a:pt x="54" y="295"/>
                  <a:pt x="57" y="298"/>
                </a:cubicBezTo>
                <a:cubicBezTo>
                  <a:pt x="60" y="286"/>
                  <a:pt x="63" y="278"/>
                  <a:pt x="63" y="272"/>
                </a:cubicBezTo>
                <a:cubicBezTo>
                  <a:pt x="63" y="267"/>
                  <a:pt x="63" y="264"/>
                  <a:pt x="63" y="262"/>
                </a:cubicBezTo>
                <a:cubicBezTo>
                  <a:pt x="65" y="264"/>
                  <a:pt x="68" y="267"/>
                  <a:pt x="70" y="272"/>
                </a:cubicBezTo>
                <a:cubicBezTo>
                  <a:pt x="76" y="269"/>
                  <a:pt x="79" y="266"/>
                  <a:pt x="79" y="264"/>
                </a:cubicBezTo>
                <a:cubicBezTo>
                  <a:pt x="78" y="260"/>
                  <a:pt x="78" y="257"/>
                  <a:pt x="78" y="254"/>
                </a:cubicBezTo>
                <a:cubicBezTo>
                  <a:pt x="78" y="252"/>
                  <a:pt x="80" y="250"/>
                  <a:pt x="82" y="248"/>
                </a:cubicBezTo>
                <a:cubicBezTo>
                  <a:pt x="85" y="244"/>
                  <a:pt x="87" y="242"/>
                  <a:pt x="87" y="242"/>
                </a:cubicBezTo>
                <a:cubicBezTo>
                  <a:pt x="88" y="241"/>
                  <a:pt x="88" y="240"/>
                  <a:pt x="89" y="239"/>
                </a:cubicBezTo>
                <a:cubicBezTo>
                  <a:pt x="91" y="236"/>
                  <a:pt x="92" y="233"/>
                  <a:pt x="91" y="229"/>
                </a:cubicBezTo>
                <a:cubicBezTo>
                  <a:pt x="92" y="213"/>
                  <a:pt x="96" y="205"/>
                  <a:pt x="103" y="205"/>
                </a:cubicBezTo>
                <a:cubicBezTo>
                  <a:pt x="107" y="206"/>
                  <a:pt x="111" y="208"/>
                  <a:pt x="117" y="211"/>
                </a:cubicBezTo>
                <a:cubicBezTo>
                  <a:pt x="124" y="216"/>
                  <a:pt x="127" y="218"/>
                  <a:pt x="128" y="218"/>
                </a:cubicBezTo>
                <a:cubicBezTo>
                  <a:pt x="130" y="219"/>
                  <a:pt x="133" y="221"/>
                  <a:pt x="136" y="224"/>
                </a:cubicBezTo>
                <a:cubicBezTo>
                  <a:pt x="136" y="224"/>
                  <a:pt x="136" y="224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7" y="225"/>
                  <a:pt x="137" y="226"/>
                  <a:pt x="137" y="226"/>
                </a:cubicBezTo>
                <a:cubicBezTo>
                  <a:pt x="141" y="232"/>
                  <a:pt x="144" y="235"/>
                  <a:pt x="145" y="236"/>
                </a:cubicBezTo>
                <a:cubicBezTo>
                  <a:pt x="152" y="242"/>
                  <a:pt x="159" y="248"/>
                  <a:pt x="164" y="253"/>
                </a:cubicBezTo>
                <a:cubicBezTo>
                  <a:pt x="166" y="256"/>
                  <a:pt x="168" y="260"/>
                  <a:pt x="169" y="266"/>
                </a:cubicBezTo>
                <a:cubicBezTo>
                  <a:pt x="172" y="272"/>
                  <a:pt x="173" y="276"/>
                  <a:pt x="172" y="279"/>
                </a:cubicBezTo>
                <a:cubicBezTo>
                  <a:pt x="172" y="281"/>
                  <a:pt x="171" y="286"/>
                  <a:pt x="169" y="295"/>
                </a:cubicBezTo>
                <a:cubicBezTo>
                  <a:pt x="168" y="300"/>
                  <a:pt x="169" y="309"/>
                  <a:pt x="171" y="322"/>
                </a:cubicBezTo>
                <a:cubicBezTo>
                  <a:pt x="171" y="322"/>
                  <a:pt x="171" y="322"/>
                  <a:pt x="171" y="322"/>
                </a:cubicBezTo>
                <a:cubicBezTo>
                  <a:pt x="172" y="327"/>
                  <a:pt x="176" y="334"/>
                  <a:pt x="181" y="345"/>
                </a:cubicBezTo>
                <a:cubicBezTo>
                  <a:pt x="183" y="348"/>
                  <a:pt x="189" y="355"/>
                  <a:pt x="197" y="365"/>
                </a:cubicBezTo>
                <a:cubicBezTo>
                  <a:pt x="198" y="366"/>
                  <a:pt x="200" y="367"/>
                  <a:pt x="202" y="370"/>
                </a:cubicBezTo>
                <a:lnTo>
                  <a:pt x="202" y="370"/>
                </a:lnTo>
                <a:cubicBezTo>
                  <a:pt x="203" y="371"/>
                  <a:pt x="203" y="371"/>
                  <a:pt x="204" y="372"/>
                </a:cubicBezTo>
                <a:cubicBezTo>
                  <a:pt x="204" y="373"/>
                  <a:pt x="205" y="373"/>
                  <a:pt x="205" y="373"/>
                </a:cubicBezTo>
                <a:cubicBezTo>
                  <a:pt x="208" y="377"/>
                  <a:pt x="211" y="381"/>
                  <a:pt x="213" y="385"/>
                </a:cubicBezTo>
                <a:cubicBezTo>
                  <a:pt x="215" y="388"/>
                  <a:pt x="219" y="390"/>
                  <a:pt x="225" y="392"/>
                </a:cubicBezTo>
                <a:cubicBezTo>
                  <a:pt x="230" y="394"/>
                  <a:pt x="234" y="396"/>
                  <a:pt x="235" y="398"/>
                </a:cubicBezTo>
                <a:cubicBezTo>
                  <a:pt x="235" y="400"/>
                  <a:pt x="237" y="401"/>
                  <a:pt x="241" y="403"/>
                </a:cubicBezTo>
                <a:cubicBezTo>
                  <a:pt x="242" y="404"/>
                  <a:pt x="244" y="404"/>
                  <a:pt x="246" y="405"/>
                </a:cubicBezTo>
                <a:cubicBezTo>
                  <a:pt x="247" y="406"/>
                  <a:pt x="249" y="408"/>
                  <a:pt x="251" y="410"/>
                </a:cubicBezTo>
                <a:cubicBezTo>
                  <a:pt x="253" y="411"/>
                  <a:pt x="255" y="412"/>
                  <a:pt x="257" y="412"/>
                </a:cubicBezTo>
                <a:lnTo>
                  <a:pt x="259" y="412"/>
                </a:lnTo>
                <a:lnTo>
                  <a:pt x="260" y="412"/>
                </a:lnTo>
                <a:cubicBezTo>
                  <a:pt x="258" y="416"/>
                  <a:pt x="257" y="420"/>
                  <a:pt x="257" y="426"/>
                </a:cubicBezTo>
                <a:cubicBezTo>
                  <a:pt x="254" y="421"/>
                  <a:pt x="253" y="418"/>
                  <a:pt x="253" y="418"/>
                </a:cubicBezTo>
                <a:cubicBezTo>
                  <a:pt x="251" y="418"/>
                  <a:pt x="248" y="418"/>
                  <a:pt x="245" y="418"/>
                </a:cubicBezTo>
                <a:cubicBezTo>
                  <a:pt x="244" y="418"/>
                  <a:pt x="243" y="417"/>
                  <a:pt x="243" y="414"/>
                </a:cubicBezTo>
                <a:cubicBezTo>
                  <a:pt x="243" y="411"/>
                  <a:pt x="243" y="410"/>
                  <a:pt x="242" y="409"/>
                </a:cubicBezTo>
                <a:cubicBezTo>
                  <a:pt x="241" y="408"/>
                  <a:pt x="240" y="408"/>
                  <a:pt x="239" y="407"/>
                </a:cubicBezTo>
                <a:cubicBezTo>
                  <a:pt x="237" y="406"/>
                  <a:pt x="235" y="406"/>
                  <a:pt x="233" y="405"/>
                </a:cubicBezTo>
                <a:cubicBezTo>
                  <a:pt x="230" y="404"/>
                  <a:pt x="227" y="402"/>
                  <a:pt x="225" y="400"/>
                </a:cubicBezTo>
                <a:cubicBezTo>
                  <a:pt x="222" y="397"/>
                  <a:pt x="219" y="395"/>
                  <a:pt x="219" y="394"/>
                </a:cubicBezTo>
                <a:lnTo>
                  <a:pt x="215" y="394"/>
                </a:lnTo>
                <a:cubicBezTo>
                  <a:pt x="214" y="395"/>
                  <a:pt x="215" y="398"/>
                  <a:pt x="216" y="401"/>
                </a:cubicBezTo>
                <a:cubicBezTo>
                  <a:pt x="215" y="403"/>
                  <a:pt x="215" y="404"/>
                  <a:pt x="213" y="403"/>
                </a:cubicBezTo>
                <a:cubicBezTo>
                  <a:pt x="209" y="402"/>
                  <a:pt x="207" y="402"/>
                  <a:pt x="206" y="402"/>
                </a:cubicBezTo>
                <a:cubicBezTo>
                  <a:pt x="203" y="401"/>
                  <a:pt x="201" y="404"/>
                  <a:pt x="200" y="412"/>
                </a:cubicBezTo>
                <a:cubicBezTo>
                  <a:pt x="200" y="414"/>
                  <a:pt x="201" y="417"/>
                  <a:pt x="203" y="419"/>
                </a:cubicBezTo>
                <a:cubicBezTo>
                  <a:pt x="205" y="421"/>
                  <a:pt x="206" y="422"/>
                  <a:pt x="209" y="425"/>
                </a:cubicBezTo>
                <a:cubicBezTo>
                  <a:pt x="210" y="427"/>
                  <a:pt x="213" y="431"/>
                  <a:pt x="217" y="438"/>
                </a:cubicBezTo>
                <a:cubicBezTo>
                  <a:pt x="219" y="440"/>
                  <a:pt x="222" y="443"/>
                  <a:pt x="228" y="448"/>
                </a:cubicBezTo>
                <a:cubicBezTo>
                  <a:pt x="229" y="449"/>
                  <a:pt x="231" y="453"/>
                  <a:pt x="235" y="460"/>
                </a:cubicBezTo>
                <a:cubicBezTo>
                  <a:pt x="235" y="460"/>
                  <a:pt x="236" y="460"/>
                  <a:pt x="236" y="461"/>
                </a:cubicBezTo>
                <a:cubicBezTo>
                  <a:pt x="238" y="465"/>
                  <a:pt x="242" y="470"/>
                  <a:pt x="247" y="473"/>
                </a:cubicBezTo>
                <a:cubicBezTo>
                  <a:pt x="250" y="476"/>
                  <a:pt x="255" y="479"/>
                  <a:pt x="260" y="483"/>
                </a:cubicBezTo>
                <a:cubicBezTo>
                  <a:pt x="261" y="483"/>
                  <a:pt x="264" y="487"/>
                  <a:pt x="269" y="494"/>
                </a:cubicBezTo>
                <a:cubicBezTo>
                  <a:pt x="273" y="499"/>
                  <a:pt x="277" y="501"/>
                  <a:pt x="281" y="502"/>
                </a:cubicBezTo>
                <a:cubicBezTo>
                  <a:pt x="282" y="502"/>
                  <a:pt x="283" y="502"/>
                  <a:pt x="284" y="501"/>
                </a:cubicBezTo>
                <a:cubicBezTo>
                  <a:pt x="286" y="501"/>
                  <a:pt x="289" y="503"/>
                  <a:pt x="294" y="508"/>
                </a:cubicBezTo>
                <a:cubicBezTo>
                  <a:pt x="296" y="508"/>
                  <a:pt x="298" y="509"/>
                  <a:pt x="300" y="510"/>
                </a:cubicBezTo>
                <a:cubicBezTo>
                  <a:pt x="302" y="511"/>
                  <a:pt x="303" y="512"/>
                  <a:pt x="303" y="514"/>
                </a:cubicBezTo>
                <a:cubicBezTo>
                  <a:pt x="303" y="515"/>
                  <a:pt x="301" y="518"/>
                  <a:pt x="299" y="524"/>
                </a:cubicBezTo>
                <a:cubicBezTo>
                  <a:pt x="298" y="528"/>
                  <a:pt x="300" y="532"/>
                  <a:pt x="304" y="536"/>
                </a:cubicBezTo>
                <a:cubicBezTo>
                  <a:pt x="304" y="537"/>
                  <a:pt x="305" y="537"/>
                  <a:pt x="306" y="538"/>
                </a:cubicBezTo>
                <a:cubicBezTo>
                  <a:pt x="307" y="538"/>
                  <a:pt x="309" y="540"/>
                  <a:pt x="310" y="542"/>
                </a:cubicBezTo>
                <a:cubicBezTo>
                  <a:pt x="313" y="545"/>
                  <a:pt x="317" y="547"/>
                  <a:pt x="321" y="547"/>
                </a:cubicBezTo>
                <a:cubicBezTo>
                  <a:pt x="321" y="545"/>
                  <a:pt x="321" y="544"/>
                  <a:pt x="324" y="544"/>
                </a:cubicBezTo>
                <a:cubicBezTo>
                  <a:pt x="325" y="544"/>
                  <a:pt x="327" y="544"/>
                  <a:pt x="329" y="544"/>
                </a:cubicBezTo>
                <a:cubicBezTo>
                  <a:pt x="331" y="544"/>
                  <a:pt x="333" y="544"/>
                  <a:pt x="334" y="543"/>
                </a:cubicBezTo>
                <a:cubicBezTo>
                  <a:pt x="335" y="542"/>
                  <a:pt x="337" y="542"/>
                  <a:pt x="339" y="541"/>
                </a:cubicBezTo>
                <a:cubicBezTo>
                  <a:pt x="340" y="540"/>
                  <a:pt x="343" y="539"/>
                  <a:pt x="348" y="537"/>
                </a:cubicBezTo>
                <a:cubicBezTo>
                  <a:pt x="353" y="536"/>
                  <a:pt x="356" y="535"/>
                  <a:pt x="357" y="535"/>
                </a:cubicBezTo>
                <a:cubicBezTo>
                  <a:pt x="358" y="536"/>
                  <a:pt x="370" y="542"/>
                  <a:pt x="393" y="554"/>
                </a:cubicBezTo>
                <a:cubicBezTo>
                  <a:pt x="396" y="555"/>
                  <a:pt x="399" y="556"/>
                  <a:pt x="403" y="557"/>
                </a:cubicBezTo>
                <a:cubicBezTo>
                  <a:pt x="406" y="557"/>
                  <a:pt x="409" y="558"/>
                  <a:pt x="413" y="559"/>
                </a:cubicBezTo>
                <a:cubicBezTo>
                  <a:pt x="421" y="561"/>
                  <a:pt x="427" y="565"/>
                  <a:pt x="432" y="570"/>
                </a:cubicBezTo>
                <a:cubicBezTo>
                  <a:pt x="435" y="573"/>
                  <a:pt x="439" y="578"/>
                  <a:pt x="445" y="586"/>
                </a:cubicBezTo>
                <a:cubicBezTo>
                  <a:pt x="451" y="593"/>
                  <a:pt x="455" y="597"/>
                  <a:pt x="459" y="600"/>
                </a:cubicBezTo>
                <a:cubicBezTo>
                  <a:pt x="459" y="600"/>
                  <a:pt x="459" y="600"/>
                  <a:pt x="460" y="600"/>
                </a:cubicBezTo>
                <a:cubicBezTo>
                  <a:pt x="467" y="604"/>
                  <a:pt x="474" y="610"/>
                  <a:pt x="480" y="618"/>
                </a:cubicBezTo>
                <a:cubicBezTo>
                  <a:pt x="484" y="623"/>
                  <a:pt x="487" y="626"/>
                  <a:pt x="488" y="627"/>
                </a:cubicBezTo>
                <a:cubicBezTo>
                  <a:pt x="489" y="628"/>
                  <a:pt x="489" y="628"/>
                  <a:pt x="490" y="628"/>
                </a:cubicBezTo>
                <a:cubicBezTo>
                  <a:pt x="491" y="628"/>
                  <a:pt x="493" y="628"/>
                  <a:pt x="495" y="627"/>
                </a:cubicBezTo>
                <a:cubicBezTo>
                  <a:pt x="495" y="627"/>
                  <a:pt x="499" y="631"/>
                  <a:pt x="505" y="638"/>
                </a:cubicBezTo>
                <a:cubicBezTo>
                  <a:pt x="508" y="641"/>
                  <a:pt x="510" y="643"/>
                  <a:pt x="512" y="646"/>
                </a:cubicBezTo>
                <a:cubicBezTo>
                  <a:pt x="513" y="643"/>
                  <a:pt x="515" y="642"/>
                  <a:pt x="515" y="640"/>
                </a:cubicBezTo>
                <a:cubicBezTo>
                  <a:pt x="517" y="638"/>
                  <a:pt x="519" y="637"/>
                  <a:pt x="522" y="637"/>
                </a:cubicBezTo>
                <a:cubicBezTo>
                  <a:pt x="525" y="638"/>
                  <a:pt x="526" y="637"/>
                  <a:pt x="527" y="637"/>
                </a:cubicBezTo>
                <a:cubicBezTo>
                  <a:pt x="526" y="633"/>
                  <a:pt x="525" y="629"/>
                  <a:pt x="524" y="627"/>
                </a:cubicBezTo>
                <a:cubicBezTo>
                  <a:pt x="523" y="623"/>
                  <a:pt x="521" y="620"/>
                  <a:pt x="518" y="618"/>
                </a:cubicBezTo>
                <a:cubicBezTo>
                  <a:pt x="510" y="613"/>
                  <a:pt x="504" y="609"/>
                  <a:pt x="499" y="604"/>
                </a:cubicBezTo>
                <a:cubicBezTo>
                  <a:pt x="498" y="603"/>
                  <a:pt x="496" y="600"/>
                  <a:pt x="493" y="595"/>
                </a:cubicBezTo>
                <a:cubicBezTo>
                  <a:pt x="490" y="591"/>
                  <a:pt x="488" y="588"/>
                  <a:pt x="487" y="586"/>
                </a:cubicBezTo>
                <a:cubicBezTo>
                  <a:pt x="483" y="582"/>
                  <a:pt x="480" y="579"/>
                  <a:pt x="479" y="577"/>
                </a:cubicBezTo>
                <a:cubicBezTo>
                  <a:pt x="477" y="573"/>
                  <a:pt x="476" y="569"/>
                  <a:pt x="477" y="565"/>
                </a:cubicBezTo>
                <a:lnTo>
                  <a:pt x="479" y="554"/>
                </a:lnTo>
                <a:cubicBezTo>
                  <a:pt x="479" y="552"/>
                  <a:pt x="476" y="548"/>
                  <a:pt x="471" y="544"/>
                </a:cubicBezTo>
                <a:cubicBezTo>
                  <a:pt x="465" y="540"/>
                  <a:pt x="462" y="538"/>
                  <a:pt x="462" y="537"/>
                </a:cubicBezTo>
                <a:cubicBezTo>
                  <a:pt x="459" y="534"/>
                  <a:pt x="452" y="530"/>
                  <a:pt x="440" y="524"/>
                </a:cubicBezTo>
                <a:cubicBezTo>
                  <a:pt x="441" y="521"/>
                  <a:pt x="440" y="518"/>
                  <a:pt x="437" y="516"/>
                </a:cubicBezTo>
                <a:cubicBezTo>
                  <a:pt x="436" y="516"/>
                  <a:pt x="434" y="515"/>
                  <a:pt x="434" y="513"/>
                </a:cubicBezTo>
                <a:cubicBezTo>
                  <a:pt x="433" y="510"/>
                  <a:pt x="432" y="509"/>
                  <a:pt x="431" y="508"/>
                </a:cubicBezTo>
                <a:cubicBezTo>
                  <a:pt x="430" y="506"/>
                  <a:pt x="427" y="505"/>
                  <a:pt x="421" y="505"/>
                </a:cubicBezTo>
                <a:cubicBezTo>
                  <a:pt x="419" y="504"/>
                  <a:pt x="418" y="504"/>
                  <a:pt x="417" y="502"/>
                </a:cubicBezTo>
                <a:cubicBezTo>
                  <a:pt x="416" y="500"/>
                  <a:pt x="415" y="499"/>
                  <a:pt x="414" y="498"/>
                </a:cubicBezTo>
                <a:cubicBezTo>
                  <a:pt x="413" y="496"/>
                  <a:pt x="410" y="494"/>
                  <a:pt x="406" y="490"/>
                </a:cubicBezTo>
                <a:cubicBezTo>
                  <a:pt x="403" y="488"/>
                  <a:pt x="402" y="486"/>
                  <a:pt x="401" y="483"/>
                </a:cubicBezTo>
                <a:cubicBezTo>
                  <a:pt x="401" y="480"/>
                  <a:pt x="399" y="478"/>
                  <a:pt x="396" y="475"/>
                </a:cubicBezTo>
                <a:cubicBezTo>
                  <a:pt x="392" y="473"/>
                  <a:pt x="389" y="470"/>
                  <a:pt x="388" y="469"/>
                </a:cubicBezTo>
                <a:cubicBezTo>
                  <a:pt x="384" y="465"/>
                  <a:pt x="382" y="463"/>
                  <a:pt x="381" y="461"/>
                </a:cubicBezTo>
                <a:cubicBezTo>
                  <a:pt x="378" y="459"/>
                  <a:pt x="376" y="457"/>
                  <a:pt x="373" y="455"/>
                </a:cubicBezTo>
                <a:cubicBezTo>
                  <a:pt x="371" y="454"/>
                  <a:pt x="369" y="452"/>
                  <a:pt x="366" y="448"/>
                </a:cubicBezTo>
                <a:cubicBezTo>
                  <a:pt x="364" y="444"/>
                  <a:pt x="362" y="442"/>
                  <a:pt x="359" y="442"/>
                </a:cubicBezTo>
                <a:cubicBezTo>
                  <a:pt x="355" y="441"/>
                  <a:pt x="353" y="439"/>
                  <a:pt x="352" y="436"/>
                </a:cubicBezTo>
                <a:cubicBezTo>
                  <a:pt x="351" y="429"/>
                  <a:pt x="350" y="426"/>
                  <a:pt x="350" y="426"/>
                </a:cubicBezTo>
                <a:cubicBezTo>
                  <a:pt x="348" y="423"/>
                  <a:pt x="345" y="422"/>
                  <a:pt x="343" y="420"/>
                </a:cubicBezTo>
                <a:cubicBezTo>
                  <a:pt x="338" y="416"/>
                  <a:pt x="336" y="413"/>
                  <a:pt x="337" y="410"/>
                </a:cubicBezTo>
                <a:cubicBezTo>
                  <a:pt x="336" y="406"/>
                  <a:pt x="336" y="402"/>
                  <a:pt x="336" y="399"/>
                </a:cubicBezTo>
                <a:cubicBezTo>
                  <a:pt x="337" y="397"/>
                  <a:pt x="337" y="396"/>
                  <a:pt x="338" y="395"/>
                </a:cubicBezTo>
                <a:cubicBezTo>
                  <a:pt x="339" y="395"/>
                  <a:pt x="340" y="393"/>
                  <a:pt x="340" y="392"/>
                </a:cubicBezTo>
                <a:cubicBezTo>
                  <a:pt x="332" y="388"/>
                  <a:pt x="328" y="385"/>
                  <a:pt x="329" y="384"/>
                </a:cubicBezTo>
                <a:cubicBezTo>
                  <a:pt x="331" y="381"/>
                  <a:pt x="332" y="380"/>
                  <a:pt x="332" y="379"/>
                </a:cubicBezTo>
                <a:cubicBezTo>
                  <a:pt x="332" y="377"/>
                  <a:pt x="331" y="375"/>
                  <a:pt x="330" y="373"/>
                </a:cubicBezTo>
                <a:lnTo>
                  <a:pt x="330" y="372"/>
                </a:lnTo>
                <a:cubicBezTo>
                  <a:pt x="329" y="370"/>
                  <a:pt x="328" y="366"/>
                  <a:pt x="326" y="360"/>
                </a:cubicBezTo>
                <a:cubicBezTo>
                  <a:pt x="324" y="355"/>
                  <a:pt x="321" y="352"/>
                  <a:pt x="316" y="351"/>
                </a:cubicBezTo>
                <a:cubicBezTo>
                  <a:pt x="318" y="349"/>
                  <a:pt x="319" y="347"/>
                  <a:pt x="319" y="345"/>
                </a:cubicBezTo>
                <a:cubicBezTo>
                  <a:pt x="320" y="340"/>
                  <a:pt x="313" y="334"/>
                  <a:pt x="300" y="327"/>
                </a:cubicBezTo>
                <a:cubicBezTo>
                  <a:pt x="287" y="320"/>
                  <a:pt x="280" y="314"/>
                  <a:pt x="281" y="310"/>
                </a:cubicBezTo>
                <a:cubicBezTo>
                  <a:pt x="283" y="305"/>
                  <a:pt x="284" y="301"/>
                  <a:pt x="284" y="299"/>
                </a:cubicBezTo>
                <a:cubicBezTo>
                  <a:pt x="284" y="297"/>
                  <a:pt x="283" y="295"/>
                  <a:pt x="282" y="293"/>
                </a:cubicBezTo>
                <a:cubicBezTo>
                  <a:pt x="280" y="292"/>
                  <a:pt x="279" y="290"/>
                  <a:pt x="279" y="287"/>
                </a:cubicBezTo>
                <a:cubicBezTo>
                  <a:pt x="284" y="270"/>
                  <a:pt x="285" y="257"/>
                  <a:pt x="285" y="249"/>
                </a:cubicBezTo>
                <a:cubicBezTo>
                  <a:pt x="284" y="243"/>
                  <a:pt x="287" y="238"/>
                  <a:pt x="295" y="236"/>
                </a:cubicBezTo>
                <a:cubicBezTo>
                  <a:pt x="300" y="234"/>
                  <a:pt x="306" y="233"/>
                  <a:pt x="313" y="234"/>
                </a:cubicBezTo>
                <a:cubicBezTo>
                  <a:pt x="318" y="235"/>
                  <a:pt x="323" y="242"/>
                  <a:pt x="328" y="257"/>
                </a:cubicBezTo>
                <a:cubicBezTo>
                  <a:pt x="330" y="259"/>
                  <a:pt x="334" y="262"/>
                  <a:pt x="340" y="266"/>
                </a:cubicBezTo>
                <a:cubicBezTo>
                  <a:pt x="346" y="269"/>
                  <a:pt x="351" y="272"/>
                  <a:pt x="352" y="275"/>
                </a:cubicBezTo>
                <a:cubicBezTo>
                  <a:pt x="354" y="269"/>
                  <a:pt x="356" y="265"/>
                  <a:pt x="357" y="262"/>
                </a:cubicBezTo>
                <a:cubicBezTo>
                  <a:pt x="359" y="257"/>
                  <a:pt x="361" y="254"/>
                  <a:pt x="363" y="253"/>
                </a:cubicBezTo>
                <a:cubicBezTo>
                  <a:pt x="365" y="252"/>
                  <a:pt x="368" y="248"/>
                  <a:pt x="371" y="242"/>
                </a:cubicBezTo>
                <a:cubicBezTo>
                  <a:pt x="374" y="237"/>
                  <a:pt x="377" y="234"/>
                  <a:pt x="380" y="235"/>
                </a:cubicBezTo>
                <a:cubicBezTo>
                  <a:pt x="383" y="235"/>
                  <a:pt x="394" y="237"/>
                  <a:pt x="411" y="241"/>
                </a:cubicBezTo>
                <a:cubicBezTo>
                  <a:pt x="413" y="241"/>
                  <a:pt x="415" y="239"/>
                  <a:pt x="418" y="234"/>
                </a:cubicBezTo>
                <a:cubicBezTo>
                  <a:pt x="422" y="230"/>
                  <a:pt x="425" y="227"/>
                  <a:pt x="427" y="227"/>
                </a:cubicBezTo>
                <a:cubicBezTo>
                  <a:pt x="428" y="227"/>
                  <a:pt x="433" y="231"/>
                  <a:pt x="442" y="237"/>
                </a:cubicBezTo>
                <a:cubicBezTo>
                  <a:pt x="451" y="243"/>
                  <a:pt x="457" y="246"/>
                  <a:pt x="461" y="246"/>
                </a:cubicBezTo>
                <a:cubicBezTo>
                  <a:pt x="464" y="247"/>
                  <a:pt x="465" y="247"/>
                  <a:pt x="466" y="246"/>
                </a:cubicBezTo>
                <a:cubicBezTo>
                  <a:pt x="466" y="245"/>
                  <a:pt x="467" y="243"/>
                  <a:pt x="468" y="241"/>
                </a:cubicBezTo>
                <a:cubicBezTo>
                  <a:pt x="471" y="243"/>
                  <a:pt x="476" y="245"/>
                  <a:pt x="482" y="249"/>
                </a:cubicBezTo>
                <a:cubicBezTo>
                  <a:pt x="487" y="251"/>
                  <a:pt x="493" y="253"/>
                  <a:pt x="498" y="253"/>
                </a:cubicBezTo>
                <a:cubicBezTo>
                  <a:pt x="499" y="253"/>
                  <a:pt x="502" y="253"/>
                  <a:pt x="507" y="251"/>
                </a:cubicBezTo>
                <a:cubicBezTo>
                  <a:pt x="511" y="249"/>
                  <a:pt x="514" y="249"/>
                  <a:pt x="515" y="249"/>
                </a:cubicBezTo>
                <a:cubicBezTo>
                  <a:pt x="532" y="260"/>
                  <a:pt x="541" y="266"/>
                  <a:pt x="543" y="266"/>
                </a:cubicBezTo>
                <a:cubicBezTo>
                  <a:pt x="546" y="266"/>
                  <a:pt x="550" y="263"/>
                  <a:pt x="555" y="257"/>
                </a:cubicBezTo>
                <a:cubicBezTo>
                  <a:pt x="560" y="250"/>
                  <a:pt x="564" y="247"/>
                  <a:pt x="567" y="247"/>
                </a:cubicBezTo>
                <a:cubicBezTo>
                  <a:pt x="569" y="248"/>
                  <a:pt x="571" y="249"/>
                  <a:pt x="575" y="253"/>
                </a:cubicBezTo>
                <a:cubicBezTo>
                  <a:pt x="580" y="256"/>
                  <a:pt x="582" y="258"/>
                  <a:pt x="584" y="258"/>
                </a:cubicBezTo>
                <a:cubicBezTo>
                  <a:pt x="585" y="258"/>
                  <a:pt x="587" y="257"/>
                  <a:pt x="589" y="254"/>
                </a:cubicBezTo>
                <a:cubicBezTo>
                  <a:pt x="590" y="251"/>
                  <a:pt x="591" y="249"/>
                  <a:pt x="591" y="249"/>
                </a:cubicBezTo>
                <a:cubicBezTo>
                  <a:pt x="609" y="255"/>
                  <a:pt x="620" y="259"/>
                  <a:pt x="623" y="261"/>
                </a:cubicBezTo>
                <a:cubicBezTo>
                  <a:pt x="624" y="261"/>
                  <a:pt x="625" y="260"/>
                  <a:pt x="627" y="258"/>
                </a:cubicBezTo>
                <a:cubicBezTo>
                  <a:pt x="629" y="257"/>
                  <a:pt x="630" y="256"/>
                  <a:pt x="631" y="256"/>
                </a:cubicBezTo>
                <a:cubicBezTo>
                  <a:pt x="633" y="256"/>
                  <a:pt x="636" y="258"/>
                  <a:pt x="641" y="262"/>
                </a:cubicBezTo>
                <a:cubicBezTo>
                  <a:pt x="643" y="262"/>
                  <a:pt x="644" y="262"/>
                  <a:pt x="644" y="261"/>
                </a:cubicBezTo>
                <a:cubicBezTo>
                  <a:pt x="646" y="259"/>
                  <a:pt x="646" y="258"/>
                  <a:pt x="647" y="258"/>
                </a:cubicBezTo>
                <a:cubicBezTo>
                  <a:pt x="652" y="267"/>
                  <a:pt x="658" y="274"/>
                  <a:pt x="667" y="281"/>
                </a:cubicBezTo>
                <a:cubicBezTo>
                  <a:pt x="664" y="284"/>
                  <a:pt x="662" y="287"/>
                  <a:pt x="662" y="287"/>
                </a:cubicBezTo>
                <a:cubicBezTo>
                  <a:pt x="662" y="287"/>
                  <a:pt x="664" y="289"/>
                  <a:pt x="667" y="291"/>
                </a:cubicBezTo>
                <a:cubicBezTo>
                  <a:pt x="668" y="292"/>
                  <a:pt x="670" y="293"/>
                  <a:pt x="671" y="294"/>
                </a:cubicBezTo>
                <a:lnTo>
                  <a:pt x="692" y="296"/>
                </a:lnTo>
                <a:lnTo>
                  <a:pt x="695" y="296"/>
                </a:lnTo>
                <a:cubicBezTo>
                  <a:pt x="695" y="296"/>
                  <a:pt x="695" y="295"/>
                  <a:pt x="695" y="295"/>
                </a:cubicBezTo>
                <a:cubicBezTo>
                  <a:pt x="694" y="292"/>
                  <a:pt x="694" y="289"/>
                  <a:pt x="694" y="287"/>
                </a:cubicBezTo>
                <a:cubicBezTo>
                  <a:pt x="695" y="283"/>
                  <a:pt x="695" y="281"/>
                  <a:pt x="697" y="281"/>
                </a:cubicBezTo>
                <a:cubicBezTo>
                  <a:pt x="698" y="281"/>
                  <a:pt x="701" y="281"/>
                  <a:pt x="706" y="281"/>
                </a:cubicBezTo>
                <a:cubicBezTo>
                  <a:pt x="703" y="262"/>
                  <a:pt x="701" y="249"/>
                  <a:pt x="700" y="242"/>
                </a:cubicBezTo>
                <a:cubicBezTo>
                  <a:pt x="703" y="241"/>
                  <a:pt x="710" y="240"/>
                  <a:pt x="723" y="239"/>
                </a:cubicBezTo>
                <a:cubicBezTo>
                  <a:pt x="733" y="238"/>
                  <a:pt x="740" y="236"/>
                  <a:pt x="744" y="233"/>
                </a:cubicBezTo>
                <a:lnTo>
                  <a:pt x="744" y="233"/>
                </a:lnTo>
                <a:close/>
                <a:moveTo>
                  <a:pt x="374" y="584"/>
                </a:moveTo>
                <a:lnTo>
                  <a:pt x="374" y="584"/>
                </a:lnTo>
                <a:cubicBezTo>
                  <a:pt x="376" y="584"/>
                  <a:pt x="379" y="584"/>
                  <a:pt x="384" y="585"/>
                </a:cubicBezTo>
                <a:cubicBezTo>
                  <a:pt x="395" y="586"/>
                  <a:pt x="404" y="586"/>
                  <a:pt x="411" y="584"/>
                </a:cubicBezTo>
                <a:cubicBezTo>
                  <a:pt x="416" y="583"/>
                  <a:pt x="420" y="581"/>
                  <a:pt x="420" y="578"/>
                </a:cubicBezTo>
                <a:cubicBezTo>
                  <a:pt x="420" y="575"/>
                  <a:pt x="418" y="573"/>
                  <a:pt x="412" y="570"/>
                </a:cubicBezTo>
                <a:cubicBezTo>
                  <a:pt x="409" y="569"/>
                  <a:pt x="405" y="568"/>
                  <a:pt x="401" y="567"/>
                </a:cubicBezTo>
                <a:cubicBezTo>
                  <a:pt x="397" y="566"/>
                  <a:pt x="392" y="565"/>
                  <a:pt x="386" y="565"/>
                </a:cubicBezTo>
                <a:cubicBezTo>
                  <a:pt x="378" y="564"/>
                  <a:pt x="373" y="564"/>
                  <a:pt x="370" y="564"/>
                </a:cubicBezTo>
                <a:cubicBezTo>
                  <a:pt x="366" y="566"/>
                  <a:pt x="363" y="569"/>
                  <a:pt x="362" y="574"/>
                </a:cubicBezTo>
                <a:cubicBezTo>
                  <a:pt x="362" y="574"/>
                  <a:pt x="362" y="575"/>
                  <a:pt x="362" y="576"/>
                </a:cubicBezTo>
                <a:cubicBezTo>
                  <a:pt x="361" y="580"/>
                  <a:pt x="364" y="582"/>
                  <a:pt x="370" y="583"/>
                </a:cubicBezTo>
                <a:cubicBezTo>
                  <a:pt x="370" y="583"/>
                  <a:pt x="371" y="583"/>
                  <a:pt x="374" y="584"/>
                </a:cubicBezTo>
                <a:lnTo>
                  <a:pt x="374" y="584"/>
                </a:lnTo>
                <a:close/>
                <a:moveTo>
                  <a:pt x="333" y="619"/>
                </a:moveTo>
                <a:lnTo>
                  <a:pt x="333" y="619"/>
                </a:lnTo>
                <a:cubicBezTo>
                  <a:pt x="331" y="619"/>
                  <a:pt x="330" y="618"/>
                  <a:pt x="328" y="618"/>
                </a:cubicBezTo>
                <a:cubicBezTo>
                  <a:pt x="328" y="618"/>
                  <a:pt x="328" y="617"/>
                  <a:pt x="327" y="617"/>
                </a:cubicBezTo>
                <a:cubicBezTo>
                  <a:pt x="326" y="617"/>
                  <a:pt x="326" y="617"/>
                  <a:pt x="326" y="617"/>
                </a:cubicBezTo>
                <a:cubicBezTo>
                  <a:pt x="324" y="617"/>
                  <a:pt x="322" y="617"/>
                  <a:pt x="319" y="619"/>
                </a:cubicBezTo>
                <a:cubicBezTo>
                  <a:pt x="316" y="621"/>
                  <a:pt x="314" y="623"/>
                  <a:pt x="314" y="624"/>
                </a:cubicBezTo>
                <a:cubicBezTo>
                  <a:pt x="313" y="628"/>
                  <a:pt x="317" y="630"/>
                  <a:pt x="323" y="630"/>
                </a:cubicBezTo>
                <a:cubicBezTo>
                  <a:pt x="326" y="631"/>
                  <a:pt x="329" y="630"/>
                  <a:pt x="331" y="629"/>
                </a:cubicBezTo>
                <a:cubicBezTo>
                  <a:pt x="333" y="628"/>
                  <a:pt x="335" y="626"/>
                  <a:pt x="335" y="623"/>
                </a:cubicBezTo>
                <a:cubicBezTo>
                  <a:pt x="335" y="621"/>
                  <a:pt x="335" y="619"/>
                  <a:pt x="333" y="619"/>
                </a:cubicBezTo>
                <a:lnTo>
                  <a:pt x="333" y="619"/>
                </a:lnTo>
                <a:close/>
                <a:moveTo>
                  <a:pt x="349" y="564"/>
                </a:moveTo>
                <a:lnTo>
                  <a:pt x="349" y="564"/>
                </a:lnTo>
                <a:cubicBezTo>
                  <a:pt x="348" y="564"/>
                  <a:pt x="348" y="564"/>
                  <a:pt x="348" y="564"/>
                </a:cubicBezTo>
                <a:cubicBezTo>
                  <a:pt x="348" y="564"/>
                  <a:pt x="347" y="564"/>
                  <a:pt x="347" y="564"/>
                </a:cubicBezTo>
                <a:cubicBezTo>
                  <a:pt x="345" y="564"/>
                  <a:pt x="343" y="565"/>
                  <a:pt x="340" y="566"/>
                </a:cubicBezTo>
                <a:cubicBezTo>
                  <a:pt x="341" y="567"/>
                  <a:pt x="343" y="569"/>
                  <a:pt x="345" y="571"/>
                </a:cubicBezTo>
                <a:cubicBezTo>
                  <a:pt x="348" y="572"/>
                  <a:pt x="350" y="573"/>
                  <a:pt x="352" y="573"/>
                </a:cubicBezTo>
                <a:cubicBezTo>
                  <a:pt x="354" y="574"/>
                  <a:pt x="355" y="573"/>
                  <a:pt x="356" y="572"/>
                </a:cubicBezTo>
                <a:cubicBezTo>
                  <a:pt x="356" y="571"/>
                  <a:pt x="355" y="569"/>
                  <a:pt x="353" y="567"/>
                </a:cubicBezTo>
                <a:cubicBezTo>
                  <a:pt x="351" y="565"/>
                  <a:pt x="350" y="564"/>
                  <a:pt x="349" y="564"/>
                </a:cubicBezTo>
                <a:lnTo>
                  <a:pt x="349" y="564"/>
                </a:lnTo>
                <a:close/>
                <a:moveTo>
                  <a:pt x="437" y="615"/>
                </a:moveTo>
                <a:lnTo>
                  <a:pt x="437" y="615"/>
                </a:lnTo>
                <a:cubicBezTo>
                  <a:pt x="440" y="615"/>
                  <a:pt x="441" y="615"/>
                  <a:pt x="443" y="615"/>
                </a:cubicBezTo>
                <a:cubicBezTo>
                  <a:pt x="448" y="615"/>
                  <a:pt x="451" y="614"/>
                  <a:pt x="452" y="611"/>
                </a:cubicBezTo>
                <a:lnTo>
                  <a:pt x="452" y="609"/>
                </a:lnTo>
                <a:lnTo>
                  <a:pt x="446" y="608"/>
                </a:lnTo>
                <a:cubicBezTo>
                  <a:pt x="445" y="608"/>
                  <a:pt x="442" y="608"/>
                  <a:pt x="437" y="608"/>
                </a:cubicBezTo>
                <a:cubicBezTo>
                  <a:pt x="420" y="608"/>
                  <a:pt x="409" y="608"/>
                  <a:pt x="403" y="607"/>
                </a:cubicBezTo>
                <a:cubicBezTo>
                  <a:pt x="401" y="607"/>
                  <a:pt x="397" y="604"/>
                  <a:pt x="391" y="598"/>
                </a:cubicBezTo>
                <a:lnTo>
                  <a:pt x="385" y="597"/>
                </a:lnTo>
                <a:lnTo>
                  <a:pt x="384" y="597"/>
                </a:lnTo>
                <a:lnTo>
                  <a:pt x="384" y="598"/>
                </a:lnTo>
                <a:cubicBezTo>
                  <a:pt x="384" y="598"/>
                  <a:pt x="384" y="598"/>
                  <a:pt x="384" y="598"/>
                </a:cubicBezTo>
                <a:cubicBezTo>
                  <a:pt x="382" y="598"/>
                  <a:pt x="381" y="598"/>
                  <a:pt x="380" y="598"/>
                </a:cubicBezTo>
                <a:cubicBezTo>
                  <a:pt x="376" y="597"/>
                  <a:pt x="373" y="596"/>
                  <a:pt x="373" y="596"/>
                </a:cubicBezTo>
                <a:cubicBezTo>
                  <a:pt x="370" y="596"/>
                  <a:pt x="368" y="596"/>
                  <a:pt x="367" y="598"/>
                </a:cubicBezTo>
                <a:cubicBezTo>
                  <a:pt x="367" y="598"/>
                  <a:pt x="365" y="599"/>
                  <a:pt x="362" y="602"/>
                </a:cubicBezTo>
                <a:lnTo>
                  <a:pt x="362" y="603"/>
                </a:lnTo>
                <a:cubicBezTo>
                  <a:pt x="368" y="604"/>
                  <a:pt x="373" y="605"/>
                  <a:pt x="376" y="605"/>
                </a:cubicBezTo>
                <a:cubicBezTo>
                  <a:pt x="378" y="606"/>
                  <a:pt x="380" y="607"/>
                  <a:pt x="382" y="609"/>
                </a:cubicBezTo>
                <a:cubicBezTo>
                  <a:pt x="383" y="610"/>
                  <a:pt x="384" y="611"/>
                  <a:pt x="386" y="611"/>
                </a:cubicBezTo>
                <a:cubicBezTo>
                  <a:pt x="386" y="611"/>
                  <a:pt x="398" y="612"/>
                  <a:pt x="419" y="613"/>
                </a:cubicBezTo>
                <a:cubicBezTo>
                  <a:pt x="420" y="613"/>
                  <a:pt x="426" y="614"/>
                  <a:pt x="437" y="615"/>
                </a:cubicBezTo>
                <a:lnTo>
                  <a:pt x="437" y="615"/>
                </a:lnTo>
                <a:close/>
                <a:moveTo>
                  <a:pt x="414" y="673"/>
                </a:moveTo>
                <a:lnTo>
                  <a:pt x="414" y="673"/>
                </a:lnTo>
                <a:lnTo>
                  <a:pt x="414" y="676"/>
                </a:lnTo>
                <a:cubicBezTo>
                  <a:pt x="414" y="677"/>
                  <a:pt x="415" y="678"/>
                  <a:pt x="416" y="680"/>
                </a:cubicBezTo>
                <a:cubicBezTo>
                  <a:pt x="417" y="682"/>
                  <a:pt x="418" y="683"/>
                  <a:pt x="420" y="683"/>
                </a:cubicBezTo>
                <a:cubicBezTo>
                  <a:pt x="422" y="683"/>
                  <a:pt x="423" y="683"/>
                  <a:pt x="424" y="682"/>
                </a:cubicBezTo>
                <a:cubicBezTo>
                  <a:pt x="425" y="681"/>
                  <a:pt x="426" y="679"/>
                  <a:pt x="427" y="676"/>
                </a:cubicBezTo>
                <a:lnTo>
                  <a:pt x="427" y="675"/>
                </a:lnTo>
                <a:lnTo>
                  <a:pt x="425" y="675"/>
                </a:lnTo>
                <a:cubicBezTo>
                  <a:pt x="420" y="674"/>
                  <a:pt x="417" y="673"/>
                  <a:pt x="414" y="673"/>
                </a:cubicBezTo>
                <a:lnTo>
                  <a:pt x="414" y="67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2" name="Freeform 266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 267"/>
          <p:cNvSpPr/>
          <p:nvPr/>
        </p:nvSpPr>
        <p:spPr bwMode="auto">
          <a:xfrm>
            <a:off x="10172230" y="5059029"/>
            <a:ext cx="847231" cy="588695"/>
          </a:xfrm>
          <a:custGeom>
            <a:avLst/>
            <a:gdLst>
              <a:gd name="T0" fmla="*/ 79 w 811"/>
              <a:gd name="T1" fmla="*/ 78 h 562"/>
              <a:gd name="T2" fmla="*/ 45 w 811"/>
              <a:gd name="T3" fmla="*/ 49 h 562"/>
              <a:gd name="T4" fmla="*/ 34 w 811"/>
              <a:gd name="T5" fmla="*/ 45 h 562"/>
              <a:gd name="T6" fmla="*/ 1 w 811"/>
              <a:gd name="T7" fmla="*/ 111 h 562"/>
              <a:gd name="T8" fmla="*/ 74 w 811"/>
              <a:gd name="T9" fmla="*/ 218 h 562"/>
              <a:gd name="T10" fmla="*/ 67 w 811"/>
              <a:gd name="T11" fmla="*/ 268 h 562"/>
              <a:gd name="T12" fmla="*/ 39 w 811"/>
              <a:gd name="T13" fmla="*/ 291 h 562"/>
              <a:gd name="T14" fmla="*/ 24 w 811"/>
              <a:gd name="T15" fmla="*/ 317 h 562"/>
              <a:gd name="T16" fmla="*/ 34 w 811"/>
              <a:gd name="T17" fmla="*/ 379 h 562"/>
              <a:gd name="T18" fmla="*/ 55 w 811"/>
              <a:gd name="T19" fmla="*/ 426 h 562"/>
              <a:gd name="T20" fmla="*/ 110 w 811"/>
              <a:gd name="T21" fmla="*/ 513 h 562"/>
              <a:gd name="T22" fmla="*/ 112 w 811"/>
              <a:gd name="T23" fmla="*/ 558 h 562"/>
              <a:gd name="T24" fmla="*/ 143 w 811"/>
              <a:gd name="T25" fmla="*/ 559 h 562"/>
              <a:gd name="T26" fmla="*/ 177 w 811"/>
              <a:gd name="T27" fmla="*/ 543 h 562"/>
              <a:gd name="T28" fmla="*/ 226 w 811"/>
              <a:gd name="T29" fmla="*/ 531 h 562"/>
              <a:gd name="T30" fmla="*/ 259 w 811"/>
              <a:gd name="T31" fmla="*/ 515 h 562"/>
              <a:gd name="T32" fmla="*/ 299 w 811"/>
              <a:gd name="T33" fmla="*/ 508 h 562"/>
              <a:gd name="T34" fmla="*/ 325 w 811"/>
              <a:gd name="T35" fmla="*/ 510 h 562"/>
              <a:gd name="T36" fmla="*/ 355 w 811"/>
              <a:gd name="T37" fmla="*/ 531 h 562"/>
              <a:gd name="T38" fmla="*/ 382 w 811"/>
              <a:gd name="T39" fmla="*/ 526 h 562"/>
              <a:gd name="T40" fmla="*/ 442 w 811"/>
              <a:gd name="T41" fmla="*/ 540 h 562"/>
              <a:gd name="T42" fmla="*/ 493 w 811"/>
              <a:gd name="T43" fmla="*/ 527 h 562"/>
              <a:gd name="T44" fmla="*/ 545 w 811"/>
              <a:gd name="T45" fmla="*/ 499 h 562"/>
              <a:gd name="T46" fmla="*/ 545 w 811"/>
              <a:gd name="T47" fmla="*/ 482 h 562"/>
              <a:gd name="T48" fmla="*/ 551 w 811"/>
              <a:gd name="T49" fmla="*/ 446 h 562"/>
              <a:gd name="T50" fmla="*/ 595 w 811"/>
              <a:gd name="T51" fmla="*/ 393 h 562"/>
              <a:gd name="T52" fmla="*/ 667 w 811"/>
              <a:gd name="T53" fmla="*/ 370 h 562"/>
              <a:gd name="T54" fmla="*/ 713 w 811"/>
              <a:gd name="T55" fmla="*/ 383 h 562"/>
              <a:gd name="T56" fmla="*/ 752 w 811"/>
              <a:gd name="T57" fmla="*/ 364 h 562"/>
              <a:gd name="T58" fmla="*/ 759 w 811"/>
              <a:gd name="T59" fmla="*/ 343 h 562"/>
              <a:gd name="T60" fmla="*/ 725 w 811"/>
              <a:gd name="T61" fmla="*/ 305 h 562"/>
              <a:gd name="T62" fmla="*/ 709 w 811"/>
              <a:gd name="T63" fmla="*/ 295 h 562"/>
              <a:gd name="T64" fmla="*/ 690 w 811"/>
              <a:gd name="T65" fmla="*/ 294 h 562"/>
              <a:gd name="T66" fmla="*/ 715 w 811"/>
              <a:gd name="T67" fmla="*/ 255 h 562"/>
              <a:gd name="T68" fmla="*/ 734 w 811"/>
              <a:gd name="T69" fmla="*/ 192 h 562"/>
              <a:gd name="T70" fmla="*/ 754 w 811"/>
              <a:gd name="T71" fmla="*/ 117 h 562"/>
              <a:gd name="T72" fmla="*/ 791 w 811"/>
              <a:gd name="T73" fmla="*/ 110 h 562"/>
              <a:gd name="T74" fmla="*/ 771 w 811"/>
              <a:gd name="T75" fmla="*/ 43 h 562"/>
              <a:gd name="T76" fmla="*/ 691 w 811"/>
              <a:gd name="T77" fmla="*/ 21 h 562"/>
              <a:gd name="T78" fmla="*/ 651 w 811"/>
              <a:gd name="T79" fmla="*/ 14 h 562"/>
              <a:gd name="T80" fmla="*/ 586 w 811"/>
              <a:gd name="T81" fmla="*/ 3 h 562"/>
              <a:gd name="T82" fmla="*/ 474 w 811"/>
              <a:gd name="T83" fmla="*/ 58 h 562"/>
              <a:gd name="T84" fmla="*/ 437 w 811"/>
              <a:gd name="T85" fmla="*/ 101 h 562"/>
              <a:gd name="T86" fmla="*/ 408 w 811"/>
              <a:gd name="T87" fmla="*/ 115 h 562"/>
              <a:gd name="T88" fmla="*/ 357 w 811"/>
              <a:gd name="T89" fmla="*/ 113 h 562"/>
              <a:gd name="T90" fmla="*/ 283 w 811"/>
              <a:gd name="T91" fmla="*/ 107 h 562"/>
              <a:gd name="T92" fmla="*/ 230 w 811"/>
              <a:gd name="T93" fmla="*/ 125 h 562"/>
              <a:gd name="T94" fmla="*/ 168 w 811"/>
              <a:gd name="T95" fmla="*/ 111 h 562"/>
              <a:gd name="T96" fmla="*/ 134 w 811"/>
              <a:gd name="T97" fmla="*/ 106 h 562"/>
              <a:gd name="T98" fmla="*/ 69 w 811"/>
              <a:gd name="T99" fmla="*/ 112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11" h="562">
                <a:moveTo>
                  <a:pt x="62" y="103"/>
                </a:moveTo>
                <a:lnTo>
                  <a:pt x="62" y="103"/>
                </a:lnTo>
                <a:cubicBezTo>
                  <a:pt x="63" y="93"/>
                  <a:pt x="67" y="86"/>
                  <a:pt x="73" y="82"/>
                </a:cubicBezTo>
                <a:cubicBezTo>
                  <a:pt x="76" y="80"/>
                  <a:pt x="78" y="79"/>
                  <a:pt x="79" y="78"/>
                </a:cubicBezTo>
                <a:cubicBezTo>
                  <a:pt x="81" y="77"/>
                  <a:pt x="81" y="75"/>
                  <a:pt x="82" y="74"/>
                </a:cubicBezTo>
                <a:cubicBezTo>
                  <a:pt x="82" y="69"/>
                  <a:pt x="79" y="66"/>
                  <a:pt x="73" y="63"/>
                </a:cubicBezTo>
                <a:cubicBezTo>
                  <a:pt x="65" y="62"/>
                  <a:pt x="60" y="60"/>
                  <a:pt x="56" y="58"/>
                </a:cubicBezTo>
                <a:cubicBezTo>
                  <a:pt x="50" y="54"/>
                  <a:pt x="46" y="51"/>
                  <a:pt x="45" y="49"/>
                </a:cubicBezTo>
                <a:cubicBezTo>
                  <a:pt x="44" y="48"/>
                  <a:pt x="43" y="46"/>
                  <a:pt x="42" y="43"/>
                </a:cubicBezTo>
                <a:cubicBezTo>
                  <a:pt x="41" y="41"/>
                  <a:pt x="40" y="39"/>
                  <a:pt x="38" y="37"/>
                </a:cubicBezTo>
                <a:lnTo>
                  <a:pt x="28" y="36"/>
                </a:lnTo>
                <a:cubicBezTo>
                  <a:pt x="32" y="40"/>
                  <a:pt x="34" y="43"/>
                  <a:pt x="34" y="45"/>
                </a:cubicBezTo>
                <a:cubicBezTo>
                  <a:pt x="33" y="50"/>
                  <a:pt x="32" y="59"/>
                  <a:pt x="29" y="73"/>
                </a:cubicBezTo>
                <a:cubicBezTo>
                  <a:pt x="29" y="75"/>
                  <a:pt x="27" y="76"/>
                  <a:pt x="25" y="78"/>
                </a:cubicBezTo>
                <a:cubicBezTo>
                  <a:pt x="23" y="79"/>
                  <a:pt x="20" y="81"/>
                  <a:pt x="16" y="83"/>
                </a:cubicBezTo>
                <a:cubicBezTo>
                  <a:pt x="8" y="89"/>
                  <a:pt x="2" y="98"/>
                  <a:pt x="1" y="111"/>
                </a:cubicBezTo>
                <a:cubicBezTo>
                  <a:pt x="0" y="124"/>
                  <a:pt x="9" y="148"/>
                  <a:pt x="29" y="185"/>
                </a:cubicBezTo>
                <a:cubicBezTo>
                  <a:pt x="32" y="187"/>
                  <a:pt x="39" y="190"/>
                  <a:pt x="49" y="193"/>
                </a:cubicBezTo>
                <a:cubicBezTo>
                  <a:pt x="57" y="196"/>
                  <a:pt x="63" y="199"/>
                  <a:pt x="65" y="203"/>
                </a:cubicBezTo>
                <a:cubicBezTo>
                  <a:pt x="69" y="211"/>
                  <a:pt x="72" y="216"/>
                  <a:pt x="74" y="218"/>
                </a:cubicBezTo>
                <a:cubicBezTo>
                  <a:pt x="79" y="224"/>
                  <a:pt x="85" y="228"/>
                  <a:pt x="91" y="228"/>
                </a:cubicBezTo>
                <a:lnTo>
                  <a:pt x="90" y="240"/>
                </a:lnTo>
                <a:cubicBezTo>
                  <a:pt x="87" y="244"/>
                  <a:pt x="84" y="249"/>
                  <a:pt x="79" y="254"/>
                </a:cubicBezTo>
                <a:cubicBezTo>
                  <a:pt x="76" y="258"/>
                  <a:pt x="72" y="262"/>
                  <a:pt x="67" y="268"/>
                </a:cubicBezTo>
                <a:cubicBezTo>
                  <a:pt x="67" y="277"/>
                  <a:pt x="63" y="283"/>
                  <a:pt x="56" y="286"/>
                </a:cubicBezTo>
                <a:cubicBezTo>
                  <a:pt x="52" y="287"/>
                  <a:pt x="46" y="288"/>
                  <a:pt x="35" y="289"/>
                </a:cubicBezTo>
                <a:lnTo>
                  <a:pt x="35" y="292"/>
                </a:lnTo>
                <a:cubicBezTo>
                  <a:pt x="37" y="292"/>
                  <a:pt x="38" y="291"/>
                  <a:pt x="39" y="291"/>
                </a:cubicBezTo>
                <a:cubicBezTo>
                  <a:pt x="38" y="291"/>
                  <a:pt x="37" y="292"/>
                  <a:pt x="35" y="292"/>
                </a:cubicBezTo>
                <a:cubicBezTo>
                  <a:pt x="33" y="293"/>
                  <a:pt x="30" y="294"/>
                  <a:pt x="28" y="296"/>
                </a:cubicBezTo>
                <a:cubicBezTo>
                  <a:pt x="23" y="299"/>
                  <a:pt x="21" y="301"/>
                  <a:pt x="21" y="303"/>
                </a:cubicBezTo>
                <a:cubicBezTo>
                  <a:pt x="21" y="304"/>
                  <a:pt x="22" y="308"/>
                  <a:pt x="24" y="317"/>
                </a:cubicBezTo>
                <a:cubicBezTo>
                  <a:pt x="26" y="327"/>
                  <a:pt x="27" y="333"/>
                  <a:pt x="27" y="338"/>
                </a:cubicBezTo>
                <a:cubicBezTo>
                  <a:pt x="27" y="340"/>
                  <a:pt x="29" y="345"/>
                  <a:pt x="35" y="352"/>
                </a:cubicBezTo>
                <a:cubicBezTo>
                  <a:pt x="40" y="359"/>
                  <a:pt x="42" y="363"/>
                  <a:pt x="42" y="366"/>
                </a:cubicBezTo>
                <a:cubicBezTo>
                  <a:pt x="41" y="371"/>
                  <a:pt x="39" y="375"/>
                  <a:pt x="34" y="379"/>
                </a:cubicBezTo>
                <a:cubicBezTo>
                  <a:pt x="28" y="383"/>
                  <a:pt x="25" y="388"/>
                  <a:pt x="25" y="393"/>
                </a:cubicBezTo>
                <a:lnTo>
                  <a:pt x="25" y="393"/>
                </a:lnTo>
                <a:cubicBezTo>
                  <a:pt x="28" y="395"/>
                  <a:pt x="33" y="401"/>
                  <a:pt x="38" y="409"/>
                </a:cubicBezTo>
                <a:cubicBezTo>
                  <a:pt x="43" y="418"/>
                  <a:pt x="49" y="423"/>
                  <a:pt x="55" y="426"/>
                </a:cubicBezTo>
                <a:cubicBezTo>
                  <a:pt x="60" y="428"/>
                  <a:pt x="68" y="431"/>
                  <a:pt x="80" y="434"/>
                </a:cubicBezTo>
                <a:cubicBezTo>
                  <a:pt x="89" y="438"/>
                  <a:pt x="95" y="443"/>
                  <a:pt x="97" y="449"/>
                </a:cubicBezTo>
                <a:cubicBezTo>
                  <a:pt x="100" y="462"/>
                  <a:pt x="104" y="478"/>
                  <a:pt x="110" y="498"/>
                </a:cubicBezTo>
                <a:cubicBezTo>
                  <a:pt x="110" y="501"/>
                  <a:pt x="110" y="506"/>
                  <a:pt x="110" y="513"/>
                </a:cubicBezTo>
                <a:cubicBezTo>
                  <a:pt x="109" y="519"/>
                  <a:pt x="109" y="525"/>
                  <a:pt x="110" y="528"/>
                </a:cubicBezTo>
                <a:cubicBezTo>
                  <a:pt x="110" y="532"/>
                  <a:pt x="111" y="536"/>
                  <a:pt x="113" y="541"/>
                </a:cubicBezTo>
                <a:cubicBezTo>
                  <a:pt x="113" y="544"/>
                  <a:pt x="113" y="548"/>
                  <a:pt x="113" y="553"/>
                </a:cubicBezTo>
                <a:cubicBezTo>
                  <a:pt x="113" y="555"/>
                  <a:pt x="112" y="557"/>
                  <a:pt x="112" y="558"/>
                </a:cubicBezTo>
                <a:lnTo>
                  <a:pt x="112" y="558"/>
                </a:lnTo>
                <a:lnTo>
                  <a:pt x="117" y="559"/>
                </a:lnTo>
                <a:cubicBezTo>
                  <a:pt x="121" y="560"/>
                  <a:pt x="125" y="561"/>
                  <a:pt x="127" y="561"/>
                </a:cubicBezTo>
                <a:cubicBezTo>
                  <a:pt x="136" y="562"/>
                  <a:pt x="141" y="561"/>
                  <a:pt x="143" y="559"/>
                </a:cubicBezTo>
                <a:cubicBezTo>
                  <a:pt x="146" y="555"/>
                  <a:pt x="150" y="550"/>
                  <a:pt x="156" y="545"/>
                </a:cubicBezTo>
                <a:lnTo>
                  <a:pt x="167" y="551"/>
                </a:lnTo>
                <a:cubicBezTo>
                  <a:pt x="168" y="551"/>
                  <a:pt x="169" y="549"/>
                  <a:pt x="172" y="546"/>
                </a:cubicBezTo>
                <a:cubicBezTo>
                  <a:pt x="173" y="544"/>
                  <a:pt x="175" y="543"/>
                  <a:pt x="177" y="543"/>
                </a:cubicBezTo>
                <a:cubicBezTo>
                  <a:pt x="181" y="544"/>
                  <a:pt x="186" y="544"/>
                  <a:pt x="194" y="545"/>
                </a:cubicBezTo>
                <a:cubicBezTo>
                  <a:pt x="198" y="545"/>
                  <a:pt x="203" y="543"/>
                  <a:pt x="208" y="540"/>
                </a:cubicBezTo>
                <a:cubicBezTo>
                  <a:pt x="212" y="536"/>
                  <a:pt x="216" y="536"/>
                  <a:pt x="221" y="539"/>
                </a:cubicBezTo>
                <a:cubicBezTo>
                  <a:pt x="221" y="536"/>
                  <a:pt x="223" y="533"/>
                  <a:pt x="226" y="531"/>
                </a:cubicBezTo>
                <a:cubicBezTo>
                  <a:pt x="227" y="530"/>
                  <a:pt x="231" y="529"/>
                  <a:pt x="236" y="528"/>
                </a:cubicBezTo>
                <a:cubicBezTo>
                  <a:pt x="236" y="528"/>
                  <a:pt x="239" y="528"/>
                  <a:pt x="246" y="528"/>
                </a:cubicBezTo>
                <a:cubicBezTo>
                  <a:pt x="250" y="528"/>
                  <a:pt x="253" y="526"/>
                  <a:pt x="254" y="523"/>
                </a:cubicBezTo>
                <a:cubicBezTo>
                  <a:pt x="257" y="518"/>
                  <a:pt x="259" y="515"/>
                  <a:pt x="259" y="515"/>
                </a:cubicBezTo>
                <a:cubicBezTo>
                  <a:pt x="261" y="511"/>
                  <a:pt x="264" y="509"/>
                  <a:pt x="266" y="509"/>
                </a:cubicBezTo>
                <a:cubicBezTo>
                  <a:pt x="269" y="509"/>
                  <a:pt x="275" y="507"/>
                  <a:pt x="284" y="504"/>
                </a:cubicBezTo>
                <a:cubicBezTo>
                  <a:pt x="288" y="505"/>
                  <a:pt x="291" y="507"/>
                  <a:pt x="295" y="512"/>
                </a:cubicBezTo>
                <a:cubicBezTo>
                  <a:pt x="296" y="510"/>
                  <a:pt x="298" y="509"/>
                  <a:pt x="299" y="508"/>
                </a:cubicBezTo>
                <a:cubicBezTo>
                  <a:pt x="299" y="508"/>
                  <a:pt x="301" y="508"/>
                  <a:pt x="303" y="509"/>
                </a:cubicBezTo>
                <a:cubicBezTo>
                  <a:pt x="307" y="509"/>
                  <a:pt x="309" y="508"/>
                  <a:pt x="311" y="507"/>
                </a:cubicBezTo>
                <a:cubicBezTo>
                  <a:pt x="314" y="504"/>
                  <a:pt x="317" y="502"/>
                  <a:pt x="319" y="500"/>
                </a:cubicBezTo>
                <a:cubicBezTo>
                  <a:pt x="319" y="501"/>
                  <a:pt x="321" y="504"/>
                  <a:pt x="325" y="510"/>
                </a:cubicBezTo>
                <a:cubicBezTo>
                  <a:pt x="329" y="515"/>
                  <a:pt x="332" y="519"/>
                  <a:pt x="335" y="520"/>
                </a:cubicBezTo>
                <a:cubicBezTo>
                  <a:pt x="337" y="522"/>
                  <a:pt x="340" y="523"/>
                  <a:pt x="342" y="523"/>
                </a:cubicBezTo>
                <a:cubicBezTo>
                  <a:pt x="346" y="524"/>
                  <a:pt x="348" y="525"/>
                  <a:pt x="350" y="526"/>
                </a:cubicBezTo>
                <a:cubicBezTo>
                  <a:pt x="350" y="526"/>
                  <a:pt x="352" y="528"/>
                  <a:pt x="355" y="531"/>
                </a:cubicBezTo>
                <a:cubicBezTo>
                  <a:pt x="358" y="533"/>
                  <a:pt x="360" y="535"/>
                  <a:pt x="361" y="535"/>
                </a:cubicBezTo>
                <a:cubicBezTo>
                  <a:pt x="363" y="535"/>
                  <a:pt x="364" y="534"/>
                  <a:pt x="364" y="531"/>
                </a:cubicBezTo>
                <a:cubicBezTo>
                  <a:pt x="365" y="528"/>
                  <a:pt x="366" y="526"/>
                  <a:pt x="369" y="526"/>
                </a:cubicBezTo>
                <a:lnTo>
                  <a:pt x="382" y="526"/>
                </a:lnTo>
                <a:cubicBezTo>
                  <a:pt x="394" y="528"/>
                  <a:pt x="404" y="531"/>
                  <a:pt x="411" y="536"/>
                </a:cubicBezTo>
                <a:cubicBezTo>
                  <a:pt x="413" y="537"/>
                  <a:pt x="415" y="539"/>
                  <a:pt x="418" y="542"/>
                </a:cubicBezTo>
                <a:cubicBezTo>
                  <a:pt x="420" y="543"/>
                  <a:pt x="423" y="544"/>
                  <a:pt x="425" y="544"/>
                </a:cubicBezTo>
                <a:cubicBezTo>
                  <a:pt x="429" y="545"/>
                  <a:pt x="435" y="543"/>
                  <a:pt x="442" y="540"/>
                </a:cubicBezTo>
                <a:cubicBezTo>
                  <a:pt x="449" y="536"/>
                  <a:pt x="455" y="534"/>
                  <a:pt x="460" y="535"/>
                </a:cubicBezTo>
                <a:cubicBezTo>
                  <a:pt x="461" y="535"/>
                  <a:pt x="465" y="534"/>
                  <a:pt x="471" y="531"/>
                </a:cubicBezTo>
                <a:cubicBezTo>
                  <a:pt x="473" y="530"/>
                  <a:pt x="478" y="531"/>
                  <a:pt x="484" y="531"/>
                </a:cubicBezTo>
                <a:cubicBezTo>
                  <a:pt x="485" y="532"/>
                  <a:pt x="488" y="530"/>
                  <a:pt x="493" y="527"/>
                </a:cubicBezTo>
                <a:cubicBezTo>
                  <a:pt x="498" y="524"/>
                  <a:pt x="502" y="522"/>
                  <a:pt x="504" y="523"/>
                </a:cubicBezTo>
                <a:cubicBezTo>
                  <a:pt x="505" y="523"/>
                  <a:pt x="507" y="523"/>
                  <a:pt x="510" y="525"/>
                </a:cubicBezTo>
                <a:cubicBezTo>
                  <a:pt x="513" y="525"/>
                  <a:pt x="519" y="521"/>
                  <a:pt x="530" y="514"/>
                </a:cubicBezTo>
                <a:cubicBezTo>
                  <a:pt x="539" y="510"/>
                  <a:pt x="544" y="505"/>
                  <a:pt x="545" y="499"/>
                </a:cubicBezTo>
                <a:cubicBezTo>
                  <a:pt x="544" y="497"/>
                  <a:pt x="544" y="495"/>
                  <a:pt x="543" y="494"/>
                </a:cubicBezTo>
                <a:cubicBezTo>
                  <a:pt x="543" y="494"/>
                  <a:pt x="543" y="494"/>
                  <a:pt x="543" y="493"/>
                </a:cubicBezTo>
                <a:cubicBezTo>
                  <a:pt x="542" y="492"/>
                  <a:pt x="542" y="490"/>
                  <a:pt x="542" y="489"/>
                </a:cubicBezTo>
                <a:cubicBezTo>
                  <a:pt x="543" y="486"/>
                  <a:pt x="545" y="484"/>
                  <a:pt x="545" y="482"/>
                </a:cubicBezTo>
                <a:cubicBezTo>
                  <a:pt x="531" y="467"/>
                  <a:pt x="525" y="458"/>
                  <a:pt x="525" y="454"/>
                </a:cubicBezTo>
                <a:cubicBezTo>
                  <a:pt x="526" y="452"/>
                  <a:pt x="527" y="449"/>
                  <a:pt x="531" y="446"/>
                </a:cubicBezTo>
                <a:cubicBezTo>
                  <a:pt x="535" y="443"/>
                  <a:pt x="538" y="442"/>
                  <a:pt x="541" y="442"/>
                </a:cubicBezTo>
                <a:cubicBezTo>
                  <a:pt x="542" y="443"/>
                  <a:pt x="546" y="444"/>
                  <a:pt x="551" y="446"/>
                </a:cubicBezTo>
                <a:cubicBezTo>
                  <a:pt x="553" y="446"/>
                  <a:pt x="554" y="447"/>
                  <a:pt x="556" y="447"/>
                </a:cubicBezTo>
                <a:cubicBezTo>
                  <a:pt x="558" y="440"/>
                  <a:pt x="560" y="435"/>
                  <a:pt x="564" y="430"/>
                </a:cubicBezTo>
                <a:cubicBezTo>
                  <a:pt x="570" y="423"/>
                  <a:pt x="577" y="419"/>
                  <a:pt x="585" y="418"/>
                </a:cubicBezTo>
                <a:cubicBezTo>
                  <a:pt x="581" y="405"/>
                  <a:pt x="584" y="396"/>
                  <a:pt x="595" y="393"/>
                </a:cubicBezTo>
                <a:cubicBezTo>
                  <a:pt x="600" y="391"/>
                  <a:pt x="609" y="389"/>
                  <a:pt x="622" y="388"/>
                </a:cubicBezTo>
                <a:cubicBezTo>
                  <a:pt x="626" y="387"/>
                  <a:pt x="629" y="386"/>
                  <a:pt x="633" y="383"/>
                </a:cubicBezTo>
                <a:cubicBezTo>
                  <a:pt x="637" y="379"/>
                  <a:pt x="639" y="377"/>
                  <a:pt x="641" y="375"/>
                </a:cubicBezTo>
                <a:cubicBezTo>
                  <a:pt x="648" y="369"/>
                  <a:pt x="657" y="367"/>
                  <a:pt x="667" y="370"/>
                </a:cubicBezTo>
                <a:cubicBezTo>
                  <a:pt x="666" y="367"/>
                  <a:pt x="667" y="366"/>
                  <a:pt x="669" y="364"/>
                </a:cubicBezTo>
                <a:cubicBezTo>
                  <a:pt x="671" y="363"/>
                  <a:pt x="674" y="362"/>
                  <a:pt x="677" y="363"/>
                </a:cubicBezTo>
                <a:cubicBezTo>
                  <a:pt x="682" y="363"/>
                  <a:pt x="688" y="366"/>
                  <a:pt x="693" y="373"/>
                </a:cubicBezTo>
                <a:cubicBezTo>
                  <a:pt x="698" y="379"/>
                  <a:pt x="705" y="382"/>
                  <a:pt x="713" y="383"/>
                </a:cubicBezTo>
                <a:cubicBezTo>
                  <a:pt x="717" y="384"/>
                  <a:pt x="721" y="383"/>
                  <a:pt x="725" y="381"/>
                </a:cubicBezTo>
                <a:cubicBezTo>
                  <a:pt x="730" y="378"/>
                  <a:pt x="733" y="376"/>
                  <a:pt x="734" y="376"/>
                </a:cubicBezTo>
                <a:cubicBezTo>
                  <a:pt x="737" y="375"/>
                  <a:pt x="742" y="375"/>
                  <a:pt x="748" y="374"/>
                </a:cubicBezTo>
                <a:cubicBezTo>
                  <a:pt x="753" y="373"/>
                  <a:pt x="754" y="370"/>
                  <a:pt x="752" y="364"/>
                </a:cubicBezTo>
                <a:cubicBezTo>
                  <a:pt x="755" y="364"/>
                  <a:pt x="760" y="365"/>
                  <a:pt x="766" y="366"/>
                </a:cubicBezTo>
                <a:cubicBezTo>
                  <a:pt x="771" y="367"/>
                  <a:pt x="775" y="367"/>
                  <a:pt x="779" y="366"/>
                </a:cubicBezTo>
                <a:cubicBezTo>
                  <a:pt x="778" y="365"/>
                  <a:pt x="777" y="363"/>
                  <a:pt x="776" y="362"/>
                </a:cubicBezTo>
                <a:cubicBezTo>
                  <a:pt x="773" y="357"/>
                  <a:pt x="767" y="351"/>
                  <a:pt x="759" y="343"/>
                </a:cubicBezTo>
                <a:cubicBezTo>
                  <a:pt x="749" y="334"/>
                  <a:pt x="744" y="328"/>
                  <a:pt x="741" y="325"/>
                </a:cubicBezTo>
                <a:cubicBezTo>
                  <a:pt x="736" y="319"/>
                  <a:pt x="733" y="313"/>
                  <a:pt x="734" y="308"/>
                </a:cubicBezTo>
                <a:cubicBezTo>
                  <a:pt x="733" y="307"/>
                  <a:pt x="732" y="307"/>
                  <a:pt x="730" y="306"/>
                </a:cubicBezTo>
                <a:cubicBezTo>
                  <a:pt x="727" y="306"/>
                  <a:pt x="725" y="306"/>
                  <a:pt x="725" y="305"/>
                </a:cubicBezTo>
                <a:cubicBezTo>
                  <a:pt x="723" y="304"/>
                  <a:pt x="724" y="302"/>
                  <a:pt x="725" y="298"/>
                </a:cubicBezTo>
                <a:cubicBezTo>
                  <a:pt x="724" y="297"/>
                  <a:pt x="723" y="296"/>
                  <a:pt x="722" y="296"/>
                </a:cubicBezTo>
                <a:cubicBezTo>
                  <a:pt x="719" y="297"/>
                  <a:pt x="717" y="298"/>
                  <a:pt x="715" y="298"/>
                </a:cubicBezTo>
                <a:cubicBezTo>
                  <a:pt x="714" y="297"/>
                  <a:pt x="712" y="297"/>
                  <a:pt x="709" y="295"/>
                </a:cubicBezTo>
                <a:cubicBezTo>
                  <a:pt x="707" y="293"/>
                  <a:pt x="704" y="292"/>
                  <a:pt x="702" y="292"/>
                </a:cubicBezTo>
                <a:cubicBezTo>
                  <a:pt x="701" y="292"/>
                  <a:pt x="699" y="294"/>
                  <a:pt x="698" y="298"/>
                </a:cubicBezTo>
                <a:cubicBezTo>
                  <a:pt x="696" y="301"/>
                  <a:pt x="694" y="302"/>
                  <a:pt x="691" y="300"/>
                </a:cubicBezTo>
                <a:cubicBezTo>
                  <a:pt x="690" y="298"/>
                  <a:pt x="690" y="296"/>
                  <a:pt x="690" y="294"/>
                </a:cubicBezTo>
                <a:cubicBezTo>
                  <a:pt x="691" y="290"/>
                  <a:pt x="693" y="286"/>
                  <a:pt x="697" y="281"/>
                </a:cubicBezTo>
                <a:cubicBezTo>
                  <a:pt x="702" y="275"/>
                  <a:pt x="707" y="272"/>
                  <a:pt x="712" y="273"/>
                </a:cubicBezTo>
                <a:cubicBezTo>
                  <a:pt x="711" y="269"/>
                  <a:pt x="711" y="266"/>
                  <a:pt x="711" y="265"/>
                </a:cubicBezTo>
                <a:cubicBezTo>
                  <a:pt x="712" y="261"/>
                  <a:pt x="713" y="258"/>
                  <a:pt x="715" y="255"/>
                </a:cubicBezTo>
                <a:cubicBezTo>
                  <a:pt x="718" y="251"/>
                  <a:pt x="720" y="248"/>
                  <a:pt x="722" y="245"/>
                </a:cubicBezTo>
                <a:cubicBezTo>
                  <a:pt x="724" y="244"/>
                  <a:pt x="728" y="243"/>
                  <a:pt x="734" y="243"/>
                </a:cubicBezTo>
                <a:cubicBezTo>
                  <a:pt x="737" y="243"/>
                  <a:pt x="739" y="240"/>
                  <a:pt x="740" y="235"/>
                </a:cubicBezTo>
                <a:cubicBezTo>
                  <a:pt x="736" y="215"/>
                  <a:pt x="734" y="201"/>
                  <a:pt x="734" y="192"/>
                </a:cubicBezTo>
                <a:cubicBezTo>
                  <a:pt x="733" y="165"/>
                  <a:pt x="733" y="151"/>
                  <a:pt x="733" y="151"/>
                </a:cubicBezTo>
                <a:cubicBezTo>
                  <a:pt x="733" y="150"/>
                  <a:pt x="736" y="147"/>
                  <a:pt x="741" y="142"/>
                </a:cubicBezTo>
                <a:cubicBezTo>
                  <a:pt x="747" y="138"/>
                  <a:pt x="750" y="132"/>
                  <a:pt x="752" y="126"/>
                </a:cubicBezTo>
                <a:cubicBezTo>
                  <a:pt x="753" y="122"/>
                  <a:pt x="753" y="119"/>
                  <a:pt x="754" y="117"/>
                </a:cubicBezTo>
                <a:cubicBezTo>
                  <a:pt x="755" y="115"/>
                  <a:pt x="758" y="113"/>
                  <a:pt x="762" y="112"/>
                </a:cubicBezTo>
                <a:cubicBezTo>
                  <a:pt x="762" y="112"/>
                  <a:pt x="766" y="111"/>
                  <a:pt x="771" y="108"/>
                </a:cubicBezTo>
                <a:cubicBezTo>
                  <a:pt x="774" y="107"/>
                  <a:pt x="777" y="106"/>
                  <a:pt x="781" y="107"/>
                </a:cubicBezTo>
                <a:cubicBezTo>
                  <a:pt x="782" y="107"/>
                  <a:pt x="786" y="108"/>
                  <a:pt x="791" y="110"/>
                </a:cubicBezTo>
                <a:cubicBezTo>
                  <a:pt x="794" y="110"/>
                  <a:pt x="798" y="107"/>
                  <a:pt x="803" y="101"/>
                </a:cubicBezTo>
                <a:cubicBezTo>
                  <a:pt x="808" y="94"/>
                  <a:pt x="810" y="89"/>
                  <a:pt x="811" y="84"/>
                </a:cubicBezTo>
                <a:cubicBezTo>
                  <a:pt x="805" y="64"/>
                  <a:pt x="801" y="49"/>
                  <a:pt x="799" y="40"/>
                </a:cubicBezTo>
                <a:cubicBezTo>
                  <a:pt x="787" y="42"/>
                  <a:pt x="777" y="43"/>
                  <a:pt x="771" y="43"/>
                </a:cubicBezTo>
                <a:cubicBezTo>
                  <a:pt x="764" y="42"/>
                  <a:pt x="752" y="40"/>
                  <a:pt x="736" y="36"/>
                </a:cubicBezTo>
                <a:cubicBezTo>
                  <a:pt x="727" y="35"/>
                  <a:pt x="719" y="27"/>
                  <a:pt x="713" y="13"/>
                </a:cubicBezTo>
                <a:lnTo>
                  <a:pt x="708" y="12"/>
                </a:lnTo>
                <a:cubicBezTo>
                  <a:pt x="699" y="18"/>
                  <a:pt x="693" y="21"/>
                  <a:pt x="691" y="21"/>
                </a:cubicBezTo>
                <a:cubicBezTo>
                  <a:pt x="689" y="21"/>
                  <a:pt x="687" y="19"/>
                  <a:pt x="684" y="16"/>
                </a:cubicBezTo>
                <a:cubicBezTo>
                  <a:pt x="682" y="12"/>
                  <a:pt x="679" y="10"/>
                  <a:pt x="678" y="10"/>
                </a:cubicBezTo>
                <a:cubicBezTo>
                  <a:pt x="675" y="10"/>
                  <a:pt x="670" y="10"/>
                  <a:pt x="664" y="12"/>
                </a:cubicBezTo>
                <a:cubicBezTo>
                  <a:pt x="658" y="14"/>
                  <a:pt x="653" y="14"/>
                  <a:pt x="651" y="14"/>
                </a:cubicBezTo>
                <a:cubicBezTo>
                  <a:pt x="645" y="13"/>
                  <a:pt x="640" y="11"/>
                  <a:pt x="636" y="8"/>
                </a:cubicBezTo>
                <a:cubicBezTo>
                  <a:pt x="632" y="4"/>
                  <a:pt x="628" y="2"/>
                  <a:pt x="625" y="0"/>
                </a:cubicBezTo>
                <a:cubicBezTo>
                  <a:pt x="621" y="2"/>
                  <a:pt x="616" y="3"/>
                  <a:pt x="610" y="3"/>
                </a:cubicBezTo>
                <a:cubicBezTo>
                  <a:pt x="594" y="3"/>
                  <a:pt x="586" y="3"/>
                  <a:pt x="586" y="3"/>
                </a:cubicBezTo>
                <a:cubicBezTo>
                  <a:pt x="581" y="3"/>
                  <a:pt x="574" y="6"/>
                  <a:pt x="566" y="11"/>
                </a:cubicBezTo>
                <a:cubicBezTo>
                  <a:pt x="558" y="16"/>
                  <a:pt x="551" y="19"/>
                  <a:pt x="546" y="20"/>
                </a:cubicBezTo>
                <a:cubicBezTo>
                  <a:pt x="515" y="26"/>
                  <a:pt x="491" y="38"/>
                  <a:pt x="475" y="55"/>
                </a:cubicBezTo>
                <a:cubicBezTo>
                  <a:pt x="475" y="56"/>
                  <a:pt x="474" y="57"/>
                  <a:pt x="474" y="58"/>
                </a:cubicBezTo>
                <a:cubicBezTo>
                  <a:pt x="471" y="62"/>
                  <a:pt x="467" y="68"/>
                  <a:pt x="461" y="77"/>
                </a:cubicBezTo>
                <a:lnTo>
                  <a:pt x="453" y="88"/>
                </a:lnTo>
                <a:cubicBezTo>
                  <a:pt x="448" y="95"/>
                  <a:pt x="445" y="99"/>
                  <a:pt x="443" y="98"/>
                </a:cubicBezTo>
                <a:cubicBezTo>
                  <a:pt x="442" y="100"/>
                  <a:pt x="440" y="101"/>
                  <a:pt x="437" y="101"/>
                </a:cubicBezTo>
                <a:cubicBezTo>
                  <a:pt x="434" y="102"/>
                  <a:pt x="432" y="102"/>
                  <a:pt x="431" y="103"/>
                </a:cubicBezTo>
                <a:lnTo>
                  <a:pt x="421" y="112"/>
                </a:lnTo>
                <a:cubicBezTo>
                  <a:pt x="420" y="114"/>
                  <a:pt x="418" y="115"/>
                  <a:pt x="415" y="115"/>
                </a:cubicBezTo>
                <a:cubicBezTo>
                  <a:pt x="412" y="115"/>
                  <a:pt x="410" y="115"/>
                  <a:pt x="408" y="115"/>
                </a:cubicBezTo>
                <a:cubicBezTo>
                  <a:pt x="406" y="115"/>
                  <a:pt x="404" y="116"/>
                  <a:pt x="401" y="118"/>
                </a:cubicBezTo>
                <a:cubicBezTo>
                  <a:pt x="398" y="119"/>
                  <a:pt x="396" y="119"/>
                  <a:pt x="395" y="119"/>
                </a:cubicBezTo>
                <a:cubicBezTo>
                  <a:pt x="382" y="114"/>
                  <a:pt x="375" y="111"/>
                  <a:pt x="373" y="111"/>
                </a:cubicBezTo>
                <a:cubicBezTo>
                  <a:pt x="365" y="112"/>
                  <a:pt x="359" y="113"/>
                  <a:pt x="357" y="113"/>
                </a:cubicBezTo>
                <a:cubicBezTo>
                  <a:pt x="355" y="113"/>
                  <a:pt x="350" y="111"/>
                  <a:pt x="340" y="107"/>
                </a:cubicBezTo>
                <a:cubicBezTo>
                  <a:pt x="339" y="107"/>
                  <a:pt x="333" y="108"/>
                  <a:pt x="322" y="111"/>
                </a:cubicBezTo>
                <a:cubicBezTo>
                  <a:pt x="314" y="113"/>
                  <a:pt x="308" y="115"/>
                  <a:pt x="305" y="114"/>
                </a:cubicBezTo>
                <a:cubicBezTo>
                  <a:pt x="295" y="110"/>
                  <a:pt x="288" y="108"/>
                  <a:pt x="283" y="107"/>
                </a:cubicBezTo>
                <a:cubicBezTo>
                  <a:pt x="279" y="107"/>
                  <a:pt x="274" y="108"/>
                  <a:pt x="268" y="112"/>
                </a:cubicBezTo>
                <a:cubicBezTo>
                  <a:pt x="265" y="114"/>
                  <a:pt x="261" y="116"/>
                  <a:pt x="257" y="119"/>
                </a:cubicBezTo>
                <a:cubicBezTo>
                  <a:pt x="255" y="120"/>
                  <a:pt x="251" y="121"/>
                  <a:pt x="244" y="123"/>
                </a:cubicBezTo>
                <a:cubicBezTo>
                  <a:pt x="237" y="125"/>
                  <a:pt x="232" y="126"/>
                  <a:pt x="230" y="125"/>
                </a:cubicBezTo>
                <a:cubicBezTo>
                  <a:pt x="227" y="125"/>
                  <a:pt x="222" y="123"/>
                  <a:pt x="214" y="120"/>
                </a:cubicBezTo>
                <a:cubicBezTo>
                  <a:pt x="208" y="117"/>
                  <a:pt x="202" y="116"/>
                  <a:pt x="198" y="115"/>
                </a:cubicBezTo>
                <a:cubicBezTo>
                  <a:pt x="183" y="111"/>
                  <a:pt x="176" y="110"/>
                  <a:pt x="176" y="110"/>
                </a:cubicBezTo>
                <a:cubicBezTo>
                  <a:pt x="173" y="109"/>
                  <a:pt x="171" y="110"/>
                  <a:pt x="168" y="111"/>
                </a:cubicBezTo>
                <a:cubicBezTo>
                  <a:pt x="165" y="113"/>
                  <a:pt x="163" y="113"/>
                  <a:pt x="160" y="113"/>
                </a:cubicBezTo>
                <a:cubicBezTo>
                  <a:pt x="158" y="113"/>
                  <a:pt x="155" y="111"/>
                  <a:pt x="151" y="109"/>
                </a:cubicBezTo>
                <a:cubicBezTo>
                  <a:pt x="148" y="107"/>
                  <a:pt x="145" y="106"/>
                  <a:pt x="142" y="105"/>
                </a:cubicBezTo>
                <a:cubicBezTo>
                  <a:pt x="137" y="106"/>
                  <a:pt x="134" y="106"/>
                  <a:pt x="134" y="106"/>
                </a:cubicBezTo>
                <a:cubicBezTo>
                  <a:pt x="125" y="105"/>
                  <a:pt x="117" y="106"/>
                  <a:pt x="108" y="111"/>
                </a:cubicBezTo>
                <a:cubicBezTo>
                  <a:pt x="99" y="115"/>
                  <a:pt x="94" y="117"/>
                  <a:pt x="91" y="116"/>
                </a:cubicBezTo>
                <a:cubicBezTo>
                  <a:pt x="90" y="116"/>
                  <a:pt x="84" y="115"/>
                  <a:pt x="73" y="113"/>
                </a:cubicBezTo>
                <a:cubicBezTo>
                  <a:pt x="71" y="113"/>
                  <a:pt x="70" y="113"/>
                  <a:pt x="69" y="112"/>
                </a:cubicBezTo>
                <a:cubicBezTo>
                  <a:pt x="67" y="113"/>
                  <a:pt x="66" y="112"/>
                  <a:pt x="65" y="111"/>
                </a:cubicBezTo>
                <a:cubicBezTo>
                  <a:pt x="63" y="109"/>
                  <a:pt x="62" y="106"/>
                  <a:pt x="62" y="103"/>
                </a:cubicBezTo>
                <a:lnTo>
                  <a:pt x="62" y="103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 268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 269"/>
          <p:cNvSpPr/>
          <p:nvPr/>
        </p:nvSpPr>
        <p:spPr bwMode="auto">
          <a:xfrm>
            <a:off x="9279582" y="4941990"/>
            <a:ext cx="517072" cy="506591"/>
          </a:xfrm>
          <a:custGeom>
            <a:avLst/>
            <a:gdLst>
              <a:gd name="T0" fmla="*/ 92 w 494"/>
              <a:gd name="T1" fmla="*/ 15 h 486"/>
              <a:gd name="T2" fmla="*/ 73 w 494"/>
              <a:gd name="T3" fmla="*/ 48 h 486"/>
              <a:gd name="T4" fmla="*/ 34 w 494"/>
              <a:gd name="T5" fmla="*/ 7 h 486"/>
              <a:gd name="T6" fmla="*/ 0 w 494"/>
              <a:gd name="T7" fmla="*/ 60 h 486"/>
              <a:gd name="T8" fmla="*/ 2 w 494"/>
              <a:gd name="T9" fmla="*/ 83 h 486"/>
              <a:gd name="T10" fmla="*/ 37 w 494"/>
              <a:gd name="T11" fmla="*/ 124 h 486"/>
              <a:gd name="T12" fmla="*/ 51 w 494"/>
              <a:gd name="T13" fmla="*/ 146 h 486"/>
              <a:gd name="T14" fmla="*/ 61 w 494"/>
              <a:gd name="T15" fmla="*/ 165 h 486"/>
              <a:gd name="T16" fmla="*/ 58 w 494"/>
              <a:gd name="T17" fmla="*/ 183 h 486"/>
              <a:gd name="T18" fmla="*/ 73 w 494"/>
              <a:gd name="T19" fmla="*/ 209 h 486"/>
              <a:gd name="T20" fmla="*/ 94 w 494"/>
              <a:gd name="T21" fmla="*/ 228 h 486"/>
              <a:gd name="T22" fmla="*/ 117 w 494"/>
              <a:gd name="T23" fmla="*/ 248 h 486"/>
              <a:gd name="T24" fmla="*/ 135 w 494"/>
              <a:gd name="T25" fmla="*/ 271 h 486"/>
              <a:gd name="T26" fmla="*/ 152 w 494"/>
              <a:gd name="T27" fmla="*/ 281 h 486"/>
              <a:gd name="T28" fmla="*/ 161 w 494"/>
              <a:gd name="T29" fmla="*/ 297 h 486"/>
              <a:gd name="T30" fmla="*/ 200 w 494"/>
              <a:gd name="T31" fmla="*/ 327 h 486"/>
              <a:gd name="T32" fmla="*/ 208 w 494"/>
              <a:gd name="T33" fmla="*/ 359 h 486"/>
              <a:gd name="T34" fmla="*/ 239 w 494"/>
              <a:gd name="T35" fmla="*/ 391 h 486"/>
              <a:gd name="T36" fmla="*/ 243 w 494"/>
              <a:gd name="T37" fmla="*/ 410 h 486"/>
              <a:gd name="T38" fmla="*/ 234 w 494"/>
              <a:gd name="T39" fmla="*/ 419 h 486"/>
              <a:gd name="T40" fmla="*/ 252 w 494"/>
              <a:gd name="T41" fmla="*/ 417 h 486"/>
              <a:gd name="T42" fmla="*/ 331 w 494"/>
              <a:gd name="T43" fmla="*/ 472 h 486"/>
              <a:gd name="T44" fmla="*/ 355 w 494"/>
              <a:gd name="T45" fmla="*/ 485 h 486"/>
              <a:gd name="T46" fmla="*/ 346 w 494"/>
              <a:gd name="T47" fmla="*/ 418 h 486"/>
              <a:gd name="T48" fmla="*/ 371 w 494"/>
              <a:gd name="T49" fmla="*/ 400 h 486"/>
              <a:gd name="T50" fmla="*/ 371 w 494"/>
              <a:gd name="T51" fmla="*/ 376 h 486"/>
              <a:gd name="T52" fmla="*/ 395 w 494"/>
              <a:gd name="T53" fmla="*/ 345 h 486"/>
              <a:gd name="T54" fmla="*/ 419 w 494"/>
              <a:gd name="T55" fmla="*/ 353 h 486"/>
              <a:gd name="T56" fmla="*/ 419 w 494"/>
              <a:gd name="T57" fmla="*/ 325 h 486"/>
              <a:gd name="T58" fmla="*/ 424 w 494"/>
              <a:gd name="T59" fmla="*/ 307 h 486"/>
              <a:gd name="T60" fmla="*/ 436 w 494"/>
              <a:gd name="T61" fmla="*/ 306 h 486"/>
              <a:gd name="T62" fmla="*/ 452 w 494"/>
              <a:gd name="T63" fmla="*/ 300 h 486"/>
              <a:gd name="T64" fmla="*/ 476 w 494"/>
              <a:gd name="T65" fmla="*/ 301 h 486"/>
              <a:gd name="T66" fmla="*/ 483 w 494"/>
              <a:gd name="T67" fmla="*/ 285 h 486"/>
              <a:gd name="T68" fmla="*/ 459 w 494"/>
              <a:gd name="T69" fmla="*/ 238 h 486"/>
              <a:gd name="T70" fmla="*/ 453 w 494"/>
              <a:gd name="T71" fmla="*/ 225 h 486"/>
              <a:gd name="T72" fmla="*/ 487 w 494"/>
              <a:gd name="T73" fmla="*/ 209 h 486"/>
              <a:gd name="T74" fmla="*/ 461 w 494"/>
              <a:gd name="T75" fmla="*/ 186 h 486"/>
              <a:gd name="T76" fmla="*/ 441 w 494"/>
              <a:gd name="T77" fmla="*/ 175 h 486"/>
              <a:gd name="T78" fmla="*/ 431 w 494"/>
              <a:gd name="T79" fmla="*/ 160 h 486"/>
              <a:gd name="T80" fmla="*/ 433 w 494"/>
              <a:gd name="T81" fmla="*/ 138 h 486"/>
              <a:gd name="T82" fmla="*/ 437 w 494"/>
              <a:gd name="T83" fmla="*/ 128 h 486"/>
              <a:gd name="T84" fmla="*/ 444 w 494"/>
              <a:gd name="T85" fmla="*/ 111 h 486"/>
              <a:gd name="T86" fmla="*/ 460 w 494"/>
              <a:gd name="T87" fmla="*/ 64 h 486"/>
              <a:gd name="T88" fmla="*/ 443 w 494"/>
              <a:gd name="T89" fmla="*/ 59 h 486"/>
              <a:gd name="T90" fmla="*/ 416 w 494"/>
              <a:gd name="T91" fmla="*/ 69 h 486"/>
              <a:gd name="T92" fmla="*/ 388 w 494"/>
              <a:gd name="T93" fmla="*/ 64 h 486"/>
              <a:gd name="T94" fmla="*/ 368 w 494"/>
              <a:gd name="T95" fmla="*/ 31 h 486"/>
              <a:gd name="T96" fmla="*/ 352 w 494"/>
              <a:gd name="T97" fmla="*/ 29 h 486"/>
              <a:gd name="T98" fmla="*/ 312 w 494"/>
              <a:gd name="T99" fmla="*/ 22 h 486"/>
              <a:gd name="T100" fmla="*/ 296 w 494"/>
              <a:gd name="T101" fmla="*/ 26 h 486"/>
              <a:gd name="T102" fmla="*/ 264 w 494"/>
              <a:gd name="T103" fmla="*/ 39 h 486"/>
              <a:gd name="T104" fmla="*/ 219 w 494"/>
              <a:gd name="T105" fmla="*/ 26 h 486"/>
              <a:gd name="T106" fmla="*/ 187 w 494"/>
              <a:gd name="T107" fmla="*/ 19 h 486"/>
              <a:gd name="T108" fmla="*/ 148 w 494"/>
              <a:gd name="T109" fmla="*/ 0 h 486"/>
              <a:gd name="T110" fmla="*/ 101 w 494"/>
              <a:gd name="T111" fmla="*/ 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3" h="486">
                <a:moveTo>
                  <a:pt x="101" y="8"/>
                </a:moveTo>
                <a:lnTo>
                  <a:pt x="101" y="8"/>
                </a:lnTo>
                <a:cubicBezTo>
                  <a:pt x="98" y="7"/>
                  <a:pt x="95" y="10"/>
                  <a:pt x="92" y="15"/>
                </a:cubicBezTo>
                <a:cubicBezTo>
                  <a:pt x="89" y="21"/>
                  <a:pt x="86" y="25"/>
                  <a:pt x="84" y="26"/>
                </a:cubicBezTo>
                <a:cubicBezTo>
                  <a:pt x="82" y="27"/>
                  <a:pt x="80" y="30"/>
                  <a:pt x="78" y="35"/>
                </a:cubicBezTo>
                <a:cubicBezTo>
                  <a:pt x="77" y="38"/>
                  <a:pt x="75" y="42"/>
                  <a:pt x="73" y="48"/>
                </a:cubicBezTo>
                <a:cubicBezTo>
                  <a:pt x="72" y="45"/>
                  <a:pt x="67" y="42"/>
                  <a:pt x="61" y="39"/>
                </a:cubicBezTo>
                <a:cubicBezTo>
                  <a:pt x="55" y="35"/>
                  <a:pt x="51" y="32"/>
                  <a:pt x="49" y="30"/>
                </a:cubicBezTo>
                <a:cubicBezTo>
                  <a:pt x="44" y="15"/>
                  <a:pt x="39" y="8"/>
                  <a:pt x="34" y="7"/>
                </a:cubicBezTo>
                <a:cubicBezTo>
                  <a:pt x="27" y="6"/>
                  <a:pt x="21" y="7"/>
                  <a:pt x="16" y="9"/>
                </a:cubicBezTo>
                <a:cubicBezTo>
                  <a:pt x="8" y="11"/>
                  <a:pt x="5" y="16"/>
                  <a:pt x="6" y="22"/>
                </a:cubicBezTo>
                <a:cubicBezTo>
                  <a:pt x="6" y="30"/>
                  <a:pt x="5" y="43"/>
                  <a:pt x="0" y="60"/>
                </a:cubicBezTo>
                <a:cubicBezTo>
                  <a:pt x="0" y="63"/>
                  <a:pt x="1" y="65"/>
                  <a:pt x="3" y="66"/>
                </a:cubicBezTo>
                <a:cubicBezTo>
                  <a:pt x="4" y="68"/>
                  <a:pt x="5" y="70"/>
                  <a:pt x="5" y="72"/>
                </a:cubicBezTo>
                <a:cubicBezTo>
                  <a:pt x="5" y="74"/>
                  <a:pt x="4" y="78"/>
                  <a:pt x="2" y="83"/>
                </a:cubicBezTo>
                <a:cubicBezTo>
                  <a:pt x="1" y="87"/>
                  <a:pt x="8" y="93"/>
                  <a:pt x="21" y="100"/>
                </a:cubicBezTo>
                <a:cubicBezTo>
                  <a:pt x="34" y="107"/>
                  <a:pt x="41" y="113"/>
                  <a:pt x="40" y="118"/>
                </a:cubicBezTo>
                <a:cubicBezTo>
                  <a:pt x="40" y="120"/>
                  <a:pt x="39" y="122"/>
                  <a:pt x="37" y="124"/>
                </a:cubicBezTo>
                <a:cubicBezTo>
                  <a:pt x="42" y="125"/>
                  <a:pt x="45" y="128"/>
                  <a:pt x="47" y="133"/>
                </a:cubicBezTo>
                <a:cubicBezTo>
                  <a:pt x="49" y="139"/>
                  <a:pt x="50" y="143"/>
                  <a:pt x="51" y="145"/>
                </a:cubicBezTo>
                <a:lnTo>
                  <a:pt x="51" y="146"/>
                </a:lnTo>
                <a:cubicBezTo>
                  <a:pt x="52" y="148"/>
                  <a:pt x="53" y="150"/>
                  <a:pt x="53" y="152"/>
                </a:cubicBezTo>
                <a:cubicBezTo>
                  <a:pt x="53" y="153"/>
                  <a:pt x="52" y="154"/>
                  <a:pt x="50" y="157"/>
                </a:cubicBezTo>
                <a:cubicBezTo>
                  <a:pt x="49" y="158"/>
                  <a:pt x="53" y="161"/>
                  <a:pt x="61" y="165"/>
                </a:cubicBezTo>
                <a:cubicBezTo>
                  <a:pt x="61" y="166"/>
                  <a:pt x="60" y="168"/>
                  <a:pt x="59" y="168"/>
                </a:cubicBezTo>
                <a:cubicBezTo>
                  <a:pt x="58" y="169"/>
                  <a:pt x="58" y="170"/>
                  <a:pt x="57" y="172"/>
                </a:cubicBezTo>
                <a:cubicBezTo>
                  <a:pt x="57" y="175"/>
                  <a:pt x="57" y="179"/>
                  <a:pt x="58" y="183"/>
                </a:cubicBezTo>
                <a:cubicBezTo>
                  <a:pt x="57" y="186"/>
                  <a:pt x="59" y="189"/>
                  <a:pt x="64" y="193"/>
                </a:cubicBezTo>
                <a:cubicBezTo>
                  <a:pt x="66" y="195"/>
                  <a:pt x="69" y="196"/>
                  <a:pt x="71" y="199"/>
                </a:cubicBezTo>
                <a:cubicBezTo>
                  <a:pt x="71" y="199"/>
                  <a:pt x="72" y="202"/>
                  <a:pt x="73" y="209"/>
                </a:cubicBezTo>
                <a:cubicBezTo>
                  <a:pt x="74" y="212"/>
                  <a:pt x="76" y="214"/>
                  <a:pt x="80" y="215"/>
                </a:cubicBezTo>
                <a:cubicBezTo>
                  <a:pt x="83" y="215"/>
                  <a:pt x="85" y="217"/>
                  <a:pt x="87" y="221"/>
                </a:cubicBezTo>
                <a:cubicBezTo>
                  <a:pt x="90" y="225"/>
                  <a:pt x="92" y="227"/>
                  <a:pt x="94" y="228"/>
                </a:cubicBezTo>
                <a:cubicBezTo>
                  <a:pt x="97" y="230"/>
                  <a:pt x="99" y="232"/>
                  <a:pt x="102" y="234"/>
                </a:cubicBezTo>
                <a:cubicBezTo>
                  <a:pt x="103" y="236"/>
                  <a:pt x="105" y="238"/>
                  <a:pt x="109" y="242"/>
                </a:cubicBezTo>
                <a:cubicBezTo>
                  <a:pt x="110" y="243"/>
                  <a:pt x="113" y="246"/>
                  <a:pt x="117" y="248"/>
                </a:cubicBezTo>
                <a:cubicBezTo>
                  <a:pt x="120" y="251"/>
                  <a:pt x="122" y="253"/>
                  <a:pt x="122" y="256"/>
                </a:cubicBezTo>
                <a:cubicBezTo>
                  <a:pt x="123" y="259"/>
                  <a:pt x="124" y="261"/>
                  <a:pt x="127" y="263"/>
                </a:cubicBezTo>
                <a:cubicBezTo>
                  <a:pt x="131" y="267"/>
                  <a:pt x="134" y="269"/>
                  <a:pt x="135" y="271"/>
                </a:cubicBezTo>
                <a:cubicBezTo>
                  <a:pt x="136" y="272"/>
                  <a:pt x="137" y="273"/>
                  <a:pt x="138" y="275"/>
                </a:cubicBezTo>
                <a:cubicBezTo>
                  <a:pt x="139" y="277"/>
                  <a:pt x="140" y="277"/>
                  <a:pt x="142" y="278"/>
                </a:cubicBezTo>
                <a:cubicBezTo>
                  <a:pt x="148" y="278"/>
                  <a:pt x="151" y="279"/>
                  <a:pt x="152" y="281"/>
                </a:cubicBezTo>
                <a:cubicBezTo>
                  <a:pt x="153" y="282"/>
                  <a:pt x="154" y="283"/>
                  <a:pt x="155" y="286"/>
                </a:cubicBezTo>
                <a:cubicBezTo>
                  <a:pt x="155" y="288"/>
                  <a:pt x="157" y="289"/>
                  <a:pt x="158" y="289"/>
                </a:cubicBezTo>
                <a:cubicBezTo>
                  <a:pt x="161" y="291"/>
                  <a:pt x="162" y="294"/>
                  <a:pt x="161" y="297"/>
                </a:cubicBezTo>
                <a:cubicBezTo>
                  <a:pt x="173" y="303"/>
                  <a:pt x="180" y="307"/>
                  <a:pt x="183" y="310"/>
                </a:cubicBezTo>
                <a:cubicBezTo>
                  <a:pt x="183" y="311"/>
                  <a:pt x="186" y="313"/>
                  <a:pt x="192" y="317"/>
                </a:cubicBezTo>
                <a:cubicBezTo>
                  <a:pt x="197" y="321"/>
                  <a:pt x="200" y="325"/>
                  <a:pt x="200" y="327"/>
                </a:cubicBezTo>
                <a:lnTo>
                  <a:pt x="198" y="338"/>
                </a:lnTo>
                <a:cubicBezTo>
                  <a:pt x="197" y="342"/>
                  <a:pt x="198" y="346"/>
                  <a:pt x="200" y="350"/>
                </a:cubicBezTo>
                <a:cubicBezTo>
                  <a:pt x="201" y="352"/>
                  <a:pt x="204" y="355"/>
                  <a:pt x="208" y="359"/>
                </a:cubicBezTo>
                <a:cubicBezTo>
                  <a:pt x="209" y="361"/>
                  <a:pt x="211" y="364"/>
                  <a:pt x="214" y="368"/>
                </a:cubicBezTo>
                <a:cubicBezTo>
                  <a:pt x="217" y="373"/>
                  <a:pt x="219" y="376"/>
                  <a:pt x="220" y="377"/>
                </a:cubicBezTo>
                <a:cubicBezTo>
                  <a:pt x="225" y="382"/>
                  <a:pt x="231" y="386"/>
                  <a:pt x="239" y="391"/>
                </a:cubicBezTo>
                <a:cubicBezTo>
                  <a:pt x="242" y="393"/>
                  <a:pt x="244" y="396"/>
                  <a:pt x="245" y="400"/>
                </a:cubicBezTo>
                <a:cubicBezTo>
                  <a:pt x="246" y="402"/>
                  <a:pt x="247" y="406"/>
                  <a:pt x="248" y="410"/>
                </a:cubicBezTo>
                <a:cubicBezTo>
                  <a:pt x="247" y="410"/>
                  <a:pt x="246" y="411"/>
                  <a:pt x="243" y="410"/>
                </a:cubicBezTo>
                <a:cubicBezTo>
                  <a:pt x="240" y="410"/>
                  <a:pt x="238" y="411"/>
                  <a:pt x="236" y="413"/>
                </a:cubicBezTo>
                <a:cubicBezTo>
                  <a:pt x="236" y="415"/>
                  <a:pt x="234" y="416"/>
                  <a:pt x="233" y="419"/>
                </a:cubicBezTo>
                <a:cubicBezTo>
                  <a:pt x="233" y="419"/>
                  <a:pt x="234" y="419"/>
                  <a:pt x="234" y="419"/>
                </a:cubicBezTo>
                <a:cubicBezTo>
                  <a:pt x="234" y="419"/>
                  <a:pt x="235" y="420"/>
                  <a:pt x="235" y="421"/>
                </a:cubicBezTo>
                <a:cubicBezTo>
                  <a:pt x="237" y="422"/>
                  <a:pt x="238" y="423"/>
                  <a:pt x="239" y="424"/>
                </a:cubicBezTo>
                <a:cubicBezTo>
                  <a:pt x="245" y="419"/>
                  <a:pt x="249" y="416"/>
                  <a:pt x="252" y="417"/>
                </a:cubicBezTo>
                <a:cubicBezTo>
                  <a:pt x="255" y="417"/>
                  <a:pt x="267" y="426"/>
                  <a:pt x="289" y="444"/>
                </a:cubicBezTo>
                <a:cubicBezTo>
                  <a:pt x="312" y="464"/>
                  <a:pt x="325" y="475"/>
                  <a:pt x="329" y="477"/>
                </a:cubicBezTo>
                <a:cubicBezTo>
                  <a:pt x="331" y="475"/>
                  <a:pt x="331" y="473"/>
                  <a:pt x="331" y="472"/>
                </a:cubicBezTo>
                <a:cubicBezTo>
                  <a:pt x="338" y="473"/>
                  <a:pt x="343" y="477"/>
                  <a:pt x="347" y="484"/>
                </a:cubicBezTo>
                <a:cubicBezTo>
                  <a:pt x="348" y="484"/>
                  <a:pt x="348" y="485"/>
                  <a:pt x="349" y="486"/>
                </a:cubicBezTo>
                <a:cubicBezTo>
                  <a:pt x="351" y="485"/>
                  <a:pt x="353" y="485"/>
                  <a:pt x="355" y="485"/>
                </a:cubicBezTo>
                <a:cubicBezTo>
                  <a:pt x="363" y="470"/>
                  <a:pt x="367" y="461"/>
                  <a:pt x="367" y="458"/>
                </a:cubicBezTo>
                <a:cubicBezTo>
                  <a:pt x="367" y="458"/>
                  <a:pt x="361" y="449"/>
                  <a:pt x="349" y="432"/>
                </a:cubicBezTo>
                <a:cubicBezTo>
                  <a:pt x="347" y="423"/>
                  <a:pt x="346" y="418"/>
                  <a:pt x="346" y="418"/>
                </a:cubicBezTo>
                <a:cubicBezTo>
                  <a:pt x="347" y="412"/>
                  <a:pt x="349" y="408"/>
                  <a:pt x="351" y="405"/>
                </a:cubicBezTo>
                <a:cubicBezTo>
                  <a:pt x="354" y="401"/>
                  <a:pt x="358" y="399"/>
                  <a:pt x="362" y="400"/>
                </a:cubicBezTo>
                <a:cubicBezTo>
                  <a:pt x="367" y="400"/>
                  <a:pt x="370" y="400"/>
                  <a:pt x="371" y="400"/>
                </a:cubicBezTo>
                <a:cubicBezTo>
                  <a:pt x="374" y="400"/>
                  <a:pt x="375" y="399"/>
                  <a:pt x="376" y="398"/>
                </a:cubicBezTo>
                <a:cubicBezTo>
                  <a:pt x="375" y="397"/>
                  <a:pt x="374" y="394"/>
                  <a:pt x="373" y="389"/>
                </a:cubicBezTo>
                <a:cubicBezTo>
                  <a:pt x="371" y="384"/>
                  <a:pt x="371" y="379"/>
                  <a:pt x="371" y="376"/>
                </a:cubicBezTo>
                <a:cubicBezTo>
                  <a:pt x="371" y="374"/>
                  <a:pt x="373" y="370"/>
                  <a:pt x="376" y="364"/>
                </a:cubicBezTo>
                <a:cubicBezTo>
                  <a:pt x="380" y="357"/>
                  <a:pt x="382" y="354"/>
                  <a:pt x="383" y="353"/>
                </a:cubicBezTo>
                <a:cubicBezTo>
                  <a:pt x="388" y="350"/>
                  <a:pt x="392" y="347"/>
                  <a:pt x="395" y="345"/>
                </a:cubicBezTo>
                <a:cubicBezTo>
                  <a:pt x="400" y="341"/>
                  <a:pt x="404" y="339"/>
                  <a:pt x="406" y="339"/>
                </a:cubicBezTo>
                <a:cubicBezTo>
                  <a:pt x="408" y="340"/>
                  <a:pt x="411" y="342"/>
                  <a:pt x="412" y="346"/>
                </a:cubicBezTo>
                <a:cubicBezTo>
                  <a:pt x="414" y="351"/>
                  <a:pt x="416" y="353"/>
                  <a:pt x="419" y="353"/>
                </a:cubicBezTo>
                <a:cubicBezTo>
                  <a:pt x="421" y="353"/>
                  <a:pt x="422" y="352"/>
                  <a:pt x="425" y="348"/>
                </a:cubicBezTo>
                <a:cubicBezTo>
                  <a:pt x="427" y="345"/>
                  <a:pt x="428" y="342"/>
                  <a:pt x="428" y="340"/>
                </a:cubicBezTo>
                <a:cubicBezTo>
                  <a:pt x="428" y="337"/>
                  <a:pt x="425" y="332"/>
                  <a:pt x="419" y="325"/>
                </a:cubicBezTo>
                <a:lnTo>
                  <a:pt x="409" y="315"/>
                </a:lnTo>
                <a:cubicBezTo>
                  <a:pt x="416" y="308"/>
                  <a:pt x="420" y="305"/>
                  <a:pt x="420" y="305"/>
                </a:cubicBezTo>
                <a:cubicBezTo>
                  <a:pt x="421" y="305"/>
                  <a:pt x="422" y="306"/>
                  <a:pt x="424" y="307"/>
                </a:cubicBezTo>
                <a:cubicBezTo>
                  <a:pt x="426" y="310"/>
                  <a:pt x="427" y="311"/>
                  <a:pt x="428" y="311"/>
                </a:cubicBezTo>
                <a:cubicBezTo>
                  <a:pt x="429" y="311"/>
                  <a:pt x="430" y="310"/>
                  <a:pt x="431" y="308"/>
                </a:cubicBezTo>
                <a:cubicBezTo>
                  <a:pt x="432" y="307"/>
                  <a:pt x="434" y="306"/>
                  <a:pt x="436" y="306"/>
                </a:cubicBezTo>
                <a:cubicBezTo>
                  <a:pt x="438" y="306"/>
                  <a:pt x="439" y="307"/>
                  <a:pt x="441" y="309"/>
                </a:cubicBezTo>
                <a:cubicBezTo>
                  <a:pt x="441" y="309"/>
                  <a:pt x="442" y="308"/>
                  <a:pt x="443" y="307"/>
                </a:cubicBezTo>
                <a:cubicBezTo>
                  <a:pt x="445" y="306"/>
                  <a:pt x="448" y="303"/>
                  <a:pt x="452" y="300"/>
                </a:cubicBezTo>
                <a:cubicBezTo>
                  <a:pt x="458" y="294"/>
                  <a:pt x="463" y="291"/>
                  <a:pt x="466" y="292"/>
                </a:cubicBezTo>
                <a:cubicBezTo>
                  <a:pt x="468" y="292"/>
                  <a:pt x="470" y="293"/>
                  <a:pt x="471" y="296"/>
                </a:cubicBezTo>
                <a:cubicBezTo>
                  <a:pt x="473" y="299"/>
                  <a:pt x="474" y="300"/>
                  <a:pt x="476" y="301"/>
                </a:cubicBezTo>
                <a:cubicBezTo>
                  <a:pt x="478" y="301"/>
                  <a:pt x="479" y="300"/>
                  <a:pt x="479" y="300"/>
                </a:cubicBezTo>
                <a:cubicBezTo>
                  <a:pt x="479" y="298"/>
                  <a:pt x="480" y="295"/>
                  <a:pt x="481" y="291"/>
                </a:cubicBezTo>
                <a:cubicBezTo>
                  <a:pt x="483" y="288"/>
                  <a:pt x="483" y="285"/>
                  <a:pt x="483" y="285"/>
                </a:cubicBezTo>
                <a:cubicBezTo>
                  <a:pt x="484" y="278"/>
                  <a:pt x="484" y="272"/>
                  <a:pt x="481" y="269"/>
                </a:cubicBezTo>
                <a:cubicBezTo>
                  <a:pt x="477" y="264"/>
                  <a:pt x="473" y="259"/>
                  <a:pt x="469" y="254"/>
                </a:cubicBezTo>
                <a:cubicBezTo>
                  <a:pt x="464" y="245"/>
                  <a:pt x="460" y="240"/>
                  <a:pt x="459" y="238"/>
                </a:cubicBezTo>
                <a:cubicBezTo>
                  <a:pt x="455" y="235"/>
                  <a:pt x="453" y="232"/>
                  <a:pt x="451" y="231"/>
                </a:cubicBezTo>
                <a:cubicBezTo>
                  <a:pt x="449" y="229"/>
                  <a:pt x="448" y="227"/>
                  <a:pt x="448" y="224"/>
                </a:cubicBezTo>
                <a:lnTo>
                  <a:pt x="453" y="225"/>
                </a:lnTo>
                <a:cubicBezTo>
                  <a:pt x="457" y="227"/>
                  <a:pt x="462" y="228"/>
                  <a:pt x="467" y="229"/>
                </a:cubicBezTo>
                <a:cubicBezTo>
                  <a:pt x="484" y="230"/>
                  <a:pt x="493" y="227"/>
                  <a:pt x="494" y="217"/>
                </a:cubicBezTo>
                <a:cubicBezTo>
                  <a:pt x="494" y="214"/>
                  <a:pt x="492" y="211"/>
                  <a:pt x="487" y="209"/>
                </a:cubicBezTo>
                <a:cubicBezTo>
                  <a:pt x="481" y="206"/>
                  <a:pt x="478" y="203"/>
                  <a:pt x="478" y="201"/>
                </a:cubicBezTo>
                <a:cubicBezTo>
                  <a:pt x="477" y="197"/>
                  <a:pt x="475" y="195"/>
                  <a:pt x="471" y="193"/>
                </a:cubicBezTo>
                <a:cubicBezTo>
                  <a:pt x="466" y="191"/>
                  <a:pt x="463" y="188"/>
                  <a:pt x="461" y="186"/>
                </a:cubicBezTo>
                <a:cubicBezTo>
                  <a:pt x="461" y="183"/>
                  <a:pt x="460" y="182"/>
                  <a:pt x="460" y="180"/>
                </a:cubicBezTo>
                <a:cubicBezTo>
                  <a:pt x="460" y="179"/>
                  <a:pt x="458" y="178"/>
                  <a:pt x="455" y="178"/>
                </a:cubicBezTo>
                <a:cubicBezTo>
                  <a:pt x="451" y="178"/>
                  <a:pt x="446" y="176"/>
                  <a:pt x="441" y="175"/>
                </a:cubicBezTo>
                <a:cubicBezTo>
                  <a:pt x="439" y="174"/>
                  <a:pt x="438" y="173"/>
                  <a:pt x="437" y="172"/>
                </a:cubicBezTo>
                <a:cubicBezTo>
                  <a:pt x="437" y="171"/>
                  <a:pt x="436" y="169"/>
                  <a:pt x="435" y="165"/>
                </a:cubicBezTo>
                <a:cubicBezTo>
                  <a:pt x="434" y="164"/>
                  <a:pt x="433" y="162"/>
                  <a:pt x="431" y="160"/>
                </a:cubicBezTo>
                <a:cubicBezTo>
                  <a:pt x="429" y="158"/>
                  <a:pt x="428" y="156"/>
                  <a:pt x="428" y="154"/>
                </a:cubicBezTo>
                <a:cubicBezTo>
                  <a:pt x="432" y="148"/>
                  <a:pt x="434" y="144"/>
                  <a:pt x="434" y="143"/>
                </a:cubicBezTo>
                <a:cubicBezTo>
                  <a:pt x="435" y="141"/>
                  <a:pt x="434" y="140"/>
                  <a:pt x="433" y="138"/>
                </a:cubicBezTo>
                <a:cubicBezTo>
                  <a:pt x="432" y="136"/>
                  <a:pt x="432" y="135"/>
                  <a:pt x="432" y="133"/>
                </a:cubicBezTo>
                <a:cubicBezTo>
                  <a:pt x="432" y="132"/>
                  <a:pt x="433" y="131"/>
                  <a:pt x="433" y="130"/>
                </a:cubicBezTo>
                <a:lnTo>
                  <a:pt x="437" y="128"/>
                </a:lnTo>
                <a:cubicBezTo>
                  <a:pt x="438" y="127"/>
                  <a:pt x="438" y="126"/>
                  <a:pt x="438" y="124"/>
                </a:cubicBezTo>
                <a:cubicBezTo>
                  <a:pt x="438" y="123"/>
                  <a:pt x="439" y="121"/>
                  <a:pt x="439" y="119"/>
                </a:cubicBezTo>
                <a:cubicBezTo>
                  <a:pt x="441" y="118"/>
                  <a:pt x="442" y="115"/>
                  <a:pt x="444" y="111"/>
                </a:cubicBezTo>
                <a:cubicBezTo>
                  <a:pt x="445" y="107"/>
                  <a:pt x="447" y="105"/>
                  <a:pt x="448" y="103"/>
                </a:cubicBezTo>
                <a:cubicBezTo>
                  <a:pt x="452" y="98"/>
                  <a:pt x="454" y="92"/>
                  <a:pt x="455" y="85"/>
                </a:cubicBezTo>
                <a:cubicBezTo>
                  <a:pt x="457" y="75"/>
                  <a:pt x="458" y="68"/>
                  <a:pt x="460" y="64"/>
                </a:cubicBezTo>
                <a:lnTo>
                  <a:pt x="460" y="63"/>
                </a:lnTo>
                <a:cubicBezTo>
                  <a:pt x="458" y="63"/>
                  <a:pt x="455" y="62"/>
                  <a:pt x="452" y="61"/>
                </a:cubicBezTo>
                <a:cubicBezTo>
                  <a:pt x="448" y="60"/>
                  <a:pt x="445" y="59"/>
                  <a:pt x="443" y="59"/>
                </a:cubicBezTo>
                <a:cubicBezTo>
                  <a:pt x="438" y="58"/>
                  <a:pt x="433" y="59"/>
                  <a:pt x="429" y="62"/>
                </a:cubicBezTo>
                <a:cubicBezTo>
                  <a:pt x="424" y="65"/>
                  <a:pt x="420" y="67"/>
                  <a:pt x="416" y="68"/>
                </a:cubicBezTo>
                <a:cubicBezTo>
                  <a:pt x="416" y="68"/>
                  <a:pt x="416" y="69"/>
                  <a:pt x="416" y="69"/>
                </a:cubicBezTo>
                <a:lnTo>
                  <a:pt x="413" y="69"/>
                </a:lnTo>
                <a:lnTo>
                  <a:pt x="392" y="67"/>
                </a:lnTo>
                <a:cubicBezTo>
                  <a:pt x="391" y="66"/>
                  <a:pt x="389" y="65"/>
                  <a:pt x="388" y="64"/>
                </a:cubicBezTo>
                <a:cubicBezTo>
                  <a:pt x="385" y="62"/>
                  <a:pt x="383" y="60"/>
                  <a:pt x="383" y="60"/>
                </a:cubicBezTo>
                <a:cubicBezTo>
                  <a:pt x="383" y="60"/>
                  <a:pt x="385" y="57"/>
                  <a:pt x="388" y="54"/>
                </a:cubicBezTo>
                <a:cubicBezTo>
                  <a:pt x="379" y="47"/>
                  <a:pt x="373" y="40"/>
                  <a:pt x="368" y="31"/>
                </a:cubicBezTo>
                <a:cubicBezTo>
                  <a:pt x="367" y="31"/>
                  <a:pt x="367" y="32"/>
                  <a:pt x="365" y="34"/>
                </a:cubicBezTo>
                <a:cubicBezTo>
                  <a:pt x="365" y="35"/>
                  <a:pt x="364" y="35"/>
                  <a:pt x="362" y="35"/>
                </a:cubicBezTo>
                <a:cubicBezTo>
                  <a:pt x="357" y="31"/>
                  <a:pt x="354" y="29"/>
                  <a:pt x="352" y="29"/>
                </a:cubicBezTo>
                <a:cubicBezTo>
                  <a:pt x="351" y="29"/>
                  <a:pt x="350" y="30"/>
                  <a:pt x="348" y="31"/>
                </a:cubicBezTo>
                <a:cubicBezTo>
                  <a:pt x="346" y="33"/>
                  <a:pt x="345" y="34"/>
                  <a:pt x="344" y="34"/>
                </a:cubicBezTo>
                <a:cubicBezTo>
                  <a:pt x="341" y="32"/>
                  <a:pt x="330" y="28"/>
                  <a:pt x="312" y="22"/>
                </a:cubicBezTo>
                <a:cubicBezTo>
                  <a:pt x="312" y="22"/>
                  <a:pt x="311" y="24"/>
                  <a:pt x="310" y="27"/>
                </a:cubicBezTo>
                <a:cubicBezTo>
                  <a:pt x="308" y="30"/>
                  <a:pt x="306" y="31"/>
                  <a:pt x="305" y="31"/>
                </a:cubicBezTo>
                <a:cubicBezTo>
                  <a:pt x="303" y="31"/>
                  <a:pt x="301" y="29"/>
                  <a:pt x="296" y="26"/>
                </a:cubicBezTo>
                <a:cubicBezTo>
                  <a:pt x="292" y="22"/>
                  <a:pt x="290" y="21"/>
                  <a:pt x="288" y="20"/>
                </a:cubicBezTo>
                <a:cubicBezTo>
                  <a:pt x="285" y="20"/>
                  <a:pt x="281" y="23"/>
                  <a:pt x="276" y="30"/>
                </a:cubicBezTo>
                <a:cubicBezTo>
                  <a:pt x="271" y="36"/>
                  <a:pt x="267" y="39"/>
                  <a:pt x="264" y="39"/>
                </a:cubicBezTo>
                <a:cubicBezTo>
                  <a:pt x="262" y="39"/>
                  <a:pt x="253" y="33"/>
                  <a:pt x="236" y="22"/>
                </a:cubicBezTo>
                <a:cubicBezTo>
                  <a:pt x="235" y="22"/>
                  <a:pt x="232" y="22"/>
                  <a:pt x="228" y="24"/>
                </a:cubicBezTo>
                <a:cubicBezTo>
                  <a:pt x="223" y="26"/>
                  <a:pt x="220" y="26"/>
                  <a:pt x="219" y="26"/>
                </a:cubicBezTo>
                <a:cubicBezTo>
                  <a:pt x="214" y="26"/>
                  <a:pt x="208" y="24"/>
                  <a:pt x="203" y="22"/>
                </a:cubicBezTo>
                <a:cubicBezTo>
                  <a:pt x="197" y="18"/>
                  <a:pt x="192" y="16"/>
                  <a:pt x="189" y="14"/>
                </a:cubicBezTo>
                <a:cubicBezTo>
                  <a:pt x="188" y="16"/>
                  <a:pt x="187" y="18"/>
                  <a:pt x="187" y="19"/>
                </a:cubicBezTo>
                <a:cubicBezTo>
                  <a:pt x="186" y="20"/>
                  <a:pt x="185" y="20"/>
                  <a:pt x="182" y="19"/>
                </a:cubicBezTo>
                <a:cubicBezTo>
                  <a:pt x="178" y="19"/>
                  <a:pt x="172" y="16"/>
                  <a:pt x="163" y="10"/>
                </a:cubicBezTo>
                <a:cubicBezTo>
                  <a:pt x="154" y="4"/>
                  <a:pt x="149" y="0"/>
                  <a:pt x="148" y="0"/>
                </a:cubicBezTo>
                <a:cubicBezTo>
                  <a:pt x="146" y="0"/>
                  <a:pt x="143" y="3"/>
                  <a:pt x="139" y="7"/>
                </a:cubicBezTo>
                <a:cubicBezTo>
                  <a:pt x="136" y="12"/>
                  <a:pt x="134" y="14"/>
                  <a:pt x="132" y="14"/>
                </a:cubicBezTo>
                <a:cubicBezTo>
                  <a:pt x="115" y="10"/>
                  <a:pt x="104" y="8"/>
                  <a:pt x="101" y="8"/>
                </a:cubicBezTo>
                <a:lnTo>
                  <a:pt x="101" y="8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6" name="Freeform 270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 271"/>
          <p:cNvSpPr/>
          <p:nvPr/>
        </p:nvSpPr>
        <p:spPr bwMode="auto">
          <a:xfrm>
            <a:off x="7766796" y="3649308"/>
            <a:ext cx="427983" cy="393046"/>
          </a:xfrm>
          <a:custGeom>
            <a:avLst/>
            <a:gdLst>
              <a:gd name="T0" fmla="*/ 405 w 409"/>
              <a:gd name="T1" fmla="*/ 229 h 376"/>
              <a:gd name="T2" fmla="*/ 407 w 409"/>
              <a:gd name="T3" fmla="*/ 218 h 376"/>
              <a:gd name="T4" fmla="*/ 402 w 409"/>
              <a:gd name="T5" fmla="*/ 211 h 376"/>
              <a:gd name="T6" fmla="*/ 394 w 409"/>
              <a:gd name="T7" fmla="*/ 209 h 376"/>
              <a:gd name="T8" fmla="*/ 396 w 409"/>
              <a:gd name="T9" fmla="*/ 194 h 376"/>
              <a:gd name="T10" fmla="*/ 394 w 409"/>
              <a:gd name="T11" fmla="*/ 189 h 376"/>
              <a:gd name="T12" fmla="*/ 387 w 409"/>
              <a:gd name="T13" fmla="*/ 179 h 376"/>
              <a:gd name="T14" fmla="*/ 379 w 409"/>
              <a:gd name="T15" fmla="*/ 167 h 376"/>
              <a:gd name="T16" fmla="*/ 363 w 409"/>
              <a:gd name="T17" fmla="*/ 158 h 376"/>
              <a:gd name="T18" fmla="*/ 335 w 409"/>
              <a:gd name="T19" fmla="*/ 140 h 376"/>
              <a:gd name="T20" fmla="*/ 366 w 409"/>
              <a:gd name="T21" fmla="*/ 91 h 376"/>
              <a:gd name="T22" fmla="*/ 330 w 409"/>
              <a:gd name="T23" fmla="*/ 59 h 376"/>
              <a:gd name="T24" fmla="*/ 306 w 409"/>
              <a:gd name="T25" fmla="*/ 52 h 376"/>
              <a:gd name="T26" fmla="*/ 281 w 409"/>
              <a:gd name="T27" fmla="*/ 24 h 376"/>
              <a:gd name="T28" fmla="*/ 265 w 409"/>
              <a:gd name="T29" fmla="*/ 18 h 376"/>
              <a:gd name="T30" fmla="*/ 249 w 409"/>
              <a:gd name="T31" fmla="*/ 12 h 376"/>
              <a:gd name="T32" fmla="*/ 221 w 409"/>
              <a:gd name="T33" fmla="*/ 8 h 376"/>
              <a:gd name="T34" fmla="*/ 204 w 409"/>
              <a:gd name="T35" fmla="*/ 24 h 376"/>
              <a:gd name="T36" fmla="*/ 196 w 409"/>
              <a:gd name="T37" fmla="*/ 30 h 376"/>
              <a:gd name="T38" fmla="*/ 143 w 409"/>
              <a:gd name="T39" fmla="*/ 28 h 376"/>
              <a:gd name="T40" fmla="*/ 110 w 409"/>
              <a:gd name="T41" fmla="*/ 29 h 376"/>
              <a:gd name="T42" fmla="*/ 97 w 409"/>
              <a:gd name="T43" fmla="*/ 0 h 376"/>
              <a:gd name="T44" fmla="*/ 40 w 409"/>
              <a:gd name="T45" fmla="*/ 19 h 376"/>
              <a:gd name="T46" fmla="*/ 9 w 409"/>
              <a:gd name="T47" fmla="*/ 61 h 376"/>
              <a:gd name="T48" fmla="*/ 16 w 409"/>
              <a:gd name="T49" fmla="*/ 92 h 376"/>
              <a:gd name="T50" fmla="*/ 58 w 409"/>
              <a:gd name="T51" fmla="*/ 114 h 376"/>
              <a:gd name="T52" fmla="*/ 87 w 409"/>
              <a:gd name="T53" fmla="*/ 157 h 376"/>
              <a:gd name="T54" fmla="*/ 103 w 409"/>
              <a:gd name="T55" fmla="*/ 193 h 376"/>
              <a:gd name="T56" fmla="*/ 142 w 409"/>
              <a:gd name="T57" fmla="*/ 194 h 376"/>
              <a:gd name="T58" fmla="*/ 161 w 409"/>
              <a:gd name="T59" fmla="*/ 217 h 376"/>
              <a:gd name="T60" fmla="*/ 154 w 409"/>
              <a:gd name="T61" fmla="*/ 246 h 376"/>
              <a:gd name="T62" fmla="*/ 160 w 409"/>
              <a:gd name="T63" fmla="*/ 268 h 376"/>
              <a:gd name="T64" fmla="*/ 208 w 409"/>
              <a:gd name="T65" fmla="*/ 262 h 376"/>
              <a:gd name="T66" fmla="*/ 221 w 409"/>
              <a:gd name="T67" fmla="*/ 271 h 376"/>
              <a:gd name="T68" fmla="*/ 221 w 409"/>
              <a:gd name="T69" fmla="*/ 303 h 376"/>
              <a:gd name="T70" fmla="*/ 263 w 409"/>
              <a:gd name="T71" fmla="*/ 336 h 376"/>
              <a:gd name="T72" fmla="*/ 284 w 409"/>
              <a:gd name="T73" fmla="*/ 376 h 376"/>
              <a:gd name="T74" fmla="*/ 323 w 409"/>
              <a:gd name="T75" fmla="*/ 368 h 376"/>
              <a:gd name="T76" fmla="*/ 327 w 409"/>
              <a:gd name="T77" fmla="*/ 358 h 376"/>
              <a:gd name="T78" fmla="*/ 330 w 409"/>
              <a:gd name="T79" fmla="*/ 349 h 376"/>
              <a:gd name="T80" fmla="*/ 331 w 409"/>
              <a:gd name="T81" fmla="*/ 343 h 376"/>
              <a:gd name="T82" fmla="*/ 325 w 409"/>
              <a:gd name="T83" fmla="*/ 336 h 376"/>
              <a:gd name="T84" fmla="*/ 320 w 409"/>
              <a:gd name="T85" fmla="*/ 324 h 376"/>
              <a:gd name="T86" fmla="*/ 322 w 409"/>
              <a:gd name="T87" fmla="*/ 313 h 376"/>
              <a:gd name="T88" fmla="*/ 325 w 409"/>
              <a:gd name="T89" fmla="*/ 300 h 376"/>
              <a:gd name="T90" fmla="*/ 333 w 409"/>
              <a:gd name="T91" fmla="*/ 292 h 376"/>
              <a:gd name="T92" fmla="*/ 337 w 409"/>
              <a:gd name="T93" fmla="*/ 283 h 376"/>
              <a:gd name="T94" fmla="*/ 340 w 409"/>
              <a:gd name="T95" fmla="*/ 277 h 376"/>
              <a:gd name="T96" fmla="*/ 348 w 409"/>
              <a:gd name="T97" fmla="*/ 270 h 376"/>
              <a:gd name="T98" fmla="*/ 356 w 409"/>
              <a:gd name="T99" fmla="*/ 263 h 376"/>
              <a:gd name="T100" fmla="*/ 362 w 409"/>
              <a:gd name="T101" fmla="*/ 266 h 376"/>
              <a:gd name="T102" fmla="*/ 370 w 409"/>
              <a:gd name="T103" fmla="*/ 265 h 376"/>
              <a:gd name="T104" fmla="*/ 376 w 409"/>
              <a:gd name="T105" fmla="*/ 265 h 376"/>
              <a:gd name="T106" fmla="*/ 386 w 409"/>
              <a:gd name="T107" fmla="*/ 252 h 376"/>
              <a:gd name="T108" fmla="*/ 395 w 409"/>
              <a:gd name="T109" fmla="*/ 247 h 376"/>
              <a:gd name="T110" fmla="*/ 403 w 409"/>
              <a:gd name="T111" fmla="*/ 244 h 376"/>
              <a:gd name="T112" fmla="*/ 405 w 409"/>
              <a:gd name="T113" fmla="*/ 24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09" h="376">
                <a:moveTo>
                  <a:pt x="405" y="240"/>
                </a:moveTo>
                <a:lnTo>
                  <a:pt x="405" y="240"/>
                </a:lnTo>
                <a:cubicBezTo>
                  <a:pt x="403" y="238"/>
                  <a:pt x="403" y="236"/>
                  <a:pt x="404" y="233"/>
                </a:cubicBezTo>
                <a:cubicBezTo>
                  <a:pt x="404" y="231"/>
                  <a:pt x="404" y="230"/>
                  <a:pt x="405" y="229"/>
                </a:cubicBezTo>
                <a:cubicBezTo>
                  <a:pt x="405" y="229"/>
                  <a:pt x="405" y="228"/>
                  <a:pt x="405" y="228"/>
                </a:cubicBezTo>
                <a:cubicBezTo>
                  <a:pt x="406" y="227"/>
                  <a:pt x="407" y="224"/>
                  <a:pt x="408" y="222"/>
                </a:cubicBezTo>
                <a:cubicBezTo>
                  <a:pt x="408" y="222"/>
                  <a:pt x="408" y="221"/>
                  <a:pt x="408" y="221"/>
                </a:cubicBezTo>
                <a:cubicBezTo>
                  <a:pt x="409" y="220"/>
                  <a:pt x="408" y="219"/>
                  <a:pt x="407" y="218"/>
                </a:cubicBezTo>
                <a:cubicBezTo>
                  <a:pt x="407" y="218"/>
                  <a:pt x="407" y="218"/>
                  <a:pt x="407" y="218"/>
                </a:cubicBezTo>
                <a:cubicBezTo>
                  <a:pt x="407" y="216"/>
                  <a:pt x="406" y="215"/>
                  <a:pt x="405" y="215"/>
                </a:cubicBezTo>
                <a:cubicBezTo>
                  <a:pt x="405" y="214"/>
                  <a:pt x="405" y="214"/>
                  <a:pt x="405" y="214"/>
                </a:cubicBezTo>
                <a:cubicBezTo>
                  <a:pt x="405" y="212"/>
                  <a:pt x="404" y="211"/>
                  <a:pt x="402" y="211"/>
                </a:cubicBezTo>
                <a:cubicBezTo>
                  <a:pt x="401" y="211"/>
                  <a:pt x="399" y="211"/>
                  <a:pt x="398" y="211"/>
                </a:cubicBezTo>
                <a:cubicBezTo>
                  <a:pt x="397" y="211"/>
                  <a:pt x="396" y="211"/>
                  <a:pt x="396" y="210"/>
                </a:cubicBezTo>
                <a:cubicBezTo>
                  <a:pt x="396" y="210"/>
                  <a:pt x="395" y="210"/>
                  <a:pt x="395" y="210"/>
                </a:cubicBezTo>
                <a:cubicBezTo>
                  <a:pt x="395" y="210"/>
                  <a:pt x="394" y="209"/>
                  <a:pt x="394" y="209"/>
                </a:cubicBezTo>
                <a:cubicBezTo>
                  <a:pt x="392" y="209"/>
                  <a:pt x="391" y="206"/>
                  <a:pt x="391" y="203"/>
                </a:cubicBezTo>
                <a:cubicBezTo>
                  <a:pt x="391" y="202"/>
                  <a:pt x="392" y="200"/>
                  <a:pt x="392" y="199"/>
                </a:cubicBezTo>
                <a:cubicBezTo>
                  <a:pt x="392" y="199"/>
                  <a:pt x="393" y="199"/>
                  <a:pt x="393" y="198"/>
                </a:cubicBezTo>
                <a:cubicBezTo>
                  <a:pt x="393" y="196"/>
                  <a:pt x="395" y="194"/>
                  <a:pt x="396" y="194"/>
                </a:cubicBezTo>
                <a:cubicBezTo>
                  <a:pt x="398" y="194"/>
                  <a:pt x="398" y="193"/>
                  <a:pt x="398" y="191"/>
                </a:cubicBezTo>
                <a:cubicBezTo>
                  <a:pt x="398" y="191"/>
                  <a:pt x="398" y="190"/>
                  <a:pt x="398" y="190"/>
                </a:cubicBezTo>
                <a:cubicBezTo>
                  <a:pt x="397" y="190"/>
                  <a:pt x="396" y="190"/>
                  <a:pt x="395" y="190"/>
                </a:cubicBezTo>
                <a:cubicBezTo>
                  <a:pt x="395" y="189"/>
                  <a:pt x="394" y="189"/>
                  <a:pt x="394" y="189"/>
                </a:cubicBezTo>
                <a:cubicBezTo>
                  <a:pt x="393" y="189"/>
                  <a:pt x="392" y="189"/>
                  <a:pt x="392" y="188"/>
                </a:cubicBezTo>
                <a:cubicBezTo>
                  <a:pt x="390" y="188"/>
                  <a:pt x="389" y="187"/>
                  <a:pt x="389" y="186"/>
                </a:cubicBezTo>
                <a:cubicBezTo>
                  <a:pt x="389" y="185"/>
                  <a:pt x="388" y="184"/>
                  <a:pt x="389" y="184"/>
                </a:cubicBezTo>
                <a:cubicBezTo>
                  <a:pt x="388" y="182"/>
                  <a:pt x="388" y="181"/>
                  <a:pt x="387" y="179"/>
                </a:cubicBezTo>
                <a:cubicBezTo>
                  <a:pt x="386" y="177"/>
                  <a:pt x="386" y="176"/>
                  <a:pt x="386" y="173"/>
                </a:cubicBezTo>
                <a:cubicBezTo>
                  <a:pt x="387" y="172"/>
                  <a:pt x="386" y="170"/>
                  <a:pt x="384" y="170"/>
                </a:cubicBezTo>
                <a:cubicBezTo>
                  <a:pt x="384" y="170"/>
                  <a:pt x="383" y="169"/>
                  <a:pt x="383" y="169"/>
                </a:cubicBezTo>
                <a:cubicBezTo>
                  <a:pt x="381" y="169"/>
                  <a:pt x="380" y="168"/>
                  <a:pt x="379" y="167"/>
                </a:cubicBezTo>
                <a:cubicBezTo>
                  <a:pt x="378" y="167"/>
                  <a:pt x="378" y="167"/>
                  <a:pt x="378" y="167"/>
                </a:cubicBezTo>
                <a:cubicBezTo>
                  <a:pt x="377" y="166"/>
                  <a:pt x="377" y="165"/>
                  <a:pt x="377" y="165"/>
                </a:cubicBezTo>
                <a:cubicBezTo>
                  <a:pt x="377" y="164"/>
                  <a:pt x="376" y="163"/>
                  <a:pt x="375" y="162"/>
                </a:cubicBezTo>
                <a:cubicBezTo>
                  <a:pt x="373" y="160"/>
                  <a:pt x="369" y="159"/>
                  <a:pt x="363" y="158"/>
                </a:cubicBezTo>
                <a:cubicBezTo>
                  <a:pt x="352" y="157"/>
                  <a:pt x="345" y="156"/>
                  <a:pt x="344" y="156"/>
                </a:cubicBezTo>
                <a:cubicBezTo>
                  <a:pt x="344" y="154"/>
                  <a:pt x="344" y="152"/>
                  <a:pt x="343" y="150"/>
                </a:cubicBezTo>
                <a:cubicBezTo>
                  <a:pt x="343" y="148"/>
                  <a:pt x="342" y="147"/>
                  <a:pt x="341" y="146"/>
                </a:cubicBezTo>
                <a:cubicBezTo>
                  <a:pt x="337" y="144"/>
                  <a:pt x="335" y="141"/>
                  <a:pt x="335" y="140"/>
                </a:cubicBezTo>
                <a:cubicBezTo>
                  <a:pt x="336" y="137"/>
                  <a:pt x="339" y="134"/>
                  <a:pt x="345" y="131"/>
                </a:cubicBezTo>
                <a:cubicBezTo>
                  <a:pt x="351" y="127"/>
                  <a:pt x="354" y="124"/>
                  <a:pt x="355" y="119"/>
                </a:cubicBezTo>
                <a:cubicBezTo>
                  <a:pt x="356" y="113"/>
                  <a:pt x="358" y="107"/>
                  <a:pt x="362" y="100"/>
                </a:cubicBezTo>
                <a:cubicBezTo>
                  <a:pt x="365" y="94"/>
                  <a:pt x="366" y="91"/>
                  <a:pt x="366" y="91"/>
                </a:cubicBezTo>
                <a:cubicBezTo>
                  <a:pt x="367" y="87"/>
                  <a:pt x="365" y="84"/>
                  <a:pt x="359" y="81"/>
                </a:cubicBezTo>
                <a:cubicBezTo>
                  <a:pt x="353" y="79"/>
                  <a:pt x="349" y="77"/>
                  <a:pt x="347" y="76"/>
                </a:cubicBezTo>
                <a:cubicBezTo>
                  <a:pt x="344" y="75"/>
                  <a:pt x="341" y="72"/>
                  <a:pt x="337" y="66"/>
                </a:cubicBezTo>
                <a:cubicBezTo>
                  <a:pt x="334" y="62"/>
                  <a:pt x="332" y="59"/>
                  <a:pt x="330" y="59"/>
                </a:cubicBezTo>
                <a:cubicBezTo>
                  <a:pt x="329" y="58"/>
                  <a:pt x="327" y="59"/>
                  <a:pt x="324" y="60"/>
                </a:cubicBezTo>
                <a:cubicBezTo>
                  <a:pt x="321" y="60"/>
                  <a:pt x="319" y="61"/>
                  <a:pt x="317" y="60"/>
                </a:cubicBezTo>
                <a:cubicBezTo>
                  <a:pt x="312" y="60"/>
                  <a:pt x="309" y="59"/>
                  <a:pt x="308" y="57"/>
                </a:cubicBezTo>
                <a:cubicBezTo>
                  <a:pt x="307" y="56"/>
                  <a:pt x="307" y="54"/>
                  <a:pt x="306" y="52"/>
                </a:cubicBezTo>
                <a:cubicBezTo>
                  <a:pt x="306" y="46"/>
                  <a:pt x="302" y="43"/>
                  <a:pt x="294" y="43"/>
                </a:cubicBezTo>
                <a:cubicBezTo>
                  <a:pt x="295" y="40"/>
                  <a:pt x="295" y="35"/>
                  <a:pt x="293" y="29"/>
                </a:cubicBezTo>
                <a:cubicBezTo>
                  <a:pt x="292" y="23"/>
                  <a:pt x="290" y="20"/>
                  <a:pt x="288" y="20"/>
                </a:cubicBezTo>
                <a:cubicBezTo>
                  <a:pt x="287" y="20"/>
                  <a:pt x="284" y="21"/>
                  <a:pt x="281" y="24"/>
                </a:cubicBezTo>
                <a:cubicBezTo>
                  <a:pt x="278" y="27"/>
                  <a:pt x="277" y="29"/>
                  <a:pt x="276" y="29"/>
                </a:cubicBezTo>
                <a:cubicBezTo>
                  <a:pt x="270" y="26"/>
                  <a:pt x="265" y="24"/>
                  <a:pt x="262" y="24"/>
                </a:cubicBezTo>
                <a:lnTo>
                  <a:pt x="263" y="21"/>
                </a:lnTo>
                <a:cubicBezTo>
                  <a:pt x="263" y="20"/>
                  <a:pt x="264" y="19"/>
                  <a:pt x="265" y="18"/>
                </a:cubicBezTo>
                <a:cubicBezTo>
                  <a:pt x="266" y="17"/>
                  <a:pt x="267" y="16"/>
                  <a:pt x="267" y="16"/>
                </a:cubicBezTo>
                <a:cubicBezTo>
                  <a:pt x="267" y="15"/>
                  <a:pt x="266" y="13"/>
                  <a:pt x="264" y="10"/>
                </a:cubicBezTo>
                <a:cubicBezTo>
                  <a:pt x="262" y="8"/>
                  <a:pt x="260" y="7"/>
                  <a:pt x="259" y="7"/>
                </a:cubicBezTo>
                <a:cubicBezTo>
                  <a:pt x="257" y="6"/>
                  <a:pt x="254" y="8"/>
                  <a:pt x="249" y="12"/>
                </a:cubicBezTo>
                <a:cubicBezTo>
                  <a:pt x="245" y="16"/>
                  <a:pt x="243" y="18"/>
                  <a:pt x="242" y="18"/>
                </a:cubicBezTo>
                <a:cubicBezTo>
                  <a:pt x="240" y="18"/>
                  <a:pt x="237" y="16"/>
                  <a:pt x="235" y="12"/>
                </a:cubicBezTo>
                <a:cubicBezTo>
                  <a:pt x="233" y="8"/>
                  <a:pt x="230" y="6"/>
                  <a:pt x="228" y="6"/>
                </a:cubicBezTo>
                <a:cubicBezTo>
                  <a:pt x="226" y="6"/>
                  <a:pt x="223" y="6"/>
                  <a:pt x="221" y="8"/>
                </a:cubicBezTo>
                <a:cubicBezTo>
                  <a:pt x="219" y="10"/>
                  <a:pt x="217" y="13"/>
                  <a:pt x="217" y="15"/>
                </a:cubicBezTo>
                <a:cubicBezTo>
                  <a:pt x="217" y="17"/>
                  <a:pt x="217" y="19"/>
                  <a:pt x="218" y="23"/>
                </a:cubicBezTo>
                <a:cubicBezTo>
                  <a:pt x="218" y="25"/>
                  <a:pt x="216" y="26"/>
                  <a:pt x="213" y="25"/>
                </a:cubicBezTo>
                <a:cubicBezTo>
                  <a:pt x="209" y="24"/>
                  <a:pt x="206" y="23"/>
                  <a:pt x="204" y="24"/>
                </a:cubicBezTo>
                <a:cubicBezTo>
                  <a:pt x="203" y="23"/>
                  <a:pt x="201" y="25"/>
                  <a:pt x="198" y="28"/>
                </a:cubicBezTo>
                <a:cubicBezTo>
                  <a:pt x="198" y="30"/>
                  <a:pt x="199" y="33"/>
                  <a:pt x="200" y="36"/>
                </a:cubicBezTo>
                <a:cubicBezTo>
                  <a:pt x="199" y="34"/>
                  <a:pt x="198" y="32"/>
                  <a:pt x="197" y="30"/>
                </a:cubicBezTo>
                <a:lnTo>
                  <a:pt x="196" y="30"/>
                </a:lnTo>
                <a:cubicBezTo>
                  <a:pt x="195" y="30"/>
                  <a:pt x="188" y="33"/>
                  <a:pt x="176" y="38"/>
                </a:cubicBezTo>
                <a:cubicBezTo>
                  <a:pt x="167" y="41"/>
                  <a:pt x="159" y="42"/>
                  <a:pt x="152" y="42"/>
                </a:cubicBezTo>
                <a:cubicBezTo>
                  <a:pt x="149" y="41"/>
                  <a:pt x="147" y="40"/>
                  <a:pt x="146" y="37"/>
                </a:cubicBezTo>
                <a:cubicBezTo>
                  <a:pt x="144" y="33"/>
                  <a:pt x="143" y="30"/>
                  <a:pt x="143" y="28"/>
                </a:cubicBezTo>
                <a:cubicBezTo>
                  <a:pt x="141" y="27"/>
                  <a:pt x="138" y="26"/>
                  <a:pt x="134" y="24"/>
                </a:cubicBezTo>
                <a:cubicBezTo>
                  <a:pt x="130" y="23"/>
                  <a:pt x="127" y="22"/>
                  <a:pt x="125" y="22"/>
                </a:cubicBezTo>
                <a:cubicBezTo>
                  <a:pt x="122" y="21"/>
                  <a:pt x="119" y="23"/>
                  <a:pt x="116" y="25"/>
                </a:cubicBezTo>
                <a:cubicBezTo>
                  <a:pt x="113" y="28"/>
                  <a:pt x="111" y="29"/>
                  <a:pt x="110" y="29"/>
                </a:cubicBezTo>
                <a:cubicBezTo>
                  <a:pt x="105" y="29"/>
                  <a:pt x="102" y="25"/>
                  <a:pt x="101" y="18"/>
                </a:cubicBezTo>
                <a:cubicBezTo>
                  <a:pt x="100" y="11"/>
                  <a:pt x="99" y="6"/>
                  <a:pt x="98" y="3"/>
                </a:cubicBezTo>
                <a:cubicBezTo>
                  <a:pt x="97" y="3"/>
                  <a:pt x="97" y="2"/>
                  <a:pt x="97" y="2"/>
                </a:cubicBezTo>
                <a:lnTo>
                  <a:pt x="97" y="0"/>
                </a:lnTo>
                <a:cubicBezTo>
                  <a:pt x="92" y="1"/>
                  <a:pt x="89" y="1"/>
                  <a:pt x="86" y="1"/>
                </a:cubicBezTo>
                <a:cubicBezTo>
                  <a:pt x="80" y="2"/>
                  <a:pt x="75" y="3"/>
                  <a:pt x="71" y="5"/>
                </a:cubicBezTo>
                <a:cubicBezTo>
                  <a:pt x="68" y="6"/>
                  <a:pt x="63" y="8"/>
                  <a:pt x="56" y="12"/>
                </a:cubicBezTo>
                <a:cubicBezTo>
                  <a:pt x="52" y="14"/>
                  <a:pt x="46" y="16"/>
                  <a:pt x="40" y="19"/>
                </a:cubicBezTo>
                <a:cubicBezTo>
                  <a:pt x="33" y="22"/>
                  <a:pt x="24" y="26"/>
                  <a:pt x="14" y="30"/>
                </a:cubicBezTo>
                <a:cubicBezTo>
                  <a:pt x="8" y="32"/>
                  <a:pt x="4" y="34"/>
                  <a:pt x="0" y="35"/>
                </a:cubicBezTo>
                <a:cubicBezTo>
                  <a:pt x="1" y="38"/>
                  <a:pt x="1" y="43"/>
                  <a:pt x="1" y="50"/>
                </a:cubicBezTo>
                <a:cubicBezTo>
                  <a:pt x="2" y="56"/>
                  <a:pt x="4" y="60"/>
                  <a:pt x="9" y="61"/>
                </a:cubicBezTo>
                <a:cubicBezTo>
                  <a:pt x="8" y="63"/>
                  <a:pt x="7" y="65"/>
                  <a:pt x="7" y="66"/>
                </a:cubicBezTo>
                <a:cubicBezTo>
                  <a:pt x="7" y="67"/>
                  <a:pt x="7" y="69"/>
                  <a:pt x="9" y="72"/>
                </a:cubicBezTo>
                <a:cubicBezTo>
                  <a:pt x="11" y="75"/>
                  <a:pt x="11" y="80"/>
                  <a:pt x="10" y="85"/>
                </a:cubicBezTo>
                <a:cubicBezTo>
                  <a:pt x="10" y="88"/>
                  <a:pt x="12" y="90"/>
                  <a:pt x="16" y="92"/>
                </a:cubicBezTo>
                <a:cubicBezTo>
                  <a:pt x="21" y="94"/>
                  <a:pt x="25" y="96"/>
                  <a:pt x="26" y="98"/>
                </a:cubicBezTo>
                <a:cubicBezTo>
                  <a:pt x="26" y="99"/>
                  <a:pt x="27" y="103"/>
                  <a:pt x="28" y="109"/>
                </a:cubicBezTo>
                <a:cubicBezTo>
                  <a:pt x="29" y="115"/>
                  <a:pt x="31" y="119"/>
                  <a:pt x="33" y="119"/>
                </a:cubicBezTo>
                <a:cubicBezTo>
                  <a:pt x="33" y="119"/>
                  <a:pt x="41" y="117"/>
                  <a:pt x="58" y="114"/>
                </a:cubicBezTo>
                <a:cubicBezTo>
                  <a:pt x="63" y="115"/>
                  <a:pt x="66" y="116"/>
                  <a:pt x="67" y="120"/>
                </a:cubicBezTo>
                <a:cubicBezTo>
                  <a:pt x="67" y="121"/>
                  <a:pt x="67" y="125"/>
                  <a:pt x="66" y="131"/>
                </a:cubicBezTo>
                <a:cubicBezTo>
                  <a:pt x="65" y="139"/>
                  <a:pt x="67" y="146"/>
                  <a:pt x="70" y="151"/>
                </a:cubicBezTo>
                <a:cubicBezTo>
                  <a:pt x="74" y="157"/>
                  <a:pt x="80" y="159"/>
                  <a:pt x="87" y="157"/>
                </a:cubicBezTo>
                <a:cubicBezTo>
                  <a:pt x="90" y="156"/>
                  <a:pt x="96" y="159"/>
                  <a:pt x="103" y="164"/>
                </a:cubicBezTo>
                <a:cubicBezTo>
                  <a:pt x="105" y="166"/>
                  <a:pt x="106" y="169"/>
                  <a:pt x="105" y="174"/>
                </a:cubicBezTo>
                <a:cubicBezTo>
                  <a:pt x="104" y="176"/>
                  <a:pt x="104" y="179"/>
                  <a:pt x="102" y="183"/>
                </a:cubicBezTo>
                <a:cubicBezTo>
                  <a:pt x="102" y="186"/>
                  <a:pt x="102" y="189"/>
                  <a:pt x="103" y="193"/>
                </a:cubicBezTo>
                <a:cubicBezTo>
                  <a:pt x="105" y="193"/>
                  <a:pt x="107" y="193"/>
                  <a:pt x="110" y="192"/>
                </a:cubicBezTo>
                <a:cubicBezTo>
                  <a:pt x="112" y="191"/>
                  <a:pt x="114" y="190"/>
                  <a:pt x="116" y="191"/>
                </a:cubicBezTo>
                <a:cubicBezTo>
                  <a:pt x="125" y="192"/>
                  <a:pt x="130" y="194"/>
                  <a:pt x="132" y="198"/>
                </a:cubicBezTo>
                <a:cubicBezTo>
                  <a:pt x="133" y="198"/>
                  <a:pt x="137" y="197"/>
                  <a:pt x="142" y="194"/>
                </a:cubicBezTo>
                <a:cubicBezTo>
                  <a:pt x="144" y="194"/>
                  <a:pt x="146" y="196"/>
                  <a:pt x="147" y="199"/>
                </a:cubicBezTo>
                <a:cubicBezTo>
                  <a:pt x="147" y="201"/>
                  <a:pt x="148" y="204"/>
                  <a:pt x="148" y="207"/>
                </a:cubicBezTo>
                <a:cubicBezTo>
                  <a:pt x="149" y="209"/>
                  <a:pt x="151" y="210"/>
                  <a:pt x="155" y="212"/>
                </a:cubicBezTo>
                <a:cubicBezTo>
                  <a:pt x="159" y="214"/>
                  <a:pt x="161" y="216"/>
                  <a:pt x="161" y="217"/>
                </a:cubicBezTo>
                <a:cubicBezTo>
                  <a:pt x="161" y="217"/>
                  <a:pt x="159" y="219"/>
                  <a:pt x="156" y="223"/>
                </a:cubicBezTo>
                <a:cubicBezTo>
                  <a:pt x="153" y="226"/>
                  <a:pt x="151" y="229"/>
                  <a:pt x="151" y="231"/>
                </a:cubicBezTo>
                <a:cubicBezTo>
                  <a:pt x="151" y="233"/>
                  <a:pt x="151" y="236"/>
                  <a:pt x="153" y="239"/>
                </a:cubicBezTo>
                <a:cubicBezTo>
                  <a:pt x="154" y="242"/>
                  <a:pt x="154" y="245"/>
                  <a:pt x="154" y="246"/>
                </a:cubicBezTo>
                <a:cubicBezTo>
                  <a:pt x="154" y="247"/>
                  <a:pt x="153" y="248"/>
                  <a:pt x="150" y="250"/>
                </a:cubicBezTo>
                <a:cubicBezTo>
                  <a:pt x="148" y="253"/>
                  <a:pt x="146" y="255"/>
                  <a:pt x="146" y="257"/>
                </a:cubicBezTo>
                <a:cubicBezTo>
                  <a:pt x="145" y="262"/>
                  <a:pt x="146" y="265"/>
                  <a:pt x="147" y="266"/>
                </a:cubicBezTo>
                <a:cubicBezTo>
                  <a:pt x="149" y="267"/>
                  <a:pt x="153" y="267"/>
                  <a:pt x="160" y="268"/>
                </a:cubicBezTo>
                <a:cubicBezTo>
                  <a:pt x="162" y="269"/>
                  <a:pt x="169" y="271"/>
                  <a:pt x="181" y="275"/>
                </a:cubicBezTo>
                <a:cubicBezTo>
                  <a:pt x="182" y="275"/>
                  <a:pt x="186" y="274"/>
                  <a:pt x="193" y="272"/>
                </a:cubicBezTo>
                <a:cubicBezTo>
                  <a:pt x="200" y="270"/>
                  <a:pt x="205" y="269"/>
                  <a:pt x="208" y="268"/>
                </a:cubicBezTo>
                <a:cubicBezTo>
                  <a:pt x="208" y="265"/>
                  <a:pt x="208" y="263"/>
                  <a:pt x="208" y="262"/>
                </a:cubicBezTo>
                <a:cubicBezTo>
                  <a:pt x="208" y="256"/>
                  <a:pt x="211" y="253"/>
                  <a:pt x="215" y="251"/>
                </a:cubicBezTo>
                <a:cubicBezTo>
                  <a:pt x="221" y="247"/>
                  <a:pt x="224" y="245"/>
                  <a:pt x="226" y="243"/>
                </a:cubicBezTo>
                <a:cubicBezTo>
                  <a:pt x="226" y="246"/>
                  <a:pt x="226" y="251"/>
                  <a:pt x="228" y="258"/>
                </a:cubicBezTo>
                <a:cubicBezTo>
                  <a:pt x="227" y="260"/>
                  <a:pt x="225" y="264"/>
                  <a:pt x="221" y="271"/>
                </a:cubicBezTo>
                <a:cubicBezTo>
                  <a:pt x="217" y="277"/>
                  <a:pt x="215" y="280"/>
                  <a:pt x="214" y="282"/>
                </a:cubicBezTo>
                <a:cubicBezTo>
                  <a:pt x="214" y="283"/>
                  <a:pt x="215" y="284"/>
                  <a:pt x="218" y="285"/>
                </a:cubicBezTo>
                <a:cubicBezTo>
                  <a:pt x="220" y="287"/>
                  <a:pt x="221" y="290"/>
                  <a:pt x="220" y="295"/>
                </a:cubicBezTo>
                <a:cubicBezTo>
                  <a:pt x="220" y="299"/>
                  <a:pt x="220" y="301"/>
                  <a:pt x="221" y="303"/>
                </a:cubicBezTo>
                <a:cubicBezTo>
                  <a:pt x="222" y="305"/>
                  <a:pt x="225" y="307"/>
                  <a:pt x="228" y="308"/>
                </a:cubicBezTo>
                <a:cubicBezTo>
                  <a:pt x="232" y="309"/>
                  <a:pt x="236" y="312"/>
                  <a:pt x="240" y="316"/>
                </a:cubicBezTo>
                <a:cubicBezTo>
                  <a:pt x="245" y="324"/>
                  <a:pt x="248" y="328"/>
                  <a:pt x="249" y="329"/>
                </a:cubicBezTo>
                <a:cubicBezTo>
                  <a:pt x="251" y="331"/>
                  <a:pt x="256" y="334"/>
                  <a:pt x="263" y="336"/>
                </a:cubicBezTo>
                <a:cubicBezTo>
                  <a:pt x="265" y="338"/>
                  <a:pt x="266" y="340"/>
                  <a:pt x="266" y="344"/>
                </a:cubicBezTo>
                <a:cubicBezTo>
                  <a:pt x="266" y="347"/>
                  <a:pt x="267" y="349"/>
                  <a:pt x="269" y="349"/>
                </a:cubicBezTo>
                <a:cubicBezTo>
                  <a:pt x="274" y="350"/>
                  <a:pt x="278" y="354"/>
                  <a:pt x="280" y="360"/>
                </a:cubicBezTo>
                <a:cubicBezTo>
                  <a:pt x="281" y="364"/>
                  <a:pt x="282" y="369"/>
                  <a:pt x="284" y="376"/>
                </a:cubicBezTo>
                <a:lnTo>
                  <a:pt x="286" y="376"/>
                </a:lnTo>
                <a:cubicBezTo>
                  <a:pt x="288" y="376"/>
                  <a:pt x="300" y="375"/>
                  <a:pt x="321" y="371"/>
                </a:cubicBezTo>
                <a:lnTo>
                  <a:pt x="321" y="371"/>
                </a:lnTo>
                <a:cubicBezTo>
                  <a:pt x="322" y="370"/>
                  <a:pt x="322" y="369"/>
                  <a:pt x="323" y="368"/>
                </a:cubicBezTo>
                <a:cubicBezTo>
                  <a:pt x="324" y="368"/>
                  <a:pt x="324" y="368"/>
                  <a:pt x="324" y="368"/>
                </a:cubicBezTo>
                <a:cubicBezTo>
                  <a:pt x="326" y="368"/>
                  <a:pt x="327" y="367"/>
                  <a:pt x="327" y="364"/>
                </a:cubicBezTo>
                <a:cubicBezTo>
                  <a:pt x="327" y="364"/>
                  <a:pt x="326" y="363"/>
                  <a:pt x="327" y="363"/>
                </a:cubicBezTo>
                <a:cubicBezTo>
                  <a:pt x="326" y="361"/>
                  <a:pt x="326" y="359"/>
                  <a:pt x="327" y="358"/>
                </a:cubicBezTo>
                <a:cubicBezTo>
                  <a:pt x="329" y="357"/>
                  <a:pt x="330" y="356"/>
                  <a:pt x="331" y="354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32" y="352"/>
                  <a:pt x="331" y="351"/>
                  <a:pt x="330" y="350"/>
                </a:cubicBezTo>
                <a:cubicBezTo>
                  <a:pt x="330" y="350"/>
                  <a:pt x="329" y="350"/>
                  <a:pt x="330" y="349"/>
                </a:cubicBezTo>
                <a:cubicBezTo>
                  <a:pt x="329" y="348"/>
                  <a:pt x="329" y="348"/>
                  <a:pt x="330" y="348"/>
                </a:cubicBezTo>
                <a:cubicBezTo>
                  <a:pt x="331" y="348"/>
                  <a:pt x="332" y="346"/>
                  <a:pt x="332" y="344"/>
                </a:cubicBezTo>
                <a:cubicBezTo>
                  <a:pt x="332" y="344"/>
                  <a:pt x="332" y="344"/>
                  <a:pt x="332" y="343"/>
                </a:cubicBezTo>
                <a:cubicBezTo>
                  <a:pt x="332" y="343"/>
                  <a:pt x="331" y="343"/>
                  <a:pt x="331" y="343"/>
                </a:cubicBezTo>
                <a:cubicBezTo>
                  <a:pt x="331" y="342"/>
                  <a:pt x="330" y="342"/>
                  <a:pt x="329" y="342"/>
                </a:cubicBezTo>
                <a:cubicBezTo>
                  <a:pt x="326" y="342"/>
                  <a:pt x="324" y="341"/>
                  <a:pt x="324" y="338"/>
                </a:cubicBezTo>
                <a:cubicBezTo>
                  <a:pt x="324" y="338"/>
                  <a:pt x="325" y="338"/>
                  <a:pt x="325" y="337"/>
                </a:cubicBezTo>
                <a:cubicBezTo>
                  <a:pt x="325" y="337"/>
                  <a:pt x="325" y="337"/>
                  <a:pt x="325" y="336"/>
                </a:cubicBezTo>
                <a:cubicBezTo>
                  <a:pt x="325" y="336"/>
                  <a:pt x="325" y="336"/>
                  <a:pt x="325" y="335"/>
                </a:cubicBezTo>
                <a:cubicBezTo>
                  <a:pt x="324" y="334"/>
                  <a:pt x="324" y="333"/>
                  <a:pt x="324" y="332"/>
                </a:cubicBezTo>
                <a:cubicBezTo>
                  <a:pt x="324" y="331"/>
                  <a:pt x="323" y="330"/>
                  <a:pt x="321" y="330"/>
                </a:cubicBezTo>
                <a:cubicBezTo>
                  <a:pt x="321" y="327"/>
                  <a:pt x="321" y="325"/>
                  <a:pt x="320" y="324"/>
                </a:cubicBezTo>
                <a:cubicBezTo>
                  <a:pt x="320" y="324"/>
                  <a:pt x="320" y="323"/>
                  <a:pt x="320" y="323"/>
                </a:cubicBezTo>
                <a:cubicBezTo>
                  <a:pt x="319" y="321"/>
                  <a:pt x="319" y="319"/>
                  <a:pt x="318" y="317"/>
                </a:cubicBezTo>
                <a:cubicBezTo>
                  <a:pt x="318" y="317"/>
                  <a:pt x="318" y="316"/>
                  <a:pt x="319" y="316"/>
                </a:cubicBezTo>
                <a:cubicBezTo>
                  <a:pt x="319" y="315"/>
                  <a:pt x="321" y="314"/>
                  <a:pt x="322" y="313"/>
                </a:cubicBezTo>
                <a:cubicBezTo>
                  <a:pt x="322" y="313"/>
                  <a:pt x="322" y="313"/>
                  <a:pt x="322" y="312"/>
                </a:cubicBezTo>
                <a:cubicBezTo>
                  <a:pt x="321" y="310"/>
                  <a:pt x="321" y="308"/>
                  <a:pt x="322" y="305"/>
                </a:cubicBezTo>
                <a:cubicBezTo>
                  <a:pt x="322" y="305"/>
                  <a:pt x="322" y="304"/>
                  <a:pt x="322" y="304"/>
                </a:cubicBezTo>
                <a:cubicBezTo>
                  <a:pt x="323" y="303"/>
                  <a:pt x="324" y="301"/>
                  <a:pt x="325" y="300"/>
                </a:cubicBezTo>
                <a:cubicBezTo>
                  <a:pt x="326" y="300"/>
                  <a:pt x="327" y="299"/>
                  <a:pt x="328" y="298"/>
                </a:cubicBezTo>
                <a:cubicBezTo>
                  <a:pt x="328" y="298"/>
                  <a:pt x="329" y="298"/>
                  <a:pt x="329" y="297"/>
                </a:cubicBezTo>
                <a:cubicBezTo>
                  <a:pt x="331" y="298"/>
                  <a:pt x="333" y="296"/>
                  <a:pt x="333" y="294"/>
                </a:cubicBezTo>
                <a:cubicBezTo>
                  <a:pt x="334" y="293"/>
                  <a:pt x="333" y="293"/>
                  <a:pt x="333" y="292"/>
                </a:cubicBezTo>
                <a:cubicBezTo>
                  <a:pt x="332" y="292"/>
                  <a:pt x="332" y="290"/>
                  <a:pt x="333" y="289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5" y="287"/>
                  <a:pt x="335" y="286"/>
                </a:cubicBezTo>
                <a:cubicBezTo>
                  <a:pt x="335" y="285"/>
                  <a:pt x="336" y="283"/>
                  <a:pt x="337" y="283"/>
                </a:cubicBezTo>
                <a:cubicBezTo>
                  <a:pt x="337" y="282"/>
                  <a:pt x="338" y="282"/>
                  <a:pt x="338" y="282"/>
                </a:cubicBezTo>
                <a:cubicBezTo>
                  <a:pt x="339" y="283"/>
                  <a:pt x="339" y="282"/>
                  <a:pt x="340" y="281"/>
                </a:cubicBezTo>
                <a:cubicBezTo>
                  <a:pt x="340" y="281"/>
                  <a:pt x="339" y="280"/>
                  <a:pt x="339" y="280"/>
                </a:cubicBezTo>
                <a:cubicBezTo>
                  <a:pt x="339" y="279"/>
                  <a:pt x="339" y="278"/>
                  <a:pt x="340" y="277"/>
                </a:cubicBezTo>
                <a:cubicBezTo>
                  <a:pt x="342" y="276"/>
                  <a:pt x="343" y="275"/>
                  <a:pt x="345" y="274"/>
                </a:cubicBezTo>
                <a:cubicBezTo>
                  <a:pt x="345" y="274"/>
                  <a:pt x="346" y="274"/>
                  <a:pt x="346" y="274"/>
                </a:cubicBezTo>
                <a:cubicBezTo>
                  <a:pt x="348" y="274"/>
                  <a:pt x="348" y="273"/>
                  <a:pt x="348" y="272"/>
                </a:cubicBezTo>
                <a:cubicBezTo>
                  <a:pt x="348" y="271"/>
                  <a:pt x="348" y="271"/>
                  <a:pt x="348" y="270"/>
                </a:cubicBezTo>
                <a:cubicBezTo>
                  <a:pt x="349" y="268"/>
                  <a:pt x="350" y="267"/>
                  <a:pt x="352" y="266"/>
                </a:cubicBezTo>
                <a:cubicBezTo>
                  <a:pt x="352" y="265"/>
                  <a:pt x="352" y="265"/>
                  <a:pt x="353" y="265"/>
                </a:cubicBezTo>
                <a:cubicBezTo>
                  <a:pt x="354" y="265"/>
                  <a:pt x="355" y="264"/>
                  <a:pt x="355" y="264"/>
                </a:cubicBezTo>
                <a:cubicBezTo>
                  <a:pt x="356" y="263"/>
                  <a:pt x="356" y="263"/>
                  <a:pt x="356" y="263"/>
                </a:cubicBezTo>
                <a:cubicBezTo>
                  <a:pt x="357" y="262"/>
                  <a:pt x="358" y="262"/>
                  <a:pt x="360" y="262"/>
                </a:cubicBezTo>
                <a:cubicBezTo>
                  <a:pt x="361" y="262"/>
                  <a:pt x="361" y="263"/>
                  <a:pt x="361" y="263"/>
                </a:cubicBezTo>
                <a:cubicBezTo>
                  <a:pt x="362" y="264"/>
                  <a:pt x="362" y="265"/>
                  <a:pt x="361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3" y="267"/>
                  <a:pt x="364" y="267"/>
                  <a:pt x="365" y="267"/>
                </a:cubicBezTo>
                <a:cubicBezTo>
                  <a:pt x="366" y="267"/>
                  <a:pt x="367" y="266"/>
                  <a:pt x="367" y="264"/>
                </a:cubicBezTo>
                <a:cubicBezTo>
                  <a:pt x="368" y="264"/>
                  <a:pt x="368" y="264"/>
                  <a:pt x="369" y="264"/>
                </a:cubicBezTo>
                <a:cubicBezTo>
                  <a:pt x="369" y="264"/>
                  <a:pt x="369" y="265"/>
                  <a:pt x="370" y="265"/>
                </a:cubicBezTo>
                <a:cubicBezTo>
                  <a:pt x="370" y="265"/>
                  <a:pt x="371" y="265"/>
                  <a:pt x="371" y="265"/>
                </a:cubicBezTo>
                <a:cubicBezTo>
                  <a:pt x="372" y="266"/>
                  <a:pt x="372" y="266"/>
                  <a:pt x="373" y="267"/>
                </a:cubicBezTo>
                <a:cubicBezTo>
                  <a:pt x="373" y="266"/>
                  <a:pt x="374" y="265"/>
                  <a:pt x="375" y="265"/>
                </a:cubicBezTo>
                <a:cubicBezTo>
                  <a:pt x="376" y="265"/>
                  <a:pt x="376" y="265"/>
                  <a:pt x="376" y="265"/>
                </a:cubicBezTo>
                <a:cubicBezTo>
                  <a:pt x="378" y="264"/>
                  <a:pt x="379" y="262"/>
                  <a:pt x="380" y="259"/>
                </a:cubicBezTo>
                <a:cubicBezTo>
                  <a:pt x="380" y="259"/>
                  <a:pt x="381" y="258"/>
                  <a:pt x="382" y="258"/>
                </a:cubicBezTo>
                <a:cubicBezTo>
                  <a:pt x="383" y="258"/>
                  <a:pt x="383" y="258"/>
                  <a:pt x="383" y="257"/>
                </a:cubicBezTo>
                <a:cubicBezTo>
                  <a:pt x="383" y="255"/>
                  <a:pt x="385" y="253"/>
                  <a:pt x="386" y="252"/>
                </a:cubicBezTo>
                <a:cubicBezTo>
                  <a:pt x="387" y="252"/>
                  <a:pt x="387" y="252"/>
                  <a:pt x="387" y="252"/>
                </a:cubicBezTo>
                <a:cubicBezTo>
                  <a:pt x="388" y="251"/>
                  <a:pt x="389" y="251"/>
                  <a:pt x="390" y="250"/>
                </a:cubicBezTo>
                <a:cubicBezTo>
                  <a:pt x="391" y="250"/>
                  <a:pt x="391" y="250"/>
                  <a:pt x="392" y="250"/>
                </a:cubicBezTo>
                <a:cubicBezTo>
                  <a:pt x="394" y="250"/>
                  <a:pt x="395" y="249"/>
                  <a:pt x="395" y="247"/>
                </a:cubicBezTo>
                <a:cubicBezTo>
                  <a:pt x="396" y="247"/>
                  <a:pt x="396" y="247"/>
                  <a:pt x="396" y="247"/>
                </a:cubicBezTo>
                <a:cubicBezTo>
                  <a:pt x="396" y="245"/>
                  <a:pt x="397" y="244"/>
                  <a:pt x="399" y="244"/>
                </a:cubicBezTo>
                <a:cubicBezTo>
                  <a:pt x="399" y="244"/>
                  <a:pt x="399" y="244"/>
                  <a:pt x="400" y="244"/>
                </a:cubicBezTo>
                <a:cubicBezTo>
                  <a:pt x="400" y="244"/>
                  <a:pt x="402" y="244"/>
                  <a:pt x="403" y="244"/>
                </a:cubicBezTo>
                <a:cubicBezTo>
                  <a:pt x="403" y="244"/>
                  <a:pt x="403" y="244"/>
                  <a:pt x="404" y="244"/>
                </a:cubicBezTo>
                <a:cubicBezTo>
                  <a:pt x="405" y="243"/>
                  <a:pt x="406" y="243"/>
                  <a:pt x="407" y="241"/>
                </a:cubicBezTo>
                <a:cubicBezTo>
                  <a:pt x="406" y="241"/>
                  <a:pt x="405" y="240"/>
                  <a:pt x="405" y="240"/>
                </a:cubicBezTo>
                <a:lnTo>
                  <a:pt x="405" y="24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8" name="Freeform 272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9" name="Freeform 273"/>
          <p:cNvSpPr/>
          <p:nvPr/>
        </p:nvSpPr>
        <p:spPr bwMode="auto">
          <a:xfrm>
            <a:off x="8503973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 274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 275"/>
          <p:cNvSpPr/>
          <p:nvPr/>
        </p:nvSpPr>
        <p:spPr bwMode="auto">
          <a:xfrm>
            <a:off x="7300382" y="5209260"/>
            <a:ext cx="68128" cy="47166"/>
          </a:xfrm>
          <a:custGeom>
            <a:avLst/>
            <a:gdLst>
              <a:gd name="T0" fmla="*/ 12 w 66"/>
              <a:gd name="T1" fmla="*/ 9 h 46"/>
              <a:gd name="T2" fmla="*/ 12 w 66"/>
              <a:gd name="T3" fmla="*/ 9 h 46"/>
              <a:gd name="T4" fmla="*/ 22 w 66"/>
              <a:gd name="T5" fmla="*/ 1 h 46"/>
              <a:gd name="T6" fmla="*/ 34 w 66"/>
              <a:gd name="T7" fmla="*/ 6 h 46"/>
              <a:gd name="T8" fmla="*/ 54 w 66"/>
              <a:gd name="T9" fmla="*/ 12 h 46"/>
              <a:gd name="T10" fmla="*/ 66 w 66"/>
              <a:gd name="T11" fmla="*/ 21 h 46"/>
              <a:gd name="T12" fmla="*/ 54 w 66"/>
              <a:gd name="T13" fmla="*/ 33 h 46"/>
              <a:gd name="T14" fmla="*/ 31 w 66"/>
              <a:gd name="T15" fmla="*/ 40 h 46"/>
              <a:gd name="T16" fmla="*/ 13 w 66"/>
              <a:gd name="T17" fmla="*/ 44 h 46"/>
              <a:gd name="T18" fmla="*/ 5 w 66"/>
              <a:gd name="T19" fmla="*/ 37 h 46"/>
              <a:gd name="T20" fmla="*/ 2 w 66"/>
              <a:gd name="T21" fmla="*/ 32 h 46"/>
              <a:gd name="T22" fmla="*/ 11 w 66"/>
              <a:gd name="T23" fmla="*/ 28 h 46"/>
              <a:gd name="T24" fmla="*/ 8 w 66"/>
              <a:gd name="T25" fmla="*/ 20 h 46"/>
              <a:gd name="T26" fmla="*/ 12 w 66"/>
              <a:gd name="T27" fmla="*/ 9 h 46"/>
              <a:gd name="T28" fmla="*/ 12 w 66"/>
              <a:gd name="T29" fmla="*/ 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6" h="46">
                <a:moveTo>
                  <a:pt x="12" y="9"/>
                </a:moveTo>
                <a:lnTo>
                  <a:pt x="12" y="9"/>
                </a:lnTo>
                <a:cubicBezTo>
                  <a:pt x="11" y="6"/>
                  <a:pt x="19" y="2"/>
                  <a:pt x="22" y="1"/>
                </a:cubicBezTo>
                <a:cubicBezTo>
                  <a:pt x="29" y="0"/>
                  <a:pt x="29" y="3"/>
                  <a:pt x="34" y="6"/>
                </a:cubicBezTo>
                <a:cubicBezTo>
                  <a:pt x="42" y="11"/>
                  <a:pt x="47" y="7"/>
                  <a:pt x="54" y="12"/>
                </a:cubicBezTo>
                <a:cubicBezTo>
                  <a:pt x="53" y="19"/>
                  <a:pt x="64" y="17"/>
                  <a:pt x="66" y="21"/>
                </a:cubicBezTo>
                <a:cubicBezTo>
                  <a:pt x="62" y="25"/>
                  <a:pt x="54" y="23"/>
                  <a:pt x="54" y="33"/>
                </a:cubicBezTo>
                <a:cubicBezTo>
                  <a:pt x="54" y="42"/>
                  <a:pt x="39" y="40"/>
                  <a:pt x="31" y="40"/>
                </a:cubicBezTo>
                <a:cubicBezTo>
                  <a:pt x="25" y="40"/>
                  <a:pt x="19" y="46"/>
                  <a:pt x="13" y="44"/>
                </a:cubicBezTo>
                <a:cubicBezTo>
                  <a:pt x="7" y="43"/>
                  <a:pt x="3" y="41"/>
                  <a:pt x="5" y="37"/>
                </a:cubicBezTo>
                <a:cubicBezTo>
                  <a:pt x="7" y="35"/>
                  <a:pt x="0" y="33"/>
                  <a:pt x="2" y="32"/>
                </a:cubicBezTo>
                <a:cubicBezTo>
                  <a:pt x="4" y="31"/>
                  <a:pt x="10" y="29"/>
                  <a:pt x="11" y="28"/>
                </a:cubicBezTo>
                <a:cubicBezTo>
                  <a:pt x="14" y="26"/>
                  <a:pt x="13" y="21"/>
                  <a:pt x="8" y="20"/>
                </a:cubicBezTo>
                <a:cubicBezTo>
                  <a:pt x="5" y="20"/>
                  <a:pt x="9" y="10"/>
                  <a:pt x="12" y="9"/>
                </a:cubicBezTo>
                <a:lnTo>
                  <a:pt x="12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2" name="Freeform 276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42 w 248"/>
              <a:gd name="T5" fmla="*/ 57 h 540"/>
              <a:gd name="T6" fmla="*/ 123 w 248"/>
              <a:gd name="T7" fmla="*/ 49 h 540"/>
              <a:gd name="T8" fmla="*/ 106 w 248"/>
              <a:gd name="T9" fmla="*/ 16 h 540"/>
              <a:gd name="T10" fmla="*/ 65 w 248"/>
              <a:gd name="T11" fmla="*/ 29 h 540"/>
              <a:gd name="T12" fmla="*/ 59 w 248"/>
              <a:gd name="T13" fmla="*/ 11 h 540"/>
              <a:gd name="T14" fmla="*/ 43 w 248"/>
              <a:gd name="T15" fmla="*/ 3 h 540"/>
              <a:gd name="T16" fmla="*/ 34 w 248"/>
              <a:gd name="T17" fmla="*/ 25 h 540"/>
              <a:gd name="T18" fmla="*/ 14 w 248"/>
              <a:gd name="T19" fmla="*/ 56 h 540"/>
              <a:gd name="T20" fmla="*/ 4 w 248"/>
              <a:gd name="T21" fmla="*/ 89 h 540"/>
              <a:gd name="T22" fmla="*/ 8 w 248"/>
              <a:gd name="T23" fmla="*/ 121 h 540"/>
              <a:gd name="T24" fmla="*/ 9 w 248"/>
              <a:gd name="T25" fmla="*/ 136 h 540"/>
              <a:gd name="T26" fmla="*/ 10 w 248"/>
              <a:gd name="T27" fmla="*/ 137 h 540"/>
              <a:gd name="T28" fmla="*/ 36 w 248"/>
              <a:gd name="T29" fmla="*/ 160 h 540"/>
              <a:gd name="T30" fmla="*/ 35 w 248"/>
              <a:gd name="T31" fmla="*/ 175 h 540"/>
              <a:gd name="T32" fmla="*/ 34 w 248"/>
              <a:gd name="T33" fmla="*/ 192 h 540"/>
              <a:gd name="T34" fmla="*/ 28 w 248"/>
              <a:gd name="T35" fmla="*/ 204 h 540"/>
              <a:gd name="T36" fmla="*/ 34 w 248"/>
              <a:gd name="T37" fmla="*/ 256 h 540"/>
              <a:gd name="T38" fmla="*/ 30 w 248"/>
              <a:gd name="T39" fmla="*/ 296 h 540"/>
              <a:gd name="T40" fmla="*/ 30 w 248"/>
              <a:gd name="T41" fmla="*/ 317 h 540"/>
              <a:gd name="T42" fmla="*/ 20 w 248"/>
              <a:gd name="T43" fmla="*/ 323 h 540"/>
              <a:gd name="T44" fmla="*/ 15 w 248"/>
              <a:gd name="T45" fmla="*/ 337 h 540"/>
              <a:gd name="T46" fmla="*/ 21 w 248"/>
              <a:gd name="T47" fmla="*/ 369 h 540"/>
              <a:gd name="T48" fmla="*/ 29 w 248"/>
              <a:gd name="T49" fmla="*/ 394 h 540"/>
              <a:gd name="T50" fmla="*/ 29 w 248"/>
              <a:gd name="T51" fmla="*/ 417 h 540"/>
              <a:gd name="T52" fmla="*/ 9 w 248"/>
              <a:gd name="T53" fmla="*/ 401 h 540"/>
              <a:gd name="T54" fmla="*/ 16 w 248"/>
              <a:gd name="T55" fmla="*/ 419 h 540"/>
              <a:gd name="T56" fmla="*/ 79 w 248"/>
              <a:gd name="T57" fmla="*/ 461 h 540"/>
              <a:gd name="T58" fmla="*/ 106 w 248"/>
              <a:gd name="T59" fmla="*/ 496 h 540"/>
              <a:gd name="T60" fmla="*/ 114 w 248"/>
              <a:gd name="T61" fmla="*/ 531 h 540"/>
              <a:gd name="T62" fmla="*/ 130 w 248"/>
              <a:gd name="T63" fmla="*/ 539 h 540"/>
              <a:gd name="T64" fmla="*/ 149 w 248"/>
              <a:gd name="T65" fmla="*/ 509 h 540"/>
              <a:gd name="T66" fmla="*/ 161 w 248"/>
              <a:gd name="T67" fmla="*/ 491 h 540"/>
              <a:gd name="T68" fmla="*/ 165 w 248"/>
              <a:gd name="T69" fmla="*/ 465 h 540"/>
              <a:gd name="T70" fmla="*/ 200 w 248"/>
              <a:gd name="T71" fmla="*/ 443 h 540"/>
              <a:gd name="T72" fmla="*/ 206 w 248"/>
              <a:gd name="T73" fmla="*/ 429 h 540"/>
              <a:gd name="T74" fmla="*/ 213 w 248"/>
              <a:gd name="T75" fmla="*/ 397 h 540"/>
              <a:gd name="T76" fmla="*/ 235 w 248"/>
              <a:gd name="T77" fmla="*/ 379 h 540"/>
              <a:gd name="T78" fmla="*/ 247 w 248"/>
              <a:gd name="T79" fmla="*/ 342 h 540"/>
              <a:gd name="T80" fmla="*/ 235 w 248"/>
              <a:gd name="T81" fmla="*/ 313 h 540"/>
              <a:gd name="T82" fmla="*/ 233 w 248"/>
              <a:gd name="T83" fmla="*/ 308 h 540"/>
              <a:gd name="T84" fmla="*/ 204 w 248"/>
              <a:gd name="T85" fmla="*/ 306 h 540"/>
              <a:gd name="T86" fmla="*/ 193 w 248"/>
              <a:gd name="T87" fmla="*/ 282 h 540"/>
              <a:gd name="T88" fmla="*/ 179 w 248"/>
              <a:gd name="T89" fmla="*/ 264 h 540"/>
              <a:gd name="T90" fmla="*/ 166 w 248"/>
              <a:gd name="T91" fmla="*/ 235 h 540"/>
              <a:gd name="T92" fmla="*/ 164 w 248"/>
              <a:gd name="T93" fmla="*/ 205 h 540"/>
              <a:gd name="T94" fmla="*/ 169 w 248"/>
              <a:gd name="T95" fmla="*/ 181 h 540"/>
              <a:gd name="T96" fmla="*/ 167 w 248"/>
              <a:gd name="T97" fmla="*/ 169 h 540"/>
              <a:gd name="T98" fmla="*/ 165 w 248"/>
              <a:gd name="T99" fmla="*/ 156 h 540"/>
              <a:gd name="T100" fmla="*/ 169 w 248"/>
              <a:gd name="T101" fmla="*/ 140 h 540"/>
              <a:gd name="T102" fmla="*/ 170 w 248"/>
              <a:gd name="T103" fmla="*/ 133 h 540"/>
              <a:gd name="T104" fmla="*/ 175 w 248"/>
              <a:gd name="T105" fmla="*/ 106 h 540"/>
              <a:gd name="T106" fmla="*/ 142 w 248"/>
              <a:gd name="T107" fmla="*/ 57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3" name="Freeform 277"/>
          <p:cNvSpPr>
            <a:spLocks noEditPoints="1"/>
          </p:cNvSpPr>
          <p:nvPr/>
        </p:nvSpPr>
        <p:spPr bwMode="auto">
          <a:xfrm>
            <a:off x="9768705" y="5427619"/>
            <a:ext cx="258536" cy="565985"/>
          </a:xfrm>
          <a:custGeom>
            <a:avLst/>
            <a:gdLst>
              <a:gd name="T0" fmla="*/ 23 w 248"/>
              <a:gd name="T1" fmla="*/ 316 h 540"/>
              <a:gd name="T2" fmla="*/ 27 w 248"/>
              <a:gd name="T3" fmla="*/ 308 h 540"/>
              <a:gd name="T4" fmla="*/ 17 w 248"/>
              <a:gd name="T5" fmla="*/ 315 h 540"/>
              <a:gd name="T6" fmla="*/ 131 w 248"/>
              <a:gd name="T7" fmla="*/ 54 h 540"/>
              <a:gd name="T8" fmla="*/ 108 w 248"/>
              <a:gd name="T9" fmla="*/ 18 h 540"/>
              <a:gd name="T10" fmla="*/ 78 w 248"/>
              <a:gd name="T11" fmla="*/ 21 h 540"/>
              <a:gd name="T12" fmla="*/ 57 w 248"/>
              <a:gd name="T13" fmla="*/ 18 h 540"/>
              <a:gd name="T14" fmla="*/ 52 w 248"/>
              <a:gd name="T15" fmla="*/ 0 h 540"/>
              <a:gd name="T16" fmla="*/ 37 w 248"/>
              <a:gd name="T17" fmla="*/ 16 h 540"/>
              <a:gd name="T18" fmla="*/ 13 w 248"/>
              <a:gd name="T19" fmla="*/ 52 h 540"/>
              <a:gd name="T20" fmla="*/ 0 w 248"/>
              <a:gd name="T21" fmla="*/ 80 h 540"/>
              <a:gd name="T22" fmla="*/ 11 w 248"/>
              <a:gd name="T23" fmla="*/ 117 h 540"/>
              <a:gd name="T24" fmla="*/ 9 w 248"/>
              <a:gd name="T25" fmla="*/ 134 h 540"/>
              <a:gd name="T26" fmla="*/ 10 w 248"/>
              <a:gd name="T27" fmla="*/ 137 h 540"/>
              <a:gd name="T28" fmla="*/ 42 w 248"/>
              <a:gd name="T29" fmla="*/ 150 h 540"/>
              <a:gd name="T30" fmla="*/ 38 w 248"/>
              <a:gd name="T31" fmla="*/ 170 h 540"/>
              <a:gd name="T32" fmla="*/ 41 w 248"/>
              <a:gd name="T33" fmla="*/ 183 h 540"/>
              <a:gd name="T34" fmla="*/ 27 w 248"/>
              <a:gd name="T35" fmla="*/ 200 h 540"/>
              <a:gd name="T36" fmla="*/ 25 w 248"/>
              <a:gd name="T37" fmla="*/ 238 h 540"/>
              <a:gd name="T38" fmla="*/ 26 w 248"/>
              <a:gd name="T39" fmla="*/ 286 h 540"/>
              <a:gd name="T40" fmla="*/ 30 w 248"/>
              <a:gd name="T41" fmla="*/ 316 h 540"/>
              <a:gd name="T42" fmla="*/ 27 w 248"/>
              <a:gd name="T43" fmla="*/ 318 h 540"/>
              <a:gd name="T44" fmla="*/ 18 w 248"/>
              <a:gd name="T45" fmla="*/ 334 h 540"/>
              <a:gd name="T46" fmla="*/ 8 w 248"/>
              <a:gd name="T47" fmla="*/ 359 h 540"/>
              <a:gd name="T48" fmla="*/ 21 w 248"/>
              <a:gd name="T49" fmla="*/ 384 h 540"/>
              <a:gd name="T50" fmla="*/ 30 w 248"/>
              <a:gd name="T51" fmla="*/ 416 h 540"/>
              <a:gd name="T52" fmla="*/ 20 w 248"/>
              <a:gd name="T53" fmla="*/ 408 h 540"/>
              <a:gd name="T54" fmla="*/ 6 w 248"/>
              <a:gd name="T55" fmla="*/ 406 h 540"/>
              <a:gd name="T56" fmla="*/ 61 w 248"/>
              <a:gd name="T57" fmla="*/ 453 h 540"/>
              <a:gd name="T58" fmla="*/ 100 w 248"/>
              <a:gd name="T59" fmla="*/ 489 h 540"/>
              <a:gd name="T60" fmla="*/ 112 w 248"/>
              <a:gd name="T61" fmla="*/ 517 h 540"/>
              <a:gd name="T62" fmla="*/ 130 w 248"/>
              <a:gd name="T63" fmla="*/ 540 h 540"/>
              <a:gd name="T64" fmla="*/ 153 w 248"/>
              <a:gd name="T65" fmla="*/ 523 h 540"/>
              <a:gd name="T66" fmla="*/ 167 w 248"/>
              <a:gd name="T67" fmla="*/ 505 h 540"/>
              <a:gd name="T68" fmla="*/ 159 w 248"/>
              <a:gd name="T69" fmla="*/ 471 h 540"/>
              <a:gd name="T70" fmla="*/ 195 w 248"/>
              <a:gd name="T71" fmla="*/ 456 h 540"/>
              <a:gd name="T72" fmla="*/ 203 w 248"/>
              <a:gd name="T73" fmla="*/ 433 h 540"/>
              <a:gd name="T74" fmla="*/ 209 w 248"/>
              <a:gd name="T75" fmla="*/ 407 h 540"/>
              <a:gd name="T76" fmla="*/ 231 w 248"/>
              <a:gd name="T77" fmla="*/ 382 h 540"/>
              <a:gd name="T78" fmla="*/ 248 w 248"/>
              <a:gd name="T79" fmla="*/ 352 h 540"/>
              <a:gd name="T80" fmla="*/ 237 w 248"/>
              <a:gd name="T81" fmla="*/ 324 h 540"/>
              <a:gd name="T82" fmla="*/ 235 w 248"/>
              <a:gd name="T83" fmla="*/ 313 h 540"/>
              <a:gd name="T84" fmla="*/ 213 w 248"/>
              <a:gd name="T85" fmla="*/ 303 h 540"/>
              <a:gd name="T86" fmla="*/ 195 w 248"/>
              <a:gd name="T87" fmla="*/ 289 h 540"/>
              <a:gd name="T88" fmla="*/ 180 w 248"/>
              <a:gd name="T89" fmla="*/ 274 h 540"/>
              <a:gd name="T90" fmla="*/ 174 w 248"/>
              <a:gd name="T91" fmla="*/ 256 h 540"/>
              <a:gd name="T92" fmla="*/ 172 w 248"/>
              <a:gd name="T93" fmla="*/ 218 h 540"/>
              <a:gd name="T94" fmla="*/ 168 w 248"/>
              <a:gd name="T95" fmla="*/ 185 h 540"/>
              <a:gd name="T96" fmla="*/ 166 w 248"/>
              <a:gd name="T97" fmla="*/ 175 h 540"/>
              <a:gd name="T98" fmla="*/ 166 w 248"/>
              <a:gd name="T99" fmla="*/ 162 h 540"/>
              <a:gd name="T100" fmla="*/ 170 w 248"/>
              <a:gd name="T101" fmla="*/ 146 h 540"/>
              <a:gd name="T102" fmla="*/ 163 w 248"/>
              <a:gd name="T103" fmla="*/ 132 h 540"/>
              <a:gd name="T104" fmla="*/ 179 w 248"/>
              <a:gd name="T105" fmla="*/ 114 h 540"/>
              <a:gd name="T106" fmla="*/ 166 w 248"/>
              <a:gd name="T107" fmla="*/ 81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8" h="540">
                <a:moveTo>
                  <a:pt x="17" y="315"/>
                </a:moveTo>
                <a:lnTo>
                  <a:pt x="17" y="315"/>
                </a:lnTo>
                <a:lnTo>
                  <a:pt x="23" y="316"/>
                </a:lnTo>
                <a:cubicBezTo>
                  <a:pt x="25" y="315"/>
                  <a:pt x="27" y="314"/>
                  <a:pt x="29" y="314"/>
                </a:cubicBezTo>
                <a:cubicBezTo>
                  <a:pt x="28" y="312"/>
                  <a:pt x="27" y="310"/>
                  <a:pt x="26" y="310"/>
                </a:cubicBezTo>
                <a:cubicBezTo>
                  <a:pt x="26" y="310"/>
                  <a:pt x="27" y="309"/>
                  <a:pt x="27" y="308"/>
                </a:cubicBezTo>
                <a:cubicBezTo>
                  <a:pt x="23" y="310"/>
                  <a:pt x="20" y="311"/>
                  <a:pt x="18" y="311"/>
                </a:cubicBezTo>
                <a:lnTo>
                  <a:pt x="17" y="315"/>
                </a:lnTo>
                <a:lnTo>
                  <a:pt x="17" y="315"/>
                </a:lnTo>
                <a:close/>
                <a:moveTo>
                  <a:pt x="142" y="57"/>
                </a:moveTo>
                <a:lnTo>
                  <a:pt x="142" y="57"/>
                </a:lnTo>
                <a:cubicBezTo>
                  <a:pt x="137" y="56"/>
                  <a:pt x="134" y="55"/>
                  <a:pt x="131" y="54"/>
                </a:cubicBezTo>
                <a:cubicBezTo>
                  <a:pt x="127" y="53"/>
                  <a:pt x="125" y="51"/>
                  <a:pt x="123" y="49"/>
                </a:cubicBezTo>
                <a:cubicBezTo>
                  <a:pt x="121" y="46"/>
                  <a:pt x="119" y="41"/>
                  <a:pt x="117" y="33"/>
                </a:cubicBezTo>
                <a:cubicBezTo>
                  <a:pt x="116" y="29"/>
                  <a:pt x="113" y="24"/>
                  <a:pt x="108" y="18"/>
                </a:cubicBezTo>
                <a:cubicBezTo>
                  <a:pt x="107" y="18"/>
                  <a:pt x="107" y="17"/>
                  <a:pt x="106" y="16"/>
                </a:cubicBezTo>
                <a:cubicBezTo>
                  <a:pt x="101" y="15"/>
                  <a:pt x="97" y="14"/>
                  <a:pt x="97" y="14"/>
                </a:cubicBezTo>
                <a:cubicBezTo>
                  <a:pt x="92" y="14"/>
                  <a:pt x="86" y="16"/>
                  <a:pt x="78" y="21"/>
                </a:cubicBezTo>
                <a:cubicBezTo>
                  <a:pt x="70" y="26"/>
                  <a:pt x="66" y="29"/>
                  <a:pt x="65" y="29"/>
                </a:cubicBezTo>
                <a:cubicBezTo>
                  <a:pt x="63" y="29"/>
                  <a:pt x="61" y="27"/>
                  <a:pt x="59" y="24"/>
                </a:cubicBezTo>
                <a:cubicBezTo>
                  <a:pt x="58" y="21"/>
                  <a:pt x="57" y="19"/>
                  <a:pt x="57" y="18"/>
                </a:cubicBezTo>
                <a:cubicBezTo>
                  <a:pt x="59" y="14"/>
                  <a:pt x="59" y="12"/>
                  <a:pt x="59" y="11"/>
                </a:cubicBezTo>
                <a:cubicBezTo>
                  <a:pt x="60" y="9"/>
                  <a:pt x="59" y="7"/>
                  <a:pt x="58" y="4"/>
                </a:cubicBezTo>
                <a:cubicBezTo>
                  <a:pt x="56" y="2"/>
                  <a:pt x="54" y="0"/>
                  <a:pt x="52" y="0"/>
                </a:cubicBezTo>
                <a:cubicBezTo>
                  <a:pt x="50" y="0"/>
                  <a:pt x="47" y="1"/>
                  <a:pt x="43" y="3"/>
                </a:cubicBezTo>
                <a:cubicBezTo>
                  <a:pt x="39" y="6"/>
                  <a:pt x="36" y="8"/>
                  <a:pt x="36" y="9"/>
                </a:cubicBezTo>
                <a:cubicBezTo>
                  <a:pt x="36" y="10"/>
                  <a:pt x="37" y="12"/>
                  <a:pt x="37" y="16"/>
                </a:cubicBezTo>
                <a:cubicBezTo>
                  <a:pt x="36" y="21"/>
                  <a:pt x="35" y="24"/>
                  <a:pt x="34" y="25"/>
                </a:cubicBezTo>
                <a:cubicBezTo>
                  <a:pt x="30" y="27"/>
                  <a:pt x="27" y="31"/>
                  <a:pt x="25" y="35"/>
                </a:cubicBezTo>
                <a:cubicBezTo>
                  <a:pt x="22" y="38"/>
                  <a:pt x="18" y="44"/>
                  <a:pt x="13" y="52"/>
                </a:cubicBezTo>
                <a:cubicBezTo>
                  <a:pt x="13" y="53"/>
                  <a:pt x="13" y="54"/>
                  <a:pt x="14" y="56"/>
                </a:cubicBezTo>
                <a:cubicBezTo>
                  <a:pt x="13" y="59"/>
                  <a:pt x="11" y="63"/>
                  <a:pt x="7" y="69"/>
                </a:cubicBezTo>
                <a:cubicBezTo>
                  <a:pt x="3" y="74"/>
                  <a:pt x="0" y="78"/>
                  <a:pt x="0" y="80"/>
                </a:cubicBezTo>
                <a:cubicBezTo>
                  <a:pt x="0" y="84"/>
                  <a:pt x="1" y="87"/>
                  <a:pt x="4" y="89"/>
                </a:cubicBezTo>
                <a:cubicBezTo>
                  <a:pt x="5" y="89"/>
                  <a:pt x="7" y="92"/>
                  <a:pt x="9" y="96"/>
                </a:cubicBezTo>
                <a:cubicBezTo>
                  <a:pt x="11" y="100"/>
                  <a:pt x="12" y="107"/>
                  <a:pt x="11" y="117"/>
                </a:cubicBezTo>
                <a:cubicBezTo>
                  <a:pt x="11" y="118"/>
                  <a:pt x="10" y="119"/>
                  <a:pt x="8" y="121"/>
                </a:cubicBezTo>
                <a:cubicBezTo>
                  <a:pt x="6" y="122"/>
                  <a:pt x="5" y="124"/>
                  <a:pt x="5" y="125"/>
                </a:cubicBezTo>
                <a:cubicBezTo>
                  <a:pt x="5" y="127"/>
                  <a:pt x="6" y="130"/>
                  <a:pt x="9" y="134"/>
                </a:cubicBezTo>
                <a:cubicBezTo>
                  <a:pt x="9" y="135"/>
                  <a:pt x="9" y="135"/>
                  <a:pt x="9" y="136"/>
                </a:cubicBezTo>
                <a:lnTo>
                  <a:pt x="9" y="136"/>
                </a:lnTo>
                <a:cubicBezTo>
                  <a:pt x="10" y="137"/>
                  <a:pt x="10" y="137"/>
                  <a:pt x="10" y="137"/>
                </a:cubicBezTo>
                <a:lnTo>
                  <a:pt x="10" y="137"/>
                </a:lnTo>
                <a:lnTo>
                  <a:pt x="10" y="138"/>
                </a:lnTo>
                <a:cubicBezTo>
                  <a:pt x="18" y="141"/>
                  <a:pt x="29" y="145"/>
                  <a:pt x="42" y="150"/>
                </a:cubicBezTo>
                <a:cubicBezTo>
                  <a:pt x="38" y="156"/>
                  <a:pt x="36" y="159"/>
                  <a:pt x="36" y="160"/>
                </a:cubicBezTo>
                <a:cubicBezTo>
                  <a:pt x="36" y="161"/>
                  <a:pt x="36" y="163"/>
                  <a:pt x="37" y="165"/>
                </a:cubicBezTo>
                <a:cubicBezTo>
                  <a:pt x="38" y="166"/>
                  <a:pt x="38" y="168"/>
                  <a:pt x="38" y="170"/>
                </a:cubicBezTo>
                <a:cubicBezTo>
                  <a:pt x="38" y="171"/>
                  <a:pt x="37" y="173"/>
                  <a:pt x="35" y="175"/>
                </a:cubicBezTo>
                <a:cubicBezTo>
                  <a:pt x="35" y="177"/>
                  <a:pt x="36" y="179"/>
                  <a:pt x="38" y="180"/>
                </a:cubicBezTo>
                <a:cubicBezTo>
                  <a:pt x="41" y="181"/>
                  <a:pt x="42" y="182"/>
                  <a:pt x="41" y="183"/>
                </a:cubicBezTo>
                <a:cubicBezTo>
                  <a:pt x="41" y="187"/>
                  <a:pt x="38" y="190"/>
                  <a:pt x="34" y="192"/>
                </a:cubicBezTo>
                <a:cubicBezTo>
                  <a:pt x="32" y="193"/>
                  <a:pt x="28" y="195"/>
                  <a:pt x="22" y="197"/>
                </a:cubicBezTo>
                <a:cubicBezTo>
                  <a:pt x="23" y="198"/>
                  <a:pt x="25" y="199"/>
                  <a:pt x="27" y="200"/>
                </a:cubicBezTo>
                <a:cubicBezTo>
                  <a:pt x="28" y="201"/>
                  <a:pt x="28" y="202"/>
                  <a:pt x="28" y="204"/>
                </a:cubicBezTo>
                <a:cubicBezTo>
                  <a:pt x="28" y="208"/>
                  <a:pt x="23" y="215"/>
                  <a:pt x="16" y="224"/>
                </a:cubicBezTo>
                <a:cubicBezTo>
                  <a:pt x="15" y="225"/>
                  <a:pt x="19" y="230"/>
                  <a:pt x="25" y="238"/>
                </a:cubicBezTo>
                <a:cubicBezTo>
                  <a:pt x="32" y="245"/>
                  <a:pt x="34" y="251"/>
                  <a:pt x="34" y="256"/>
                </a:cubicBezTo>
                <a:cubicBezTo>
                  <a:pt x="34" y="257"/>
                  <a:pt x="33" y="261"/>
                  <a:pt x="30" y="269"/>
                </a:cubicBezTo>
                <a:cubicBezTo>
                  <a:pt x="28" y="277"/>
                  <a:pt x="26" y="283"/>
                  <a:pt x="26" y="286"/>
                </a:cubicBezTo>
                <a:cubicBezTo>
                  <a:pt x="25" y="289"/>
                  <a:pt x="27" y="292"/>
                  <a:pt x="30" y="296"/>
                </a:cubicBezTo>
                <a:cubicBezTo>
                  <a:pt x="33" y="301"/>
                  <a:pt x="35" y="306"/>
                  <a:pt x="34" y="311"/>
                </a:cubicBezTo>
                <a:cubicBezTo>
                  <a:pt x="34" y="313"/>
                  <a:pt x="33" y="315"/>
                  <a:pt x="30" y="316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30" y="317"/>
                  <a:pt x="30" y="317"/>
                  <a:pt x="30" y="317"/>
                </a:cubicBezTo>
                <a:cubicBezTo>
                  <a:pt x="29" y="317"/>
                  <a:pt x="28" y="317"/>
                  <a:pt x="27" y="318"/>
                </a:cubicBezTo>
                <a:cubicBezTo>
                  <a:pt x="23" y="320"/>
                  <a:pt x="20" y="321"/>
                  <a:pt x="20" y="323"/>
                </a:cubicBezTo>
                <a:cubicBezTo>
                  <a:pt x="20" y="324"/>
                  <a:pt x="20" y="327"/>
                  <a:pt x="21" y="330"/>
                </a:cubicBezTo>
                <a:cubicBezTo>
                  <a:pt x="21" y="332"/>
                  <a:pt x="20" y="333"/>
                  <a:pt x="18" y="334"/>
                </a:cubicBezTo>
                <a:cubicBezTo>
                  <a:pt x="16" y="335"/>
                  <a:pt x="15" y="336"/>
                  <a:pt x="15" y="337"/>
                </a:cubicBezTo>
                <a:cubicBezTo>
                  <a:pt x="15" y="340"/>
                  <a:pt x="15" y="343"/>
                  <a:pt x="15" y="347"/>
                </a:cubicBezTo>
                <a:cubicBezTo>
                  <a:pt x="15" y="352"/>
                  <a:pt x="12" y="356"/>
                  <a:pt x="8" y="359"/>
                </a:cubicBezTo>
                <a:cubicBezTo>
                  <a:pt x="9" y="361"/>
                  <a:pt x="14" y="365"/>
                  <a:pt x="21" y="369"/>
                </a:cubicBezTo>
                <a:cubicBezTo>
                  <a:pt x="28" y="374"/>
                  <a:pt x="31" y="377"/>
                  <a:pt x="31" y="378"/>
                </a:cubicBezTo>
                <a:cubicBezTo>
                  <a:pt x="30" y="381"/>
                  <a:pt x="27" y="383"/>
                  <a:pt x="21" y="384"/>
                </a:cubicBezTo>
                <a:cubicBezTo>
                  <a:pt x="22" y="385"/>
                  <a:pt x="24" y="389"/>
                  <a:pt x="29" y="394"/>
                </a:cubicBezTo>
                <a:cubicBezTo>
                  <a:pt x="32" y="397"/>
                  <a:pt x="33" y="401"/>
                  <a:pt x="32" y="406"/>
                </a:cubicBezTo>
                <a:cubicBezTo>
                  <a:pt x="32" y="408"/>
                  <a:pt x="31" y="412"/>
                  <a:pt x="30" y="416"/>
                </a:cubicBezTo>
                <a:cubicBezTo>
                  <a:pt x="29" y="417"/>
                  <a:pt x="29" y="417"/>
                  <a:pt x="29" y="417"/>
                </a:cubicBezTo>
                <a:lnTo>
                  <a:pt x="29" y="416"/>
                </a:lnTo>
                <a:cubicBezTo>
                  <a:pt x="28" y="416"/>
                  <a:pt x="25" y="413"/>
                  <a:pt x="20" y="408"/>
                </a:cubicBezTo>
                <a:cubicBezTo>
                  <a:pt x="15" y="404"/>
                  <a:pt x="11" y="402"/>
                  <a:pt x="9" y="401"/>
                </a:cubicBezTo>
                <a:cubicBezTo>
                  <a:pt x="8" y="402"/>
                  <a:pt x="7" y="402"/>
                  <a:pt x="7" y="402"/>
                </a:cubicBezTo>
                <a:lnTo>
                  <a:pt x="6" y="406"/>
                </a:lnTo>
                <a:cubicBezTo>
                  <a:pt x="9" y="408"/>
                  <a:pt x="12" y="413"/>
                  <a:pt x="16" y="419"/>
                </a:cubicBezTo>
                <a:cubicBezTo>
                  <a:pt x="20" y="426"/>
                  <a:pt x="24" y="431"/>
                  <a:pt x="28" y="434"/>
                </a:cubicBezTo>
                <a:cubicBezTo>
                  <a:pt x="34" y="439"/>
                  <a:pt x="45" y="445"/>
                  <a:pt x="61" y="453"/>
                </a:cubicBezTo>
                <a:cubicBezTo>
                  <a:pt x="65" y="455"/>
                  <a:pt x="70" y="458"/>
                  <a:pt x="79" y="461"/>
                </a:cubicBezTo>
                <a:cubicBezTo>
                  <a:pt x="86" y="465"/>
                  <a:pt x="91" y="469"/>
                  <a:pt x="93" y="472"/>
                </a:cubicBezTo>
                <a:cubicBezTo>
                  <a:pt x="95" y="476"/>
                  <a:pt x="97" y="482"/>
                  <a:pt x="100" y="489"/>
                </a:cubicBezTo>
                <a:cubicBezTo>
                  <a:pt x="100" y="491"/>
                  <a:pt x="102" y="493"/>
                  <a:pt x="106" y="496"/>
                </a:cubicBezTo>
                <a:cubicBezTo>
                  <a:pt x="108" y="499"/>
                  <a:pt x="109" y="502"/>
                  <a:pt x="109" y="505"/>
                </a:cubicBezTo>
                <a:cubicBezTo>
                  <a:pt x="112" y="506"/>
                  <a:pt x="112" y="510"/>
                  <a:pt x="112" y="517"/>
                </a:cubicBezTo>
                <a:cubicBezTo>
                  <a:pt x="110" y="525"/>
                  <a:pt x="111" y="530"/>
                  <a:pt x="114" y="531"/>
                </a:cubicBezTo>
                <a:cubicBezTo>
                  <a:pt x="117" y="532"/>
                  <a:pt x="121" y="534"/>
                  <a:pt x="126" y="537"/>
                </a:cubicBezTo>
                <a:cubicBezTo>
                  <a:pt x="127" y="538"/>
                  <a:pt x="129" y="539"/>
                  <a:pt x="130" y="540"/>
                </a:cubicBezTo>
                <a:cubicBezTo>
                  <a:pt x="130" y="540"/>
                  <a:pt x="130" y="539"/>
                  <a:pt x="130" y="539"/>
                </a:cubicBezTo>
                <a:cubicBezTo>
                  <a:pt x="133" y="538"/>
                  <a:pt x="137" y="536"/>
                  <a:pt x="142" y="533"/>
                </a:cubicBezTo>
                <a:cubicBezTo>
                  <a:pt x="149" y="528"/>
                  <a:pt x="153" y="525"/>
                  <a:pt x="153" y="523"/>
                </a:cubicBezTo>
                <a:cubicBezTo>
                  <a:pt x="154" y="518"/>
                  <a:pt x="153" y="513"/>
                  <a:pt x="149" y="509"/>
                </a:cubicBezTo>
                <a:cubicBezTo>
                  <a:pt x="150" y="509"/>
                  <a:pt x="154" y="509"/>
                  <a:pt x="160" y="509"/>
                </a:cubicBezTo>
                <a:cubicBezTo>
                  <a:pt x="165" y="509"/>
                  <a:pt x="167" y="508"/>
                  <a:pt x="167" y="505"/>
                </a:cubicBezTo>
                <a:cubicBezTo>
                  <a:pt x="167" y="503"/>
                  <a:pt x="165" y="498"/>
                  <a:pt x="161" y="491"/>
                </a:cubicBezTo>
                <a:cubicBezTo>
                  <a:pt x="156" y="484"/>
                  <a:pt x="154" y="479"/>
                  <a:pt x="155" y="476"/>
                </a:cubicBezTo>
                <a:cubicBezTo>
                  <a:pt x="155" y="474"/>
                  <a:pt x="156" y="472"/>
                  <a:pt x="159" y="471"/>
                </a:cubicBezTo>
                <a:cubicBezTo>
                  <a:pt x="162" y="469"/>
                  <a:pt x="165" y="467"/>
                  <a:pt x="165" y="465"/>
                </a:cubicBezTo>
                <a:cubicBezTo>
                  <a:pt x="168" y="460"/>
                  <a:pt x="172" y="458"/>
                  <a:pt x="177" y="458"/>
                </a:cubicBezTo>
                <a:cubicBezTo>
                  <a:pt x="187" y="458"/>
                  <a:pt x="193" y="457"/>
                  <a:pt x="195" y="456"/>
                </a:cubicBezTo>
                <a:cubicBezTo>
                  <a:pt x="198" y="455"/>
                  <a:pt x="199" y="450"/>
                  <a:pt x="200" y="443"/>
                </a:cubicBezTo>
                <a:cubicBezTo>
                  <a:pt x="200" y="440"/>
                  <a:pt x="199" y="438"/>
                  <a:pt x="199" y="436"/>
                </a:cubicBezTo>
                <a:cubicBezTo>
                  <a:pt x="199" y="436"/>
                  <a:pt x="201" y="435"/>
                  <a:pt x="203" y="433"/>
                </a:cubicBezTo>
                <a:cubicBezTo>
                  <a:pt x="205" y="432"/>
                  <a:pt x="206" y="431"/>
                  <a:pt x="206" y="429"/>
                </a:cubicBezTo>
                <a:cubicBezTo>
                  <a:pt x="206" y="422"/>
                  <a:pt x="206" y="417"/>
                  <a:pt x="206" y="416"/>
                </a:cubicBezTo>
                <a:cubicBezTo>
                  <a:pt x="206" y="412"/>
                  <a:pt x="208" y="408"/>
                  <a:pt x="209" y="407"/>
                </a:cubicBezTo>
                <a:cubicBezTo>
                  <a:pt x="211" y="406"/>
                  <a:pt x="213" y="403"/>
                  <a:pt x="213" y="397"/>
                </a:cubicBezTo>
                <a:cubicBezTo>
                  <a:pt x="214" y="387"/>
                  <a:pt x="218" y="383"/>
                  <a:pt x="225" y="382"/>
                </a:cubicBezTo>
                <a:cubicBezTo>
                  <a:pt x="226" y="381"/>
                  <a:pt x="229" y="381"/>
                  <a:pt x="231" y="382"/>
                </a:cubicBezTo>
                <a:cubicBezTo>
                  <a:pt x="233" y="382"/>
                  <a:pt x="235" y="381"/>
                  <a:pt x="235" y="379"/>
                </a:cubicBezTo>
                <a:cubicBezTo>
                  <a:pt x="236" y="375"/>
                  <a:pt x="237" y="371"/>
                  <a:pt x="237" y="369"/>
                </a:cubicBezTo>
                <a:cubicBezTo>
                  <a:pt x="243" y="370"/>
                  <a:pt x="247" y="364"/>
                  <a:pt x="248" y="352"/>
                </a:cubicBezTo>
                <a:cubicBezTo>
                  <a:pt x="248" y="347"/>
                  <a:pt x="248" y="344"/>
                  <a:pt x="247" y="342"/>
                </a:cubicBezTo>
                <a:cubicBezTo>
                  <a:pt x="247" y="342"/>
                  <a:pt x="246" y="341"/>
                  <a:pt x="244" y="340"/>
                </a:cubicBezTo>
                <a:cubicBezTo>
                  <a:pt x="240" y="339"/>
                  <a:pt x="237" y="334"/>
                  <a:pt x="237" y="324"/>
                </a:cubicBezTo>
                <a:cubicBezTo>
                  <a:pt x="237" y="319"/>
                  <a:pt x="236" y="315"/>
                  <a:pt x="235" y="313"/>
                </a:cubicBezTo>
                <a:cubicBezTo>
                  <a:pt x="234" y="313"/>
                  <a:pt x="234" y="313"/>
                  <a:pt x="233" y="313"/>
                </a:cubicBezTo>
                <a:cubicBezTo>
                  <a:pt x="234" y="313"/>
                  <a:pt x="234" y="313"/>
                  <a:pt x="235" y="313"/>
                </a:cubicBezTo>
                <a:cubicBezTo>
                  <a:pt x="235" y="311"/>
                  <a:pt x="234" y="309"/>
                  <a:pt x="233" y="308"/>
                </a:cubicBezTo>
                <a:cubicBezTo>
                  <a:pt x="230" y="304"/>
                  <a:pt x="225" y="301"/>
                  <a:pt x="219" y="300"/>
                </a:cubicBezTo>
                <a:cubicBezTo>
                  <a:pt x="218" y="300"/>
                  <a:pt x="216" y="301"/>
                  <a:pt x="213" y="303"/>
                </a:cubicBezTo>
                <a:cubicBezTo>
                  <a:pt x="211" y="305"/>
                  <a:pt x="208" y="306"/>
                  <a:pt x="204" y="306"/>
                </a:cubicBezTo>
                <a:cubicBezTo>
                  <a:pt x="202" y="306"/>
                  <a:pt x="200" y="303"/>
                  <a:pt x="198" y="298"/>
                </a:cubicBezTo>
                <a:cubicBezTo>
                  <a:pt x="196" y="293"/>
                  <a:pt x="195" y="290"/>
                  <a:pt x="195" y="289"/>
                </a:cubicBezTo>
                <a:cubicBezTo>
                  <a:pt x="194" y="287"/>
                  <a:pt x="194" y="285"/>
                  <a:pt x="193" y="282"/>
                </a:cubicBezTo>
                <a:cubicBezTo>
                  <a:pt x="193" y="280"/>
                  <a:pt x="193" y="278"/>
                  <a:pt x="191" y="277"/>
                </a:cubicBezTo>
                <a:cubicBezTo>
                  <a:pt x="186" y="276"/>
                  <a:pt x="182" y="275"/>
                  <a:pt x="180" y="274"/>
                </a:cubicBezTo>
                <a:cubicBezTo>
                  <a:pt x="181" y="270"/>
                  <a:pt x="181" y="267"/>
                  <a:pt x="179" y="264"/>
                </a:cubicBezTo>
                <a:cubicBezTo>
                  <a:pt x="177" y="261"/>
                  <a:pt x="175" y="258"/>
                  <a:pt x="174" y="256"/>
                </a:cubicBezTo>
                <a:cubicBezTo>
                  <a:pt x="174" y="256"/>
                  <a:pt x="174" y="256"/>
                  <a:pt x="174" y="256"/>
                </a:cubicBezTo>
                <a:cubicBezTo>
                  <a:pt x="168" y="250"/>
                  <a:pt x="165" y="243"/>
                  <a:pt x="166" y="235"/>
                </a:cubicBezTo>
                <a:cubicBezTo>
                  <a:pt x="166" y="231"/>
                  <a:pt x="167" y="228"/>
                  <a:pt x="167" y="227"/>
                </a:cubicBezTo>
                <a:cubicBezTo>
                  <a:pt x="168" y="225"/>
                  <a:pt x="170" y="222"/>
                  <a:pt x="172" y="218"/>
                </a:cubicBezTo>
                <a:cubicBezTo>
                  <a:pt x="170" y="216"/>
                  <a:pt x="168" y="212"/>
                  <a:pt x="164" y="205"/>
                </a:cubicBezTo>
                <a:cubicBezTo>
                  <a:pt x="161" y="198"/>
                  <a:pt x="159" y="193"/>
                  <a:pt x="159" y="190"/>
                </a:cubicBezTo>
                <a:cubicBezTo>
                  <a:pt x="159" y="187"/>
                  <a:pt x="163" y="186"/>
                  <a:pt x="168" y="185"/>
                </a:cubicBezTo>
                <a:lnTo>
                  <a:pt x="169" y="181"/>
                </a:lnTo>
                <a:cubicBezTo>
                  <a:pt x="168" y="180"/>
                  <a:pt x="167" y="179"/>
                  <a:pt x="167" y="179"/>
                </a:cubicBezTo>
                <a:cubicBezTo>
                  <a:pt x="166" y="177"/>
                  <a:pt x="166" y="176"/>
                  <a:pt x="166" y="175"/>
                </a:cubicBezTo>
                <a:cubicBezTo>
                  <a:pt x="167" y="172"/>
                  <a:pt x="167" y="170"/>
                  <a:pt x="167" y="169"/>
                </a:cubicBezTo>
                <a:cubicBezTo>
                  <a:pt x="167" y="168"/>
                  <a:pt x="167" y="168"/>
                  <a:pt x="168" y="168"/>
                </a:cubicBezTo>
                <a:cubicBezTo>
                  <a:pt x="167" y="167"/>
                  <a:pt x="166" y="165"/>
                  <a:pt x="166" y="162"/>
                </a:cubicBezTo>
                <a:cubicBezTo>
                  <a:pt x="165" y="159"/>
                  <a:pt x="165" y="157"/>
                  <a:pt x="165" y="156"/>
                </a:cubicBezTo>
                <a:cubicBezTo>
                  <a:pt x="165" y="154"/>
                  <a:pt x="166" y="152"/>
                  <a:pt x="168" y="151"/>
                </a:cubicBezTo>
                <a:cubicBezTo>
                  <a:pt x="169" y="149"/>
                  <a:pt x="170" y="148"/>
                  <a:pt x="170" y="146"/>
                </a:cubicBezTo>
                <a:cubicBezTo>
                  <a:pt x="170" y="144"/>
                  <a:pt x="169" y="142"/>
                  <a:pt x="169" y="140"/>
                </a:cubicBezTo>
                <a:cubicBezTo>
                  <a:pt x="169" y="138"/>
                  <a:pt x="170" y="135"/>
                  <a:pt x="170" y="133"/>
                </a:cubicBezTo>
                <a:cubicBezTo>
                  <a:pt x="168" y="133"/>
                  <a:pt x="165" y="132"/>
                  <a:pt x="163" y="132"/>
                </a:cubicBezTo>
                <a:cubicBezTo>
                  <a:pt x="165" y="132"/>
                  <a:pt x="168" y="133"/>
                  <a:pt x="170" y="133"/>
                </a:cubicBezTo>
                <a:cubicBezTo>
                  <a:pt x="171" y="130"/>
                  <a:pt x="171" y="128"/>
                  <a:pt x="172" y="126"/>
                </a:cubicBezTo>
                <a:cubicBezTo>
                  <a:pt x="177" y="118"/>
                  <a:pt x="179" y="115"/>
                  <a:pt x="179" y="114"/>
                </a:cubicBezTo>
                <a:cubicBezTo>
                  <a:pt x="179" y="112"/>
                  <a:pt x="178" y="109"/>
                  <a:pt x="175" y="106"/>
                </a:cubicBezTo>
                <a:cubicBezTo>
                  <a:pt x="174" y="103"/>
                  <a:pt x="172" y="101"/>
                  <a:pt x="171" y="100"/>
                </a:cubicBezTo>
                <a:lnTo>
                  <a:pt x="166" y="81"/>
                </a:lnTo>
                <a:cubicBezTo>
                  <a:pt x="162" y="69"/>
                  <a:pt x="153" y="61"/>
                  <a:pt x="142" y="57"/>
                </a:cubicBezTo>
                <a:lnTo>
                  <a:pt x="142" y="57"/>
                </a:lnTo>
                <a:close/>
              </a:path>
            </a:pathLst>
          </a:custGeom>
          <a:noFill/>
          <a:ln w="3175" cap="flat">
            <a:solidFill>
              <a:schemeClr val="bg1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6" name="Freeform 322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7" name="Freeform 323"/>
          <p:cNvSpPr/>
          <p:nvPr/>
        </p:nvSpPr>
        <p:spPr bwMode="auto">
          <a:xfrm>
            <a:off x="7791252" y="1846542"/>
            <a:ext cx="12229" cy="15722"/>
          </a:xfrm>
          <a:custGeom>
            <a:avLst/>
            <a:gdLst>
              <a:gd name="T0" fmla="*/ 6 w 12"/>
              <a:gd name="T1" fmla="*/ 0 h 15"/>
              <a:gd name="T2" fmla="*/ 6 w 12"/>
              <a:gd name="T3" fmla="*/ 0 h 15"/>
              <a:gd name="T4" fmla="*/ 2 w 12"/>
              <a:gd name="T5" fmla="*/ 4 h 15"/>
              <a:gd name="T6" fmla="*/ 0 w 12"/>
              <a:gd name="T7" fmla="*/ 8 h 15"/>
              <a:gd name="T8" fmla="*/ 1 w 12"/>
              <a:gd name="T9" fmla="*/ 12 h 15"/>
              <a:gd name="T10" fmla="*/ 3 w 12"/>
              <a:gd name="T11" fmla="*/ 14 h 15"/>
              <a:gd name="T12" fmla="*/ 8 w 12"/>
              <a:gd name="T13" fmla="*/ 11 h 15"/>
              <a:gd name="T14" fmla="*/ 12 w 12"/>
              <a:gd name="T15" fmla="*/ 6 h 15"/>
              <a:gd name="T16" fmla="*/ 6 w 12"/>
              <a:gd name="T17" fmla="*/ 0 h 15"/>
              <a:gd name="T18" fmla="*/ 6 w 12"/>
              <a:gd name="T1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5">
                <a:moveTo>
                  <a:pt x="6" y="0"/>
                </a:moveTo>
                <a:lnTo>
                  <a:pt x="6" y="0"/>
                </a:lnTo>
                <a:cubicBezTo>
                  <a:pt x="5" y="0"/>
                  <a:pt x="4" y="2"/>
                  <a:pt x="2" y="4"/>
                </a:cubicBezTo>
                <a:cubicBezTo>
                  <a:pt x="1" y="6"/>
                  <a:pt x="0" y="7"/>
                  <a:pt x="0" y="8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4"/>
                  <a:pt x="2" y="14"/>
                  <a:pt x="3" y="14"/>
                </a:cubicBezTo>
                <a:cubicBezTo>
                  <a:pt x="4" y="15"/>
                  <a:pt x="6" y="14"/>
                  <a:pt x="8" y="11"/>
                </a:cubicBezTo>
                <a:cubicBezTo>
                  <a:pt x="11" y="9"/>
                  <a:pt x="12" y="8"/>
                  <a:pt x="12" y="6"/>
                </a:cubicBezTo>
                <a:cubicBezTo>
                  <a:pt x="8" y="3"/>
                  <a:pt x="6" y="1"/>
                  <a:pt x="6" y="0"/>
                </a:cubicBezTo>
                <a:lnTo>
                  <a:pt x="6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8" name="Freeform 324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 325"/>
          <p:cNvSpPr/>
          <p:nvPr/>
        </p:nvSpPr>
        <p:spPr bwMode="auto">
          <a:xfrm>
            <a:off x="7808720" y="1836061"/>
            <a:ext cx="20962" cy="22710"/>
          </a:xfrm>
          <a:custGeom>
            <a:avLst/>
            <a:gdLst>
              <a:gd name="T0" fmla="*/ 2 w 19"/>
              <a:gd name="T1" fmla="*/ 12 h 22"/>
              <a:gd name="T2" fmla="*/ 2 w 19"/>
              <a:gd name="T3" fmla="*/ 12 h 22"/>
              <a:gd name="T4" fmla="*/ 9 w 19"/>
              <a:gd name="T5" fmla="*/ 1 h 22"/>
              <a:gd name="T6" fmla="*/ 19 w 19"/>
              <a:gd name="T7" fmla="*/ 2 h 22"/>
              <a:gd name="T8" fmla="*/ 19 w 19"/>
              <a:gd name="T9" fmla="*/ 3 h 22"/>
              <a:gd name="T10" fmla="*/ 17 w 19"/>
              <a:gd name="T11" fmla="*/ 4 h 22"/>
              <a:gd name="T12" fmla="*/ 17 w 19"/>
              <a:gd name="T13" fmla="*/ 5 h 22"/>
              <a:gd name="T14" fmla="*/ 11 w 19"/>
              <a:gd name="T15" fmla="*/ 13 h 22"/>
              <a:gd name="T16" fmla="*/ 9 w 19"/>
              <a:gd name="T17" fmla="*/ 18 h 22"/>
              <a:gd name="T18" fmla="*/ 7 w 19"/>
              <a:gd name="T19" fmla="*/ 22 h 22"/>
              <a:gd name="T20" fmla="*/ 5 w 19"/>
              <a:gd name="T21" fmla="*/ 21 h 22"/>
              <a:gd name="T22" fmla="*/ 0 w 19"/>
              <a:gd name="T23" fmla="*/ 16 h 22"/>
              <a:gd name="T24" fmla="*/ 2 w 19"/>
              <a:gd name="T25" fmla="*/ 12 h 22"/>
              <a:gd name="T26" fmla="*/ 2 w 19"/>
              <a:gd name="T27" fmla="*/ 1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22">
                <a:moveTo>
                  <a:pt x="2" y="12"/>
                </a:moveTo>
                <a:lnTo>
                  <a:pt x="2" y="12"/>
                </a:lnTo>
                <a:cubicBezTo>
                  <a:pt x="3" y="4"/>
                  <a:pt x="5" y="0"/>
                  <a:pt x="9" y="1"/>
                </a:cubicBezTo>
                <a:cubicBezTo>
                  <a:pt x="12" y="1"/>
                  <a:pt x="15" y="1"/>
                  <a:pt x="19" y="2"/>
                </a:cubicBezTo>
                <a:lnTo>
                  <a:pt x="19" y="3"/>
                </a:lnTo>
                <a:lnTo>
                  <a:pt x="17" y="4"/>
                </a:lnTo>
                <a:cubicBezTo>
                  <a:pt x="17" y="4"/>
                  <a:pt x="17" y="4"/>
                  <a:pt x="17" y="5"/>
                </a:cubicBezTo>
                <a:cubicBezTo>
                  <a:pt x="15" y="7"/>
                  <a:pt x="13" y="10"/>
                  <a:pt x="11" y="13"/>
                </a:cubicBezTo>
                <a:cubicBezTo>
                  <a:pt x="10" y="14"/>
                  <a:pt x="9" y="15"/>
                  <a:pt x="9" y="18"/>
                </a:cubicBezTo>
                <a:cubicBezTo>
                  <a:pt x="8" y="21"/>
                  <a:pt x="8" y="22"/>
                  <a:pt x="7" y="22"/>
                </a:cubicBezTo>
                <a:cubicBezTo>
                  <a:pt x="6" y="21"/>
                  <a:pt x="6" y="21"/>
                  <a:pt x="5" y="21"/>
                </a:cubicBezTo>
                <a:cubicBezTo>
                  <a:pt x="2" y="21"/>
                  <a:pt x="0" y="19"/>
                  <a:pt x="0" y="16"/>
                </a:cubicBezTo>
                <a:cubicBezTo>
                  <a:pt x="1" y="14"/>
                  <a:pt x="2" y="13"/>
                  <a:pt x="2" y="12"/>
                </a:cubicBezTo>
                <a:lnTo>
                  <a:pt x="2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0" name="Freeform 326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1" name="Freeform 327"/>
          <p:cNvSpPr/>
          <p:nvPr/>
        </p:nvSpPr>
        <p:spPr bwMode="auto">
          <a:xfrm>
            <a:off x="7724871" y="1860517"/>
            <a:ext cx="57647" cy="110053"/>
          </a:xfrm>
          <a:custGeom>
            <a:avLst/>
            <a:gdLst>
              <a:gd name="T0" fmla="*/ 46 w 54"/>
              <a:gd name="T1" fmla="*/ 6 h 105"/>
              <a:gd name="T2" fmla="*/ 39 w 54"/>
              <a:gd name="T3" fmla="*/ 18 h 105"/>
              <a:gd name="T4" fmla="*/ 35 w 54"/>
              <a:gd name="T5" fmla="*/ 33 h 105"/>
              <a:gd name="T6" fmla="*/ 36 w 54"/>
              <a:gd name="T7" fmla="*/ 34 h 105"/>
              <a:gd name="T8" fmla="*/ 38 w 54"/>
              <a:gd name="T9" fmla="*/ 27 h 105"/>
              <a:gd name="T10" fmla="*/ 43 w 54"/>
              <a:gd name="T11" fmla="*/ 23 h 105"/>
              <a:gd name="T12" fmla="*/ 49 w 54"/>
              <a:gd name="T13" fmla="*/ 30 h 105"/>
              <a:gd name="T14" fmla="*/ 45 w 54"/>
              <a:gd name="T15" fmla="*/ 39 h 105"/>
              <a:gd name="T16" fmla="*/ 44 w 54"/>
              <a:gd name="T17" fmla="*/ 51 h 105"/>
              <a:gd name="T18" fmla="*/ 52 w 54"/>
              <a:gd name="T19" fmla="*/ 65 h 105"/>
              <a:gd name="T20" fmla="*/ 38 w 54"/>
              <a:gd name="T21" fmla="*/ 72 h 105"/>
              <a:gd name="T22" fmla="*/ 31 w 54"/>
              <a:gd name="T23" fmla="*/ 94 h 105"/>
              <a:gd name="T24" fmla="*/ 32 w 54"/>
              <a:gd name="T25" fmla="*/ 98 h 105"/>
              <a:gd name="T26" fmla="*/ 25 w 54"/>
              <a:gd name="T27" fmla="*/ 104 h 105"/>
              <a:gd name="T28" fmla="*/ 23 w 54"/>
              <a:gd name="T29" fmla="*/ 103 h 105"/>
              <a:gd name="T30" fmla="*/ 29 w 54"/>
              <a:gd name="T31" fmla="*/ 91 h 105"/>
              <a:gd name="T32" fmla="*/ 30 w 54"/>
              <a:gd name="T33" fmla="*/ 79 h 105"/>
              <a:gd name="T34" fmla="*/ 33 w 54"/>
              <a:gd name="T35" fmla="*/ 70 h 105"/>
              <a:gd name="T36" fmla="*/ 34 w 54"/>
              <a:gd name="T37" fmla="*/ 64 h 105"/>
              <a:gd name="T38" fmla="*/ 23 w 54"/>
              <a:gd name="T39" fmla="*/ 70 h 105"/>
              <a:gd name="T40" fmla="*/ 12 w 54"/>
              <a:gd name="T41" fmla="*/ 69 h 105"/>
              <a:gd name="T42" fmla="*/ 3 w 54"/>
              <a:gd name="T43" fmla="*/ 61 h 105"/>
              <a:gd name="T44" fmla="*/ 0 w 54"/>
              <a:gd name="T45" fmla="*/ 55 h 105"/>
              <a:gd name="T46" fmla="*/ 6 w 54"/>
              <a:gd name="T47" fmla="*/ 48 h 105"/>
              <a:gd name="T48" fmla="*/ 28 w 54"/>
              <a:gd name="T49" fmla="*/ 51 h 105"/>
              <a:gd name="T50" fmla="*/ 39 w 54"/>
              <a:gd name="T51" fmla="*/ 44 h 105"/>
              <a:gd name="T52" fmla="*/ 28 w 54"/>
              <a:gd name="T53" fmla="*/ 30 h 105"/>
              <a:gd name="T54" fmla="*/ 24 w 54"/>
              <a:gd name="T55" fmla="*/ 10 h 105"/>
              <a:gd name="T56" fmla="*/ 30 w 54"/>
              <a:gd name="T57" fmla="*/ 15 h 105"/>
              <a:gd name="T58" fmla="*/ 32 w 54"/>
              <a:gd name="T59" fmla="*/ 10 h 105"/>
              <a:gd name="T60" fmla="*/ 42 w 54"/>
              <a:gd name="T61" fmla="*/ 0 h 105"/>
              <a:gd name="T62" fmla="*/ 46 w 54"/>
              <a:gd name="T63" fmla="*/ 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105">
                <a:moveTo>
                  <a:pt x="46" y="6"/>
                </a:moveTo>
                <a:lnTo>
                  <a:pt x="46" y="6"/>
                </a:lnTo>
                <a:cubicBezTo>
                  <a:pt x="46" y="8"/>
                  <a:pt x="45" y="10"/>
                  <a:pt x="43" y="11"/>
                </a:cubicBezTo>
                <a:cubicBezTo>
                  <a:pt x="41" y="13"/>
                  <a:pt x="40" y="15"/>
                  <a:pt x="39" y="18"/>
                </a:cubicBezTo>
                <a:cubicBezTo>
                  <a:pt x="39" y="20"/>
                  <a:pt x="38" y="23"/>
                  <a:pt x="37" y="26"/>
                </a:cubicBezTo>
                <a:cubicBezTo>
                  <a:pt x="36" y="29"/>
                  <a:pt x="35" y="31"/>
                  <a:pt x="35" y="33"/>
                </a:cubicBezTo>
                <a:cubicBezTo>
                  <a:pt x="35" y="33"/>
                  <a:pt x="35" y="34"/>
                  <a:pt x="35" y="34"/>
                </a:cubicBezTo>
                <a:lnTo>
                  <a:pt x="36" y="34"/>
                </a:lnTo>
                <a:cubicBezTo>
                  <a:pt x="38" y="31"/>
                  <a:pt x="39" y="30"/>
                  <a:pt x="39" y="30"/>
                </a:cubicBezTo>
                <a:cubicBezTo>
                  <a:pt x="39" y="28"/>
                  <a:pt x="38" y="28"/>
                  <a:pt x="38" y="27"/>
                </a:cubicBezTo>
                <a:cubicBezTo>
                  <a:pt x="39" y="26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6" y="24"/>
                  <a:pt x="48" y="25"/>
                  <a:pt x="49" y="27"/>
                </a:cubicBezTo>
                <a:cubicBezTo>
                  <a:pt x="50" y="28"/>
                  <a:pt x="49" y="29"/>
                  <a:pt x="49" y="30"/>
                </a:cubicBezTo>
                <a:cubicBezTo>
                  <a:pt x="49" y="32"/>
                  <a:pt x="48" y="34"/>
                  <a:pt x="46" y="34"/>
                </a:cubicBezTo>
                <a:cubicBezTo>
                  <a:pt x="46" y="35"/>
                  <a:pt x="46" y="36"/>
                  <a:pt x="45" y="39"/>
                </a:cubicBezTo>
                <a:cubicBezTo>
                  <a:pt x="47" y="39"/>
                  <a:pt x="50" y="40"/>
                  <a:pt x="54" y="41"/>
                </a:cubicBezTo>
                <a:cubicBezTo>
                  <a:pt x="52" y="45"/>
                  <a:pt x="49" y="49"/>
                  <a:pt x="44" y="51"/>
                </a:cubicBezTo>
                <a:cubicBezTo>
                  <a:pt x="45" y="52"/>
                  <a:pt x="46" y="54"/>
                  <a:pt x="49" y="56"/>
                </a:cubicBezTo>
                <a:cubicBezTo>
                  <a:pt x="51" y="59"/>
                  <a:pt x="52" y="62"/>
                  <a:pt x="52" y="65"/>
                </a:cubicBezTo>
                <a:cubicBezTo>
                  <a:pt x="51" y="67"/>
                  <a:pt x="49" y="68"/>
                  <a:pt x="45" y="69"/>
                </a:cubicBezTo>
                <a:cubicBezTo>
                  <a:pt x="40" y="69"/>
                  <a:pt x="38" y="71"/>
                  <a:pt x="38" y="72"/>
                </a:cubicBezTo>
                <a:cubicBezTo>
                  <a:pt x="38" y="73"/>
                  <a:pt x="38" y="76"/>
                  <a:pt x="40" y="82"/>
                </a:cubicBezTo>
                <a:cubicBezTo>
                  <a:pt x="40" y="86"/>
                  <a:pt x="37" y="90"/>
                  <a:pt x="31" y="94"/>
                </a:cubicBezTo>
                <a:cubicBezTo>
                  <a:pt x="31" y="95"/>
                  <a:pt x="31" y="95"/>
                  <a:pt x="32" y="96"/>
                </a:cubicBezTo>
                <a:cubicBezTo>
                  <a:pt x="32" y="96"/>
                  <a:pt x="32" y="97"/>
                  <a:pt x="32" y="98"/>
                </a:cubicBezTo>
                <a:cubicBezTo>
                  <a:pt x="32" y="103"/>
                  <a:pt x="30" y="105"/>
                  <a:pt x="28" y="105"/>
                </a:cubicBezTo>
                <a:cubicBezTo>
                  <a:pt x="27" y="105"/>
                  <a:pt x="26" y="105"/>
                  <a:pt x="25" y="104"/>
                </a:cubicBezTo>
                <a:cubicBezTo>
                  <a:pt x="24" y="104"/>
                  <a:pt x="24" y="104"/>
                  <a:pt x="23" y="103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96"/>
                  <a:pt x="25" y="93"/>
                  <a:pt x="29" y="91"/>
                </a:cubicBezTo>
                <a:cubicBezTo>
                  <a:pt x="28" y="90"/>
                  <a:pt x="27" y="88"/>
                  <a:pt x="27" y="88"/>
                </a:cubicBezTo>
                <a:cubicBezTo>
                  <a:pt x="29" y="84"/>
                  <a:pt x="30" y="81"/>
                  <a:pt x="30" y="79"/>
                </a:cubicBezTo>
                <a:cubicBezTo>
                  <a:pt x="30" y="77"/>
                  <a:pt x="30" y="75"/>
                  <a:pt x="31" y="73"/>
                </a:cubicBezTo>
                <a:cubicBezTo>
                  <a:pt x="32" y="71"/>
                  <a:pt x="33" y="70"/>
                  <a:pt x="33" y="70"/>
                </a:cubicBezTo>
                <a:cubicBezTo>
                  <a:pt x="33" y="67"/>
                  <a:pt x="33" y="66"/>
                  <a:pt x="34" y="65"/>
                </a:cubicBezTo>
                <a:lnTo>
                  <a:pt x="34" y="64"/>
                </a:lnTo>
                <a:lnTo>
                  <a:pt x="33" y="63"/>
                </a:lnTo>
                <a:cubicBezTo>
                  <a:pt x="31" y="64"/>
                  <a:pt x="27" y="66"/>
                  <a:pt x="23" y="70"/>
                </a:cubicBezTo>
                <a:cubicBezTo>
                  <a:pt x="20" y="72"/>
                  <a:pt x="17" y="74"/>
                  <a:pt x="16" y="74"/>
                </a:cubicBezTo>
                <a:cubicBezTo>
                  <a:pt x="13" y="73"/>
                  <a:pt x="12" y="72"/>
                  <a:pt x="12" y="69"/>
                </a:cubicBezTo>
                <a:cubicBezTo>
                  <a:pt x="11" y="66"/>
                  <a:pt x="11" y="63"/>
                  <a:pt x="10" y="63"/>
                </a:cubicBezTo>
                <a:cubicBezTo>
                  <a:pt x="6" y="62"/>
                  <a:pt x="4" y="62"/>
                  <a:pt x="3" y="61"/>
                </a:cubicBezTo>
                <a:cubicBezTo>
                  <a:pt x="2" y="61"/>
                  <a:pt x="2" y="60"/>
                  <a:pt x="1" y="59"/>
                </a:cubicBezTo>
                <a:cubicBezTo>
                  <a:pt x="0" y="57"/>
                  <a:pt x="0" y="55"/>
                  <a:pt x="0" y="55"/>
                </a:cubicBezTo>
                <a:cubicBezTo>
                  <a:pt x="0" y="53"/>
                  <a:pt x="1" y="52"/>
                  <a:pt x="2" y="51"/>
                </a:cubicBezTo>
                <a:cubicBezTo>
                  <a:pt x="3" y="49"/>
                  <a:pt x="4" y="48"/>
                  <a:pt x="6" y="48"/>
                </a:cubicBezTo>
                <a:cubicBezTo>
                  <a:pt x="6" y="48"/>
                  <a:pt x="8" y="48"/>
                  <a:pt x="13" y="50"/>
                </a:cubicBezTo>
                <a:cubicBezTo>
                  <a:pt x="16" y="50"/>
                  <a:pt x="20" y="51"/>
                  <a:pt x="28" y="51"/>
                </a:cubicBezTo>
                <a:cubicBezTo>
                  <a:pt x="29" y="51"/>
                  <a:pt x="31" y="50"/>
                  <a:pt x="33" y="48"/>
                </a:cubicBezTo>
                <a:cubicBezTo>
                  <a:pt x="37" y="47"/>
                  <a:pt x="39" y="45"/>
                  <a:pt x="39" y="44"/>
                </a:cubicBezTo>
                <a:cubicBezTo>
                  <a:pt x="39" y="44"/>
                  <a:pt x="36" y="42"/>
                  <a:pt x="31" y="38"/>
                </a:cubicBezTo>
                <a:cubicBezTo>
                  <a:pt x="28" y="36"/>
                  <a:pt x="27" y="33"/>
                  <a:pt x="28" y="30"/>
                </a:cubicBezTo>
                <a:cubicBezTo>
                  <a:pt x="23" y="21"/>
                  <a:pt x="21" y="15"/>
                  <a:pt x="21" y="14"/>
                </a:cubicBezTo>
                <a:cubicBezTo>
                  <a:pt x="21" y="11"/>
                  <a:pt x="22" y="10"/>
                  <a:pt x="24" y="10"/>
                </a:cubicBezTo>
                <a:cubicBezTo>
                  <a:pt x="26" y="11"/>
                  <a:pt x="27" y="11"/>
                  <a:pt x="27" y="13"/>
                </a:cubicBezTo>
                <a:cubicBezTo>
                  <a:pt x="27" y="14"/>
                  <a:pt x="28" y="15"/>
                  <a:pt x="30" y="15"/>
                </a:cubicBezTo>
                <a:cubicBezTo>
                  <a:pt x="31" y="16"/>
                  <a:pt x="31" y="15"/>
                  <a:pt x="32" y="15"/>
                </a:cubicBezTo>
                <a:lnTo>
                  <a:pt x="32" y="10"/>
                </a:lnTo>
                <a:cubicBezTo>
                  <a:pt x="32" y="8"/>
                  <a:pt x="32" y="7"/>
                  <a:pt x="32" y="7"/>
                </a:cubicBezTo>
                <a:cubicBezTo>
                  <a:pt x="32" y="7"/>
                  <a:pt x="35" y="4"/>
                  <a:pt x="42" y="0"/>
                </a:cubicBezTo>
                <a:cubicBezTo>
                  <a:pt x="43" y="0"/>
                  <a:pt x="44" y="1"/>
                  <a:pt x="45" y="2"/>
                </a:cubicBezTo>
                <a:cubicBezTo>
                  <a:pt x="46" y="4"/>
                  <a:pt x="46" y="5"/>
                  <a:pt x="46" y="6"/>
                </a:cubicBezTo>
                <a:lnTo>
                  <a:pt x="46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2" name="Freeform 328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3" name="Freeform 329"/>
          <p:cNvSpPr/>
          <p:nvPr/>
        </p:nvSpPr>
        <p:spPr bwMode="auto">
          <a:xfrm>
            <a:off x="7749327" y="1968823"/>
            <a:ext cx="1747" cy="0"/>
          </a:xfrm>
          <a:custGeom>
            <a:avLst/>
            <a:gdLst>
              <a:gd name="T0" fmla="*/ 2 w 2"/>
              <a:gd name="T1" fmla="*/ 1 h 1"/>
              <a:gd name="T2" fmla="*/ 2 w 2"/>
              <a:gd name="T3" fmla="*/ 1 h 1"/>
              <a:gd name="T4" fmla="*/ 0 w 2"/>
              <a:gd name="T5" fmla="*/ 0 h 1"/>
              <a:gd name="T6" fmla="*/ 0 w 2"/>
              <a:gd name="T7" fmla="*/ 0 h 1"/>
              <a:gd name="T8" fmla="*/ 2 w 2"/>
              <a:gd name="T9" fmla="*/ 1 h 1"/>
              <a:gd name="T10" fmla="*/ 2 w 2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1"/>
                </a:moveTo>
                <a:lnTo>
                  <a:pt x="2" y="1"/>
                </a:lnTo>
                <a:cubicBezTo>
                  <a:pt x="1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1" y="1"/>
                  <a:pt x="2" y="1"/>
                </a:cubicBezTo>
                <a:lnTo>
                  <a:pt x="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4" name="Freeform 330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5" name="Freeform 331"/>
          <p:cNvSpPr/>
          <p:nvPr/>
        </p:nvSpPr>
        <p:spPr bwMode="auto">
          <a:xfrm>
            <a:off x="7808720" y="1869251"/>
            <a:ext cx="8735" cy="13975"/>
          </a:xfrm>
          <a:custGeom>
            <a:avLst/>
            <a:gdLst>
              <a:gd name="T0" fmla="*/ 9 w 9"/>
              <a:gd name="T1" fmla="*/ 9 h 13"/>
              <a:gd name="T2" fmla="*/ 9 w 9"/>
              <a:gd name="T3" fmla="*/ 9 h 13"/>
              <a:gd name="T4" fmla="*/ 4 w 9"/>
              <a:gd name="T5" fmla="*/ 12 h 13"/>
              <a:gd name="T6" fmla="*/ 0 w 9"/>
              <a:gd name="T7" fmla="*/ 8 h 13"/>
              <a:gd name="T8" fmla="*/ 1 w 9"/>
              <a:gd name="T9" fmla="*/ 6 h 13"/>
              <a:gd name="T10" fmla="*/ 4 w 9"/>
              <a:gd name="T11" fmla="*/ 0 h 13"/>
              <a:gd name="T12" fmla="*/ 6 w 9"/>
              <a:gd name="T13" fmla="*/ 1 h 13"/>
              <a:gd name="T14" fmla="*/ 9 w 9"/>
              <a:gd name="T15" fmla="*/ 9 h 13"/>
              <a:gd name="T16" fmla="*/ 9 w 9"/>
              <a:gd name="T17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3">
                <a:moveTo>
                  <a:pt x="9" y="9"/>
                </a:moveTo>
                <a:lnTo>
                  <a:pt x="9" y="9"/>
                </a:lnTo>
                <a:cubicBezTo>
                  <a:pt x="8" y="12"/>
                  <a:pt x="7" y="13"/>
                  <a:pt x="4" y="12"/>
                </a:cubicBezTo>
                <a:cubicBezTo>
                  <a:pt x="2" y="12"/>
                  <a:pt x="1" y="11"/>
                  <a:pt x="0" y="8"/>
                </a:cubicBezTo>
                <a:cubicBezTo>
                  <a:pt x="0" y="8"/>
                  <a:pt x="1" y="7"/>
                  <a:pt x="1" y="6"/>
                </a:cubicBezTo>
                <a:cubicBezTo>
                  <a:pt x="1" y="2"/>
                  <a:pt x="2" y="0"/>
                  <a:pt x="4" y="0"/>
                </a:cubicBezTo>
                <a:cubicBezTo>
                  <a:pt x="5" y="1"/>
                  <a:pt x="5" y="1"/>
                  <a:pt x="6" y="1"/>
                </a:cubicBezTo>
                <a:cubicBezTo>
                  <a:pt x="8" y="2"/>
                  <a:pt x="9" y="4"/>
                  <a:pt x="9" y="9"/>
                </a:cubicBezTo>
                <a:lnTo>
                  <a:pt x="9" y="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Freeform 332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Freeform 333"/>
          <p:cNvSpPr/>
          <p:nvPr/>
        </p:nvSpPr>
        <p:spPr bwMode="auto">
          <a:xfrm>
            <a:off x="7735352" y="1974063"/>
            <a:ext cx="15722" cy="20962"/>
          </a:xfrm>
          <a:custGeom>
            <a:avLst/>
            <a:gdLst>
              <a:gd name="T0" fmla="*/ 14 w 15"/>
              <a:gd name="T1" fmla="*/ 4 h 19"/>
              <a:gd name="T2" fmla="*/ 14 w 15"/>
              <a:gd name="T3" fmla="*/ 4 h 19"/>
              <a:gd name="T4" fmla="*/ 5 w 15"/>
              <a:gd name="T5" fmla="*/ 18 h 19"/>
              <a:gd name="T6" fmla="*/ 0 w 15"/>
              <a:gd name="T7" fmla="*/ 15 h 19"/>
              <a:gd name="T8" fmla="*/ 1 w 15"/>
              <a:gd name="T9" fmla="*/ 15 h 19"/>
              <a:gd name="T10" fmla="*/ 1 w 15"/>
              <a:gd name="T11" fmla="*/ 14 h 19"/>
              <a:gd name="T12" fmla="*/ 11 w 15"/>
              <a:gd name="T13" fmla="*/ 0 h 19"/>
              <a:gd name="T14" fmla="*/ 14 w 15"/>
              <a:gd name="T15" fmla="*/ 1 h 19"/>
              <a:gd name="T16" fmla="*/ 14 w 15"/>
              <a:gd name="T17" fmla="*/ 4 h 19"/>
              <a:gd name="T18" fmla="*/ 14 w 15"/>
              <a:gd name="T19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9">
                <a:moveTo>
                  <a:pt x="14" y="4"/>
                </a:moveTo>
                <a:lnTo>
                  <a:pt x="14" y="4"/>
                </a:lnTo>
                <a:cubicBezTo>
                  <a:pt x="9" y="14"/>
                  <a:pt x="6" y="19"/>
                  <a:pt x="5" y="18"/>
                </a:cubicBezTo>
                <a:cubicBezTo>
                  <a:pt x="2" y="18"/>
                  <a:pt x="1" y="17"/>
                  <a:pt x="0" y="15"/>
                </a:cubicBezTo>
                <a:lnTo>
                  <a:pt x="1" y="15"/>
                </a:lnTo>
                <a:cubicBezTo>
                  <a:pt x="1" y="15"/>
                  <a:pt x="1" y="14"/>
                  <a:pt x="1" y="14"/>
                </a:cubicBezTo>
                <a:cubicBezTo>
                  <a:pt x="1" y="13"/>
                  <a:pt x="4" y="9"/>
                  <a:pt x="11" y="0"/>
                </a:cubicBezTo>
                <a:cubicBezTo>
                  <a:pt x="12" y="0"/>
                  <a:pt x="13" y="1"/>
                  <a:pt x="14" y="1"/>
                </a:cubicBezTo>
                <a:cubicBezTo>
                  <a:pt x="14" y="2"/>
                  <a:pt x="15" y="3"/>
                  <a:pt x="14" y="4"/>
                </a:cubicBezTo>
                <a:lnTo>
                  <a:pt x="14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Freeform 334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9" name="Freeform 335"/>
          <p:cNvSpPr/>
          <p:nvPr/>
        </p:nvSpPr>
        <p:spPr bwMode="auto">
          <a:xfrm>
            <a:off x="7684692" y="2047431"/>
            <a:ext cx="15722" cy="10481"/>
          </a:xfrm>
          <a:custGeom>
            <a:avLst/>
            <a:gdLst>
              <a:gd name="T0" fmla="*/ 15 w 15"/>
              <a:gd name="T1" fmla="*/ 1 h 11"/>
              <a:gd name="T2" fmla="*/ 15 w 15"/>
              <a:gd name="T3" fmla="*/ 1 h 11"/>
              <a:gd name="T4" fmla="*/ 11 w 15"/>
              <a:gd name="T5" fmla="*/ 8 h 11"/>
              <a:gd name="T6" fmla="*/ 6 w 15"/>
              <a:gd name="T7" fmla="*/ 11 h 11"/>
              <a:gd name="T8" fmla="*/ 0 w 15"/>
              <a:gd name="T9" fmla="*/ 11 h 11"/>
              <a:gd name="T10" fmla="*/ 6 w 15"/>
              <a:gd name="T11" fmla="*/ 3 h 11"/>
              <a:gd name="T12" fmla="*/ 8 w 15"/>
              <a:gd name="T13" fmla="*/ 1 h 11"/>
              <a:gd name="T14" fmla="*/ 10 w 15"/>
              <a:gd name="T15" fmla="*/ 0 h 11"/>
              <a:gd name="T16" fmla="*/ 15 w 15"/>
              <a:gd name="T17" fmla="*/ 1 h 11"/>
              <a:gd name="T18" fmla="*/ 15 w 15"/>
              <a:gd name="T1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1">
                <a:moveTo>
                  <a:pt x="15" y="1"/>
                </a:moveTo>
                <a:lnTo>
                  <a:pt x="15" y="1"/>
                </a:lnTo>
                <a:cubicBezTo>
                  <a:pt x="15" y="3"/>
                  <a:pt x="14" y="6"/>
                  <a:pt x="11" y="8"/>
                </a:cubicBezTo>
                <a:cubicBezTo>
                  <a:pt x="10" y="9"/>
                  <a:pt x="8" y="10"/>
                  <a:pt x="6" y="11"/>
                </a:cubicBezTo>
                <a:lnTo>
                  <a:pt x="0" y="11"/>
                </a:lnTo>
                <a:cubicBezTo>
                  <a:pt x="1" y="8"/>
                  <a:pt x="2" y="6"/>
                  <a:pt x="6" y="3"/>
                </a:cubicBezTo>
                <a:cubicBezTo>
                  <a:pt x="6" y="3"/>
                  <a:pt x="7" y="2"/>
                  <a:pt x="8" y="1"/>
                </a:cubicBezTo>
                <a:lnTo>
                  <a:pt x="10" y="0"/>
                </a:lnTo>
                <a:lnTo>
                  <a:pt x="15" y="1"/>
                </a:lnTo>
                <a:lnTo>
                  <a:pt x="15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0" name="Freeform 336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1" name="Freeform 337"/>
          <p:cNvSpPr/>
          <p:nvPr/>
        </p:nvSpPr>
        <p:spPr bwMode="auto">
          <a:xfrm>
            <a:off x="7550184" y="2047431"/>
            <a:ext cx="15722" cy="26204"/>
          </a:xfrm>
          <a:custGeom>
            <a:avLst/>
            <a:gdLst>
              <a:gd name="T0" fmla="*/ 16 w 16"/>
              <a:gd name="T1" fmla="*/ 20 h 25"/>
              <a:gd name="T2" fmla="*/ 16 w 16"/>
              <a:gd name="T3" fmla="*/ 20 h 25"/>
              <a:gd name="T4" fmla="*/ 13 w 16"/>
              <a:gd name="T5" fmla="*/ 25 h 25"/>
              <a:gd name="T6" fmla="*/ 13 w 16"/>
              <a:gd name="T7" fmla="*/ 25 h 25"/>
              <a:gd name="T8" fmla="*/ 11 w 16"/>
              <a:gd name="T9" fmla="*/ 23 h 25"/>
              <a:gd name="T10" fmla="*/ 9 w 16"/>
              <a:gd name="T11" fmla="*/ 18 h 25"/>
              <a:gd name="T12" fmla="*/ 5 w 16"/>
              <a:gd name="T13" fmla="*/ 19 h 25"/>
              <a:gd name="T14" fmla="*/ 2 w 16"/>
              <a:gd name="T15" fmla="*/ 15 h 25"/>
              <a:gd name="T16" fmla="*/ 0 w 16"/>
              <a:gd name="T17" fmla="*/ 9 h 25"/>
              <a:gd name="T18" fmla="*/ 9 w 16"/>
              <a:gd name="T19" fmla="*/ 0 h 25"/>
              <a:gd name="T20" fmla="*/ 11 w 16"/>
              <a:gd name="T21" fmla="*/ 9 h 25"/>
              <a:gd name="T22" fmla="*/ 13 w 16"/>
              <a:gd name="T23" fmla="*/ 15 h 25"/>
              <a:gd name="T24" fmla="*/ 16 w 16"/>
              <a:gd name="T25" fmla="*/ 20 h 25"/>
              <a:gd name="T26" fmla="*/ 16 w 16"/>
              <a:gd name="T27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5">
                <a:moveTo>
                  <a:pt x="16" y="20"/>
                </a:moveTo>
                <a:lnTo>
                  <a:pt x="16" y="20"/>
                </a:lnTo>
                <a:cubicBezTo>
                  <a:pt x="16" y="20"/>
                  <a:pt x="15" y="22"/>
                  <a:pt x="13" y="25"/>
                </a:cubicBezTo>
                <a:lnTo>
                  <a:pt x="13" y="25"/>
                </a:lnTo>
                <a:cubicBezTo>
                  <a:pt x="11" y="25"/>
                  <a:pt x="11" y="24"/>
                  <a:pt x="11" y="23"/>
                </a:cubicBezTo>
                <a:cubicBezTo>
                  <a:pt x="12" y="20"/>
                  <a:pt x="12" y="18"/>
                  <a:pt x="9" y="18"/>
                </a:cubicBezTo>
                <a:cubicBezTo>
                  <a:pt x="7" y="19"/>
                  <a:pt x="6" y="19"/>
                  <a:pt x="5" y="19"/>
                </a:cubicBezTo>
                <a:cubicBezTo>
                  <a:pt x="4" y="19"/>
                  <a:pt x="3" y="18"/>
                  <a:pt x="2" y="15"/>
                </a:cubicBezTo>
                <a:cubicBezTo>
                  <a:pt x="1" y="13"/>
                  <a:pt x="0" y="11"/>
                  <a:pt x="0" y="9"/>
                </a:cubicBezTo>
                <a:cubicBezTo>
                  <a:pt x="0" y="9"/>
                  <a:pt x="3" y="6"/>
                  <a:pt x="9" y="0"/>
                </a:cubicBezTo>
                <a:cubicBezTo>
                  <a:pt x="11" y="0"/>
                  <a:pt x="12" y="3"/>
                  <a:pt x="11" y="9"/>
                </a:cubicBezTo>
                <a:cubicBezTo>
                  <a:pt x="11" y="12"/>
                  <a:pt x="11" y="15"/>
                  <a:pt x="13" y="15"/>
                </a:cubicBezTo>
                <a:cubicBezTo>
                  <a:pt x="15" y="16"/>
                  <a:pt x="16" y="18"/>
                  <a:pt x="16" y="20"/>
                </a:cubicBezTo>
                <a:lnTo>
                  <a:pt x="16" y="2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2" name="Freeform 338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3" name="Freeform 339"/>
          <p:cNvSpPr/>
          <p:nvPr/>
        </p:nvSpPr>
        <p:spPr bwMode="auto">
          <a:xfrm flipH="1">
            <a:off x="7564159" y="207363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4" name="Freeform 340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5" name="Freeform 341"/>
          <p:cNvSpPr/>
          <p:nvPr/>
        </p:nvSpPr>
        <p:spPr bwMode="auto">
          <a:xfrm>
            <a:off x="7564159" y="2077128"/>
            <a:ext cx="8735" cy="17469"/>
          </a:xfrm>
          <a:custGeom>
            <a:avLst/>
            <a:gdLst>
              <a:gd name="T0" fmla="*/ 8 w 8"/>
              <a:gd name="T1" fmla="*/ 7 h 16"/>
              <a:gd name="T2" fmla="*/ 8 w 8"/>
              <a:gd name="T3" fmla="*/ 7 h 16"/>
              <a:gd name="T4" fmla="*/ 7 w 8"/>
              <a:gd name="T5" fmla="*/ 12 h 16"/>
              <a:gd name="T6" fmla="*/ 6 w 8"/>
              <a:gd name="T7" fmla="*/ 16 h 16"/>
              <a:gd name="T8" fmla="*/ 6 w 8"/>
              <a:gd name="T9" fmla="*/ 15 h 16"/>
              <a:gd name="T10" fmla="*/ 0 w 8"/>
              <a:gd name="T11" fmla="*/ 9 h 16"/>
              <a:gd name="T12" fmla="*/ 2 w 8"/>
              <a:gd name="T13" fmla="*/ 3 h 16"/>
              <a:gd name="T14" fmla="*/ 4 w 8"/>
              <a:gd name="T15" fmla="*/ 1 h 16"/>
              <a:gd name="T16" fmla="*/ 5 w 8"/>
              <a:gd name="T17" fmla="*/ 1 h 16"/>
              <a:gd name="T18" fmla="*/ 7 w 8"/>
              <a:gd name="T19" fmla="*/ 0 h 16"/>
              <a:gd name="T20" fmla="*/ 8 w 8"/>
              <a:gd name="T21" fmla="*/ 7 h 16"/>
              <a:gd name="T22" fmla="*/ 8 w 8"/>
              <a:gd name="T23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16">
                <a:moveTo>
                  <a:pt x="8" y="7"/>
                </a:moveTo>
                <a:lnTo>
                  <a:pt x="8" y="7"/>
                </a:lnTo>
                <a:cubicBezTo>
                  <a:pt x="8" y="8"/>
                  <a:pt x="8" y="10"/>
                  <a:pt x="7" y="12"/>
                </a:cubicBezTo>
                <a:cubicBezTo>
                  <a:pt x="7" y="13"/>
                  <a:pt x="7" y="14"/>
                  <a:pt x="6" y="16"/>
                </a:cubicBezTo>
                <a:lnTo>
                  <a:pt x="6" y="15"/>
                </a:lnTo>
                <a:cubicBezTo>
                  <a:pt x="2" y="14"/>
                  <a:pt x="0" y="11"/>
                  <a:pt x="0" y="9"/>
                </a:cubicBezTo>
                <a:cubicBezTo>
                  <a:pt x="0" y="8"/>
                  <a:pt x="1" y="6"/>
                  <a:pt x="2" y="3"/>
                </a:cubicBezTo>
                <a:cubicBezTo>
                  <a:pt x="3" y="3"/>
                  <a:pt x="4" y="2"/>
                  <a:pt x="4" y="1"/>
                </a:cubicBezTo>
                <a:cubicBezTo>
                  <a:pt x="4" y="1"/>
                  <a:pt x="5" y="1"/>
                  <a:pt x="5" y="1"/>
                </a:cubicBezTo>
                <a:cubicBezTo>
                  <a:pt x="5" y="0"/>
                  <a:pt x="6" y="0"/>
                  <a:pt x="7" y="0"/>
                </a:cubicBezTo>
                <a:cubicBezTo>
                  <a:pt x="7" y="0"/>
                  <a:pt x="8" y="2"/>
                  <a:pt x="8" y="7"/>
                </a:cubicBezTo>
                <a:lnTo>
                  <a:pt x="8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6" name="Freeform 342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7" name="Freeform 343"/>
          <p:cNvSpPr/>
          <p:nvPr/>
        </p:nvSpPr>
        <p:spPr bwMode="auto">
          <a:xfrm>
            <a:off x="7578134" y="2068394"/>
            <a:ext cx="29697" cy="17469"/>
          </a:xfrm>
          <a:custGeom>
            <a:avLst/>
            <a:gdLst>
              <a:gd name="T0" fmla="*/ 26 w 28"/>
              <a:gd name="T1" fmla="*/ 3 h 16"/>
              <a:gd name="T2" fmla="*/ 26 w 28"/>
              <a:gd name="T3" fmla="*/ 3 h 16"/>
              <a:gd name="T4" fmla="*/ 20 w 28"/>
              <a:gd name="T5" fmla="*/ 9 h 16"/>
              <a:gd name="T6" fmla="*/ 10 w 28"/>
              <a:gd name="T7" fmla="*/ 14 h 16"/>
              <a:gd name="T8" fmla="*/ 2 w 28"/>
              <a:gd name="T9" fmla="*/ 16 h 16"/>
              <a:gd name="T10" fmla="*/ 0 w 28"/>
              <a:gd name="T11" fmla="*/ 15 h 16"/>
              <a:gd name="T12" fmla="*/ 6 w 28"/>
              <a:gd name="T13" fmla="*/ 6 h 16"/>
              <a:gd name="T14" fmla="*/ 16 w 28"/>
              <a:gd name="T15" fmla="*/ 1 h 16"/>
              <a:gd name="T16" fmla="*/ 26 w 28"/>
              <a:gd name="T17" fmla="*/ 3 h 16"/>
              <a:gd name="T18" fmla="*/ 26 w 28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16">
                <a:moveTo>
                  <a:pt x="26" y="3"/>
                </a:moveTo>
                <a:lnTo>
                  <a:pt x="26" y="3"/>
                </a:lnTo>
                <a:cubicBezTo>
                  <a:pt x="28" y="4"/>
                  <a:pt x="26" y="6"/>
                  <a:pt x="20" y="9"/>
                </a:cubicBezTo>
                <a:cubicBezTo>
                  <a:pt x="18" y="11"/>
                  <a:pt x="14" y="12"/>
                  <a:pt x="10" y="14"/>
                </a:cubicBezTo>
                <a:cubicBezTo>
                  <a:pt x="5" y="16"/>
                  <a:pt x="3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1" y="12"/>
                  <a:pt x="3" y="9"/>
                  <a:pt x="6" y="6"/>
                </a:cubicBezTo>
                <a:cubicBezTo>
                  <a:pt x="10" y="2"/>
                  <a:pt x="14" y="0"/>
                  <a:pt x="16" y="1"/>
                </a:cubicBezTo>
                <a:cubicBezTo>
                  <a:pt x="22" y="1"/>
                  <a:pt x="25" y="2"/>
                  <a:pt x="26" y="3"/>
                </a:cubicBezTo>
                <a:lnTo>
                  <a:pt x="26" y="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8" name="Freeform 344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9" name="Freeform 345"/>
          <p:cNvSpPr/>
          <p:nvPr/>
        </p:nvSpPr>
        <p:spPr bwMode="auto">
          <a:xfrm>
            <a:off x="7537956" y="2078875"/>
            <a:ext cx="13975" cy="12229"/>
          </a:xfrm>
          <a:custGeom>
            <a:avLst/>
            <a:gdLst>
              <a:gd name="T0" fmla="*/ 11 w 13"/>
              <a:gd name="T1" fmla="*/ 1 h 11"/>
              <a:gd name="T2" fmla="*/ 11 w 13"/>
              <a:gd name="T3" fmla="*/ 1 h 11"/>
              <a:gd name="T4" fmla="*/ 11 w 13"/>
              <a:gd name="T5" fmla="*/ 2 h 11"/>
              <a:gd name="T6" fmla="*/ 11 w 13"/>
              <a:gd name="T7" fmla="*/ 2 h 11"/>
              <a:gd name="T8" fmla="*/ 12 w 13"/>
              <a:gd name="T9" fmla="*/ 5 h 11"/>
              <a:gd name="T10" fmla="*/ 13 w 13"/>
              <a:gd name="T11" fmla="*/ 9 h 11"/>
              <a:gd name="T12" fmla="*/ 13 w 13"/>
              <a:gd name="T13" fmla="*/ 10 h 11"/>
              <a:gd name="T14" fmla="*/ 6 w 13"/>
              <a:gd name="T15" fmla="*/ 11 h 11"/>
              <a:gd name="T16" fmla="*/ 3 w 13"/>
              <a:gd name="T17" fmla="*/ 8 h 11"/>
              <a:gd name="T18" fmla="*/ 1 w 13"/>
              <a:gd name="T19" fmla="*/ 3 h 11"/>
              <a:gd name="T20" fmla="*/ 4 w 13"/>
              <a:gd name="T21" fmla="*/ 1 h 11"/>
              <a:gd name="T22" fmla="*/ 9 w 13"/>
              <a:gd name="T23" fmla="*/ 0 h 11"/>
              <a:gd name="T24" fmla="*/ 11 w 13"/>
              <a:gd name="T25" fmla="*/ 1 h 11"/>
              <a:gd name="T26" fmla="*/ 11 w 13"/>
              <a:gd name="T27" fmla="*/ 1 h 11"/>
              <a:gd name="T28" fmla="*/ 11 w 13"/>
              <a:gd name="T29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" h="11">
                <a:moveTo>
                  <a:pt x="11" y="1"/>
                </a:move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cubicBezTo>
                  <a:pt x="12" y="2"/>
                  <a:pt x="12" y="3"/>
                  <a:pt x="12" y="5"/>
                </a:cubicBezTo>
                <a:cubicBezTo>
                  <a:pt x="13" y="6"/>
                  <a:pt x="13" y="8"/>
                  <a:pt x="13" y="9"/>
                </a:cubicBezTo>
                <a:cubicBezTo>
                  <a:pt x="13" y="9"/>
                  <a:pt x="13" y="9"/>
                  <a:pt x="13" y="10"/>
                </a:cubicBezTo>
                <a:cubicBezTo>
                  <a:pt x="13" y="11"/>
                  <a:pt x="10" y="11"/>
                  <a:pt x="6" y="11"/>
                </a:cubicBezTo>
                <a:cubicBezTo>
                  <a:pt x="5" y="11"/>
                  <a:pt x="4" y="10"/>
                  <a:pt x="3" y="8"/>
                </a:cubicBezTo>
                <a:cubicBezTo>
                  <a:pt x="1" y="6"/>
                  <a:pt x="0" y="5"/>
                  <a:pt x="1" y="3"/>
                </a:cubicBezTo>
                <a:cubicBezTo>
                  <a:pt x="1" y="3"/>
                  <a:pt x="2" y="2"/>
                  <a:pt x="4" y="1"/>
                </a:cubicBezTo>
                <a:cubicBezTo>
                  <a:pt x="6" y="1"/>
                  <a:pt x="8" y="0"/>
                  <a:pt x="9" y="0"/>
                </a:cubicBezTo>
                <a:cubicBezTo>
                  <a:pt x="9" y="0"/>
                  <a:pt x="10" y="1"/>
                  <a:pt x="11" y="1"/>
                </a:cubicBezTo>
                <a:lnTo>
                  <a:pt x="11" y="1"/>
                </a:lnTo>
                <a:lnTo>
                  <a:pt x="1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0" name="Freeform 346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1" name="Freeform 347"/>
          <p:cNvSpPr/>
          <p:nvPr/>
        </p:nvSpPr>
        <p:spPr bwMode="auto">
          <a:xfrm flipH="1">
            <a:off x="7548437" y="2080622"/>
            <a:ext cx="0" cy="0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2" name="Freeform 348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3" name="Freeform 349"/>
          <p:cNvSpPr/>
          <p:nvPr/>
        </p:nvSpPr>
        <p:spPr bwMode="auto">
          <a:xfrm>
            <a:off x="7506512" y="2078875"/>
            <a:ext cx="57647" cy="59393"/>
          </a:xfrm>
          <a:custGeom>
            <a:avLst/>
            <a:gdLst>
              <a:gd name="T0" fmla="*/ 28 w 54"/>
              <a:gd name="T1" fmla="*/ 10 h 57"/>
              <a:gd name="T2" fmla="*/ 28 w 54"/>
              <a:gd name="T3" fmla="*/ 10 h 57"/>
              <a:gd name="T4" fmla="*/ 32 w 54"/>
              <a:gd name="T5" fmla="*/ 18 h 57"/>
              <a:gd name="T6" fmla="*/ 28 w 54"/>
              <a:gd name="T7" fmla="*/ 22 h 57"/>
              <a:gd name="T8" fmla="*/ 23 w 54"/>
              <a:gd name="T9" fmla="*/ 30 h 57"/>
              <a:gd name="T10" fmla="*/ 25 w 54"/>
              <a:gd name="T11" fmla="*/ 33 h 57"/>
              <a:gd name="T12" fmla="*/ 30 w 54"/>
              <a:gd name="T13" fmla="*/ 34 h 57"/>
              <a:gd name="T14" fmla="*/ 47 w 54"/>
              <a:gd name="T15" fmla="*/ 41 h 57"/>
              <a:gd name="T16" fmla="*/ 45 w 54"/>
              <a:gd name="T17" fmla="*/ 43 h 57"/>
              <a:gd name="T18" fmla="*/ 43 w 54"/>
              <a:gd name="T19" fmla="*/ 45 h 57"/>
              <a:gd name="T20" fmla="*/ 44 w 54"/>
              <a:gd name="T21" fmla="*/ 46 h 57"/>
              <a:gd name="T22" fmla="*/ 54 w 54"/>
              <a:gd name="T23" fmla="*/ 46 h 57"/>
              <a:gd name="T24" fmla="*/ 54 w 54"/>
              <a:gd name="T25" fmla="*/ 48 h 57"/>
              <a:gd name="T26" fmla="*/ 49 w 54"/>
              <a:gd name="T27" fmla="*/ 54 h 57"/>
              <a:gd name="T28" fmla="*/ 41 w 54"/>
              <a:gd name="T29" fmla="*/ 57 h 57"/>
              <a:gd name="T30" fmla="*/ 38 w 54"/>
              <a:gd name="T31" fmla="*/ 56 h 57"/>
              <a:gd name="T32" fmla="*/ 35 w 54"/>
              <a:gd name="T33" fmla="*/ 51 h 57"/>
              <a:gd name="T34" fmla="*/ 30 w 54"/>
              <a:gd name="T35" fmla="*/ 45 h 57"/>
              <a:gd name="T36" fmla="*/ 30 w 54"/>
              <a:gd name="T37" fmla="*/ 44 h 57"/>
              <a:gd name="T38" fmla="*/ 29 w 54"/>
              <a:gd name="T39" fmla="*/ 43 h 57"/>
              <a:gd name="T40" fmla="*/ 27 w 54"/>
              <a:gd name="T41" fmla="*/ 43 h 57"/>
              <a:gd name="T42" fmla="*/ 19 w 54"/>
              <a:gd name="T43" fmla="*/ 43 h 57"/>
              <a:gd name="T44" fmla="*/ 12 w 54"/>
              <a:gd name="T45" fmla="*/ 39 h 57"/>
              <a:gd name="T46" fmla="*/ 8 w 54"/>
              <a:gd name="T47" fmla="*/ 33 h 57"/>
              <a:gd name="T48" fmla="*/ 11 w 54"/>
              <a:gd name="T49" fmla="*/ 24 h 57"/>
              <a:gd name="T50" fmla="*/ 11 w 54"/>
              <a:gd name="T51" fmla="*/ 22 h 57"/>
              <a:gd name="T52" fmla="*/ 11 w 54"/>
              <a:gd name="T53" fmla="*/ 22 h 57"/>
              <a:gd name="T54" fmla="*/ 10 w 54"/>
              <a:gd name="T55" fmla="*/ 23 h 57"/>
              <a:gd name="T56" fmla="*/ 2 w 54"/>
              <a:gd name="T57" fmla="*/ 30 h 57"/>
              <a:gd name="T58" fmla="*/ 0 w 54"/>
              <a:gd name="T59" fmla="*/ 22 h 57"/>
              <a:gd name="T60" fmla="*/ 1 w 54"/>
              <a:gd name="T61" fmla="*/ 16 h 57"/>
              <a:gd name="T62" fmla="*/ 6 w 54"/>
              <a:gd name="T63" fmla="*/ 10 h 57"/>
              <a:gd name="T64" fmla="*/ 9 w 54"/>
              <a:gd name="T65" fmla="*/ 5 h 57"/>
              <a:gd name="T66" fmla="*/ 14 w 54"/>
              <a:gd name="T67" fmla="*/ 1 h 57"/>
              <a:gd name="T68" fmla="*/ 25 w 54"/>
              <a:gd name="T69" fmla="*/ 7 h 57"/>
              <a:gd name="T70" fmla="*/ 28 w 54"/>
              <a:gd name="T71" fmla="*/ 10 h 57"/>
              <a:gd name="T72" fmla="*/ 28 w 54"/>
              <a:gd name="T73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" h="57">
                <a:moveTo>
                  <a:pt x="28" y="10"/>
                </a:moveTo>
                <a:lnTo>
                  <a:pt x="28" y="10"/>
                </a:lnTo>
                <a:cubicBezTo>
                  <a:pt x="31" y="13"/>
                  <a:pt x="32" y="16"/>
                  <a:pt x="32" y="18"/>
                </a:cubicBezTo>
                <a:cubicBezTo>
                  <a:pt x="32" y="20"/>
                  <a:pt x="31" y="21"/>
                  <a:pt x="28" y="22"/>
                </a:cubicBezTo>
                <a:cubicBezTo>
                  <a:pt x="25" y="23"/>
                  <a:pt x="24" y="26"/>
                  <a:pt x="23" y="30"/>
                </a:cubicBezTo>
                <a:cubicBezTo>
                  <a:pt x="23" y="32"/>
                  <a:pt x="24" y="33"/>
                  <a:pt x="25" y="33"/>
                </a:cubicBezTo>
                <a:cubicBezTo>
                  <a:pt x="25" y="34"/>
                  <a:pt x="27" y="34"/>
                  <a:pt x="30" y="34"/>
                </a:cubicBezTo>
                <a:cubicBezTo>
                  <a:pt x="42" y="36"/>
                  <a:pt x="47" y="38"/>
                  <a:pt x="47" y="41"/>
                </a:cubicBezTo>
                <a:cubicBezTo>
                  <a:pt x="47" y="42"/>
                  <a:pt x="47" y="42"/>
                  <a:pt x="45" y="43"/>
                </a:cubicBezTo>
                <a:cubicBezTo>
                  <a:pt x="44" y="44"/>
                  <a:pt x="43" y="45"/>
                  <a:pt x="43" y="45"/>
                </a:cubicBezTo>
                <a:cubicBezTo>
                  <a:pt x="43" y="46"/>
                  <a:pt x="43" y="46"/>
                  <a:pt x="44" y="46"/>
                </a:cubicBezTo>
                <a:cubicBezTo>
                  <a:pt x="48" y="47"/>
                  <a:pt x="52" y="47"/>
                  <a:pt x="54" y="46"/>
                </a:cubicBezTo>
                <a:cubicBezTo>
                  <a:pt x="54" y="47"/>
                  <a:pt x="54" y="47"/>
                  <a:pt x="54" y="48"/>
                </a:cubicBezTo>
                <a:cubicBezTo>
                  <a:pt x="54" y="52"/>
                  <a:pt x="52" y="54"/>
                  <a:pt x="49" y="54"/>
                </a:cubicBezTo>
                <a:cubicBezTo>
                  <a:pt x="44" y="56"/>
                  <a:pt x="41" y="57"/>
                  <a:pt x="41" y="57"/>
                </a:cubicBezTo>
                <a:cubicBezTo>
                  <a:pt x="40" y="57"/>
                  <a:pt x="39" y="56"/>
                  <a:pt x="38" y="56"/>
                </a:cubicBezTo>
                <a:cubicBezTo>
                  <a:pt x="37" y="55"/>
                  <a:pt x="36" y="53"/>
                  <a:pt x="35" y="51"/>
                </a:cubicBezTo>
                <a:cubicBezTo>
                  <a:pt x="34" y="49"/>
                  <a:pt x="33" y="47"/>
                  <a:pt x="30" y="45"/>
                </a:cubicBezTo>
                <a:lnTo>
                  <a:pt x="30" y="44"/>
                </a:lnTo>
                <a:cubicBezTo>
                  <a:pt x="30" y="44"/>
                  <a:pt x="30" y="43"/>
                  <a:pt x="29" y="43"/>
                </a:cubicBezTo>
                <a:cubicBezTo>
                  <a:pt x="29" y="43"/>
                  <a:pt x="28" y="43"/>
                  <a:pt x="27" y="43"/>
                </a:cubicBezTo>
                <a:cubicBezTo>
                  <a:pt x="23" y="43"/>
                  <a:pt x="21" y="43"/>
                  <a:pt x="19" y="43"/>
                </a:cubicBezTo>
                <a:cubicBezTo>
                  <a:pt x="17" y="42"/>
                  <a:pt x="14" y="41"/>
                  <a:pt x="12" y="39"/>
                </a:cubicBezTo>
                <a:cubicBezTo>
                  <a:pt x="9" y="37"/>
                  <a:pt x="8" y="35"/>
                  <a:pt x="8" y="33"/>
                </a:cubicBezTo>
                <a:lnTo>
                  <a:pt x="11" y="24"/>
                </a:lnTo>
                <a:lnTo>
                  <a:pt x="11" y="22"/>
                </a:lnTo>
                <a:lnTo>
                  <a:pt x="11" y="22"/>
                </a:lnTo>
                <a:cubicBezTo>
                  <a:pt x="10" y="22"/>
                  <a:pt x="10" y="23"/>
                  <a:pt x="10" y="23"/>
                </a:cubicBezTo>
                <a:cubicBezTo>
                  <a:pt x="6" y="28"/>
                  <a:pt x="3" y="30"/>
                  <a:pt x="2" y="30"/>
                </a:cubicBezTo>
                <a:cubicBezTo>
                  <a:pt x="1" y="30"/>
                  <a:pt x="0" y="27"/>
                  <a:pt x="0" y="22"/>
                </a:cubicBezTo>
                <a:cubicBezTo>
                  <a:pt x="1" y="18"/>
                  <a:pt x="1" y="16"/>
                  <a:pt x="1" y="16"/>
                </a:cubicBezTo>
                <a:cubicBezTo>
                  <a:pt x="1" y="16"/>
                  <a:pt x="3" y="14"/>
                  <a:pt x="6" y="10"/>
                </a:cubicBezTo>
                <a:cubicBezTo>
                  <a:pt x="7" y="8"/>
                  <a:pt x="8" y="6"/>
                  <a:pt x="9" y="5"/>
                </a:cubicBezTo>
                <a:cubicBezTo>
                  <a:pt x="12" y="2"/>
                  <a:pt x="13" y="0"/>
                  <a:pt x="14" y="1"/>
                </a:cubicBezTo>
                <a:cubicBezTo>
                  <a:pt x="17" y="1"/>
                  <a:pt x="21" y="3"/>
                  <a:pt x="25" y="7"/>
                </a:cubicBezTo>
                <a:cubicBezTo>
                  <a:pt x="27" y="8"/>
                  <a:pt x="28" y="9"/>
                  <a:pt x="28" y="10"/>
                </a:cubicBezTo>
                <a:lnTo>
                  <a:pt x="28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4" name="Freeform 350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5" name="Freeform 351"/>
          <p:cNvSpPr/>
          <p:nvPr/>
        </p:nvSpPr>
        <p:spPr bwMode="auto">
          <a:xfrm>
            <a:off x="7578134" y="2096343"/>
            <a:ext cx="8735" cy="8735"/>
          </a:xfrm>
          <a:custGeom>
            <a:avLst/>
            <a:gdLst>
              <a:gd name="T0" fmla="*/ 9 w 9"/>
              <a:gd name="T1" fmla="*/ 8 h 8"/>
              <a:gd name="T2" fmla="*/ 9 w 9"/>
              <a:gd name="T3" fmla="*/ 8 h 8"/>
              <a:gd name="T4" fmla="*/ 6 w 9"/>
              <a:gd name="T5" fmla="*/ 8 h 8"/>
              <a:gd name="T6" fmla="*/ 0 w 9"/>
              <a:gd name="T7" fmla="*/ 4 h 8"/>
              <a:gd name="T8" fmla="*/ 1 w 9"/>
              <a:gd name="T9" fmla="*/ 2 h 8"/>
              <a:gd name="T10" fmla="*/ 1 w 9"/>
              <a:gd name="T11" fmla="*/ 2 h 8"/>
              <a:gd name="T12" fmla="*/ 2 w 9"/>
              <a:gd name="T13" fmla="*/ 0 h 8"/>
              <a:gd name="T14" fmla="*/ 3 w 9"/>
              <a:gd name="T15" fmla="*/ 1 h 8"/>
              <a:gd name="T16" fmla="*/ 4 w 9"/>
              <a:gd name="T17" fmla="*/ 1 h 8"/>
              <a:gd name="T18" fmla="*/ 7 w 9"/>
              <a:gd name="T19" fmla="*/ 3 h 8"/>
              <a:gd name="T20" fmla="*/ 9 w 9"/>
              <a:gd name="T21" fmla="*/ 8 h 8"/>
              <a:gd name="T22" fmla="*/ 9 w 9"/>
              <a:gd name="T2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8">
                <a:moveTo>
                  <a:pt x="9" y="8"/>
                </a:moveTo>
                <a:lnTo>
                  <a:pt x="9" y="8"/>
                </a:lnTo>
                <a:cubicBezTo>
                  <a:pt x="8" y="8"/>
                  <a:pt x="7" y="8"/>
                  <a:pt x="6" y="8"/>
                </a:cubicBezTo>
                <a:cubicBezTo>
                  <a:pt x="1" y="7"/>
                  <a:pt x="0" y="6"/>
                  <a:pt x="0" y="4"/>
                </a:cubicBezTo>
                <a:cubicBezTo>
                  <a:pt x="0" y="4"/>
                  <a:pt x="0" y="3"/>
                  <a:pt x="1" y="2"/>
                </a:cubicBezTo>
                <a:lnTo>
                  <a:pt x="1" y="2"/>
                </a:lnTo>
                <a:cubicBezTo>
                  <a:pt x="2" y="1"/>
                  <a:pt x="2" y="0"/>
                  <a:pt x="2" y="0"/>
                </a:cubicBezTo>
                <a:cubicBezTo>
                  <a:pt x="3" y="0"/>
                  <a:pt x="3" y="0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2"/>
                  <a:pt x="5" y="2"/>
                  <a:pt x="7" y="3"/>
                </a:cubicBezTo>
                <a:cubicBezTo>
                  <a:pt x="8" y="5"/>
                  <a:pt x="9" y="6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6" name="Freeform 352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7" name="Freeform 353"/>
          <p:cNvSpPr/>
          <p:nvPr/>
        </p:nvSpPr>
        <p:spPr bwMode="auto">
          <a:xfrm>
            <a:off x="7494284" y="2115560"/>
            <a:ext cx="17469" cy="33191"/>
          </a:xfrm>
          <a:custGeom>
            <a:avLst/>
            <a:gdLst>
              <a:gd name="T0" fmla="*/ 8 w 18"/>
              <a:gd name="T1" fmla="*/ 0 h 31"/>
              <a:gd name="T2" fmla="*/ 8 w 18"/>
              <a:gd name="T3" fmla="*/ 0 h 31"/>
              <a:gd name="T4" fmla="*/ 12 w 18"/>
              <a:gd name="T5" fmla="*/ 1 h 31"/>
              <a:gd name="T6" fmla="*/ 17 w 18"/>
              <a:gd name="T7" fmla="*/ 21 h 31"/>
              <a:gd name="T8" fmla="*/ 16 w 18"/>
              <a:gd name="T9" fmla="*/ 25 h 31"/>
              <a:gd name="T10" fmla="*/ 17 w 18"/>
              <a:gd name="T11" fmla="*/ 27 h 31"/>
              <a:gd name="T12" fmla="*/ 17 w 18"/>
              <a:gd name="T13" fmla="*/ 28 h 31"/>
              <a:gd name="T14" fmla="*/ 14 w 18"/>
              <a:gd name="T15" fmla="*/ 30 h 31"/>
              <a:gd name="T16" fmla="*/ 4 w 18"/>
              <a:gd name="T17" fmla="*/ 19 h 31"/>
              <a:gd name="T18" fmla="*/ 0 w 18"/>
              <a:gd name="T19" fmla="*/ 4 h 31"/>
              <a:gd name="T20" fmla="*/ 1 w 18"/>
              <a:gd name="T21" fmla="*/ 3 h 31"/>
              <a:gd name="T22" fmla="*/ 8 w 18"/>
              <a:gd name="T23" fmla="*/ 0 h 31"/>
              <a:gd name="T24" fmla="*/ 8 w 18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31">
                <a:moveTo>
                  <a:pt x="8" y="0"/>
                </a:moveTo>
                <a:lnTo>
                  <a:pt x="8" y="0"/>
                </a:lnTo>
                <a:cubicBezTo>
                  <a:pt x="10" y="0"/>
                  <a:pt x="11" y="1"/>
                  <a:pt x="12" y="1"/>
                </a:cubicBezTo>
                <a:cubicBezTo>
                  <a:pt x="16" y="4"/>
                  <a:pt x="18" y="11"/>
                  <a:pt x="17" y="21"/>
                </a:cubicBezTo>
                <a:cubicBezTo>
                  <a:pt x="17" y="23"/>
                  <a:pt x="17" y="24"/>
                  <a:pt x="16" y="25"/>
                </a:cubicBezTo>
                <a:cubicBezTo>
                  <a:pt x="16" y="25"/>
                  <a:pt x="17" y="26"/>
                  <a:pt x="17" y="27"/>
                </a:cubicBezTo>
                <a:lnTo>
                  <a:pt x="17" y="28"/>
                </a:lnTo>
                <a:cubicBezTo>
                  <a:pt x="15" y="29"/>
                  <a:pt x="14" y="31"/>
                  <a:pt x="14" y="30"/>
                </a:cubicBezTo>
                <a:cubicBezTo>
                  <a:pt x="11" y="30"/>
                  <a:pt x="7" y="26"/>
                  <a:pt x="4" y="19"/>
                </a:cubicBezTo>
                <a:cubicBezTo>
                  <a:pt x="1" y="13"/>
                  <a:pt x="0" y="7"/>
                  <a:pt x="0" y="4"/>
                </a:cubicBezTo>
                <a:cubicBezTo>
                  <a:pt x="1" y="3"/>
                  <a:pt x="1" y="3"/>
                  <a:pt x="1" y="3"/>
                </a:cubicBezTo>
                <a:cubicBezTo>
                  <a:pt x="3" y="2"/>
                  <a:pt x="5" y="2"/>
                  <a:pt x="8" y="0"/>
                </a:cubicBezTo>
                <a:lnTo>
                  <a:pt x="8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8" name="Freeform 354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9" name="Freeform 355"/>
          <p:cNvSpPr/>
          <p:nvPr/>
        </p:nvSpPr>
        <p:spPr bwMode="auto">
          <a:xfrm flipH="1">
            <a:off x="7511753" y="214525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0" name="Freeform 356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1" name="Freeform 357"/>
          <p:cNvSpPr/>
          <p:nvPr/>
        </p:nvSpPr>
        <p:spPr bwMode="auto">
          <a:xfrm flipH="1">
            <a:off x="7511753" y="2143509"/>
            <a:ext cx="0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1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2" name="Freeform 358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3" name="Freeform 359"/>
          <p:cNvSpPr/>
          <p:nvPr/>
        </p:nvSpPr>
        <p:spPr bwMode="auto">
          <a:xfrm>
            <a:off x="7530968" y="2143509"/>
            <a:ext cx="10481" cy="19216"/>
          </a:xfrm>
          <a:custGeom>
            <a:avLst/>
            <a:gdLst>
              <a:gd name="T0" fmla="*/ 7 w 10"/>
              <a:gd name="T1" fmla="*/ 10 h 19"/>
              <a:gd name="T2" fmla="*/ 7 w 10"/>
              <a:gd name="T3" fmla="*/ 10 h 19"/>
              <a:gd name="T4" fmla="*/ 2 w 10"/>
              <a:gd name="T5" fmla="*/ 19 h 19"/>
              <a:gd name="T6" fmla="*/ 0 w 10"/>
              <a:gd name="T7" fmla="*/ 16 h 19"/>
              <a:gd name="T8" fmla="*/ 1 w 10"/>
              <a:gd name="T9" fmla="*/ 12 h 19"/>
              <a:gd name="T10" fmla="*/ 1 w 10"/>
              <a:gd name="T11" fmla="*/ 3 h 19"/>
              <a:gd name="T12" fmla="*/ 3 w 10"/>
              <a:gd name="T13" fmla="*/ 2 h 19"/>
              <a:gd name="T14" fmla="*/ 6 w 10"/>
              <a:gd name="T15" fmla="*/ 0 h 19"/>
              <a:gd name="T16" fmla="*/ 10 w 10"/>
              <a:gd name="T17" fmla="*/ 0 h 19"/>
              <a:gd name="T18" fmla="*/ 10 w 10"/>
              <a:gd name="T19" fmla="*/ 3 h 19"/>
              <a:gd name="T20" fmla="*/ 8 w 10"/>
              <a:gd name="T21" fmla="*/ 6 h 19"/>
              <a:gd name="T22" fmla="*/ 7 w 10"/>
              <a:gd name="T23" fmla="*/ 10 h 19"/>
              <a:gd name="T24" fmla="*/ 7 w 10"/>
              <a:gd name="T2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19">
                <a:moveTo>
                  <a:pt x="7" y="10"/>
                </a:moveTo>
                <a:lnTo>
                  <a:pt x="7" y="10"/>
                </a:lnTo>
                <a:cubicBezTo>
                  <a:pt x="6" y="16"/>
                  <a:pt x="5" y="19"/>
                  <a:pt x="2" y="19"/>
                </a:cubicBezTo>
                <a:cubicBezTo>
                  <a:pt x="1" y="18"/>
                  <a:pt x="0" y="18"/>
                  <a:pt x="0" y="16"/>
                </a:cubicBezTo>
                <a:cubicBezTo>
                  <a:pt x="1" y="15"/>
                  <a:pt x="1" y="13"/>
                  <a:pt x="1" y="12"/>
                </a:cubicBezTo>
                <a:cubicBezTo>
                  <a:pt x="1" y="8"/>
                  <a:pt x="1" y="4"/>
                  <a:pt x="1" y="3"/>
                </a:cubicBezTo>
                <a:cubicBezTo>
                  <a:pt x="1" y="2"/>
                  <a:pt x="2" y="2"/>
                  <a:pt x="3" y="2"/>
                </a:cubicBezTo>
                <a:lnTo>
                  <a:pt x="6" y="0"/>
                </a:lnTo>
                <a:lnTo>
                  <a:pt x="10" y="0"/>
                </a:lnTo>
                <a:cubicBezTo>
                  <a:pt x="10" y="1"/>
                  <a:pt x="10" y="2"/>
                  <a:pt x="10" y="3"/>
                </a:cubicBezTo>
                <a:cubicBezTo>
                  <a:pt x="10" y="4"/>
                  <a:pt x="9" y="5"/>
                  <a:pt x="8" y="6"/>
                </a:cubicBezTo>
                <a:cubicBezTo>
                  <a:pt x="7" y="7"/>
                  <a:pt x="6" y="8"/>
                  <a:pt x="7" y="10"/>
                </a:cubicBezTo>
                <a:lnTo>
                  <a:pt x="7" y="1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4" name="Freeform 360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5" name="Freeform 361"/>
          <p:cNvSpPr/>
          <p:nvPr/>
        </p:nvSpPr>
        <p:spPr bwMode="auto">
          <a:xfrm>
            <a:off x="6778069" y="2676303"/>
            <a:ext cx="279499" cy="232334"/>
          </a:xfrm>
          <a:custGeom>
            <a:avLst/>
            <a:gdLst>
              <a:gd name="T0" fmla="*/ 126 w 267"/>
              <a:gd name="T1" fmla="*/ 13 h 222"/>
              <a:gd name="T2" fmla="*/ 146 w 267"/>
              <a:gd name="T3" fmla="*/ 13 h 222"/>
              <a:gd name="T4" fmla="*/ 161 w 267"/>
              <a:gd name="T5" fmla="*/ 1 h 222"/>
              <a:gd name="T6" fmla="*/ 204 w 267"/>
              <a:gd name="T7" fmla="*/ 6 h 222"/>
              <a:gd name="T8" fmla="*/ 224 w 267"/>
              <a:gd name="T9" fmla="*/ 15 h 222"/>
              <a:gd name="T10" fmla="*/ 239 w 267"/>
              <a:gd name="T11" fmla="*/ 25 h 222"/>
              <a:gd name="T12" fmla="*/ 246 w 267"/>
              <a:gd name="T13" fmla="*/ 34 h 222"/>
              <a:gd name="T14" fmla="*/ 240 w 267"/>
              <a:gd name="T15" fmla="*/ 45 h 222"/>
              <a:gd name="T16" fmla="*/ 244 w 267"/>
              <a:gd name="T17" fmla="*/ 48 h 222"/>
              <a:gd name="T18" fmla="*/ 242 w 267"/>
              <a:gd name="T19" fmla="*/ 61 h 222"/>
              <a:gd name="T20" fmla="*/ 245 w 267"/>
              <a:gd name="T21" fmla="*/ 71 h 222"/>
              <a:gd name="T22" fmla="*/ 244 w 267"/>
              <a:gd name="T23" fmla="*/ 78 h 222"/>
              <a:gd name="T24" fmla="*/ 260 w 267"/>
              <a:gd name="T25" fmla="*/ 106 h 222"/>
              <a:gd name="T26" fmla="*/ 253 w 267"/>
              <a:gd name="T27" fmla="*/ 114 h 222"/>
              <a:gd name="T28" fmla="*/ 223 w 267"/>
              <a:gd name="T29" fmla="*/ 128 h 222"/>
              <a:gd name="T30" fmla="*/ 253 w 267"/>
              <a:gd name="T31" fmla="*/ 126 h 222"/>
              <a:gd name="T32" fmla="*/ 264 w 267"/>
              <a:gd name="T33" fmla="*/ 137 h 222"/>
              <a:gd name="T34" fmla="*/ 267 w 267"/>
              <a:gd name="T35" fmla="*/ 154 h 222"/>
              <a:gd name="T36" fmla="*/ 257 w 267"/>
              <a:gd name="T37" fmla="*/ 184 h 222"/>
              <a:gd name="T38" fmla="*/ 250 w 267"/>
              <a:gd name="T39" fmla="*/ 182 h 222"/>
              <a:gd name="T40" fmla="*/ 253 w 267"/>
              <a:gd name="T41" fmla="*/ 168 h 222"/>
              <a:gd name="T42" fmla="*/ 252 w 267"/>
              <a:gd name="T43" fmla="*/ 155 h 222"/>
              <a:gd name="T44" fmla="*/ 244 w 267"/>
              <a:gd name="T45" fmla="*/ 145 h 222"/>
              <a:gd name="T46" fmla="*/ 248 w 267"/>
              <a:gd name="T47" fmla="*/ 156 h 222"/>
              <a:gd name="T48" fmla="*/ 246 w 267"/>
              <a:gd name="T49" fmla="*/ 170 h 222"/>
              <a:gd name="T50" fmla="*/ 236 w 267"/>
              <a:gd name="T51" fmla="*/ 180 h 222"/>
              <a:gd name="T52" fmla="*/ 246 w 267"/>
              <a:gd name="T53" fmla="*/ 182 h 222"/>
              <a:gd name="T54" fmla="*/ 248 w 267"/>
              <a:gd name="T55" fmla="*/ 189 h 222"/>
              <a:gd name="T56" fmla="*/ 237 w 267"/>
              <a:gd name="T57" fmla="*/ 202 h 222"/>
              <a:gd name="T58" fmla="*/ 226 w 267"/>
              <a:gd name="T59" fmla="*/ 198 h 222"/>
              <a:gd name="T60" fmla="*/ 218 w 267"/>
              <a:gd name="T61" fmla="*/ 197 h 222"/>
              <a:gd name="T62" fmla="*/ 208 w 267"/>
              <a:gd name="T63" fmla="*/ 207 h 222"/>
              <a:gd name="T64" fmla="*/ 194 w 267"/>
              <a:gd name="T65" fmla="*/ 218 h 222"/>
              <a:gd name="T66" fmla="*/ 179 w 267"/>
              <a:gd name="T67" fmla="*/ 221 h 222"/>
              <a:gd name="T68" fmla="*/ 158 w 267"/>
              <a:gd name="T69" fmla="*/ 201 h 222"/>
              <a:gd name="T70" fmla="*/ 150 w 267"/>
              <a:gd name="T71" fmla="*/ 204 h 222"/>
              <a:gd name="T72" fmla="*/ 126 w 267"/>
              <a:gd name="T73" fmla="*/ 194 h 222"/>
              <a:gd name="T74" fmla="*/ 130 w 267"/>
              <a:gd name="T75" fmla="*/ 179 h 222"/>
              <a:gd name="T76" fmla="*/ 120 w 267"/>
              <a:gd name="T77" fmla="*/ 169 h 222"/>
              <a:gd name="T78" fmla="*/ 115 w 267"/>
              <a:gd name="T79" fmla="*/ 154 h 222"/>
              <a:gd name="T80" fmla="*/ 116 w 267"/>
              <a:gd name="T81" fmla="*/ 134 h 222"/>
              <a:gd name="T82" fmla="*/ 100 w 267"/>
              <a:gd name="T83" fmla="*/ 129 h 222"/>
              <a:gd name="T84" fmla="*/ 88 w 267"/>
              <a:gd name="T85" fmla="*/ 133 h 222"/>
              <a:gd name="T86" fmla="*/ 86 w 267"/>
              <a:gd name="T87" fmla="*/ 143 h 222"/>
              <a:gd name="T88" fmla="*/ 63 w 267"/>
              <a:gd name="T89" fmla="*/ 165 h 222"/>
              <a:gd name="T90" fmla="*/ 38 w 267"/>
              <a:gd name="T91" fmla="*/ 151 h 222"/>
              <a:gd name="T92" fmla="*/ 17 w 267"/>
              <a:gd name="T93" fmla="*/ 134 h 222"/>
              <a:gd name="T94" fmla="*/ 13 w 267"/>
              <a:gd name="T95" fmla="*/ 113 h 222"/>
              <a:gd name="T96" fmla="*/ 2 w 267"/>
              <a:gd name="T97" fmla="*/ 93 h 222"/>
              <a:gd name="T98" fmla="*/ 12 w 267"/>
              <a:gd name="T99" fmla="*/ 77 h 222"/>
              <a:gd name="T100" fmla="*/ 26 w 267"/>
              <a:gd name="T101" fmla="*/ 74 h 222"/>
              <a:gd name="T102" fmla="*/ 54 w 267"/>
              <a:gd name="T103" fmla="*/ 69 h 222"/>
              <a:gd name="T104" fmla="*/ 36 w 267"/>
              <a:gd name="T105" fmla="*/ 55 h 222"/>
              <a:gd name="T106" fmla="*/ 42 w 267"/>
              <a:gd name="T107" fmla="*/ 46 h 222"/>
              <a:gd name="T108" fmla="*/ 53 w 267"/>
              <a:gd name="T109" fmla="*/ 54 h 222"/>
              <a:gd name="T110" fmla="*/ 75 w 267"/>
              <a:gd name="T111" fmla="*/ 51 h 222"/>
              <a:gd name="T112" fmla="*/ 81 w 267"/>
              <a:gd name="T113" fmla="*/ 42 h 222"/>
              <a:gd name="T114" fmla="*/ 102 w 267"/>
              <a:gd name="T115" fmla="*/ 21 h 222"/>
              <a:gd name="T116" fmla="*/ 124 w 267"/>
              <a:gd name="T117" fmla="*/ 9 h 222"/>
              <a:gd name="T118" fmla="*/ 123 w 267"/>
              <a:gd name="T119" fmla="*/ 13 h 222"/>
              <a:gd name="T120" fmla="*/ 126 w 267"/>
              <a:gd name="T121" fmla="*/ 13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7" h="221">
                <a:moveTo>
                  <a:pt x="126" y="13"/>
                </a:moveTo>
                <a:lnTo>
                  <a:pt x="126" y="13"/>
                </a:lnTo>
                <a:cubicBezTo>
                  <a:pt x="130" y="14"/>
                  <a:pt x="135" y="15"/>
                  <a:pt x="139" y="18"/>
                </a:cubicBezTo>
                <a:cubicBezTo>
                  <a:pt x="142" y="16"/>
                  <a:pt x="144" y="15"/>
                  <a:pt x="146" y="13"/>
                </a:cubicBezTo>
                <a:cubicBezTo>
                  <a:pt x="151" y="9"/>
                  <a:pt x="156" y="5"/>
                  <a:pt x="159" y="0"/>
                </a:cubicBezTo>
                <a:cubicBezTo>
                  <a:pt x="160" y="0"/>
                  <a:pt x="160" y="1"/>
                  <a:pt x="161" y="1"/>
                </a:cubicBezTo>
                <a:cubicBezTo>
                  <a:pt x="164" y="4"/>
                  <a:pt x="169" y="6"/>
                  <a:pt x="173" y="6"/>
                </a:cubicBezTo>
                <a:cubicBezTo>
                  <a:pt x="183" y="6"/>
                  <a:pt x="194" y="6"/>
                  <a:pt x="204" y="6"/>
                </a:cubicBezTo>
                <a:cubicBezTo>
                  <a:pt x="206" y="7"/>
                  <a:pt x="209" y="7"/>
                  <a:pt x="211" y="8"/>
                </a:cubicBezTo>
                <a:cubicBezTo>
                  <a:pt x="215" y="10"/>
                  <a:pt x="220" y="12"/>
                  <a:pt x="224" y="15"/>
                </a:cubicBezTo>
                <a:cubicBezTo>
                  <a:pt x="227" y="17"/>
                  <a:pt x="230" y="18"/>
                  <a:pt x="233" y="20"/>
                </a:cubicBezTo>
                <a:cubicBezTo>
                  <a:pt x="235" y="22"/>
                  <a:pt x="237" y="23"/>
                  <a:pt x="239" y="25"/>
                </a:cubicBezTo>
                <a:cubicBezTo>
                  <a:pt x="241" y="26"/>
                  <a:pt x="243" y="29"/>
                  <a:pt x="245" y="31"/>
                </a:cubicBezTo>
                <a:cubicBezTo>
                  <a:pt x="245" y="31"/>
                  <a:pt x="245" y="33"/>
                  <a:pt x="246" y="34"/>
                </a:cubicBezTo>
                <a:cubicBezTo>
                  <a:pt x="245" y="35"/>
                  <a:pt x="245" y="36"/>
                  <a:pt x="245" y="37"/>
                </a:cubicBezTo>
                <a:cubicBezTo>
                  <a:pt x="243" y="40"/>
                  <a:pt x="241" y="43"/>
                  <a:pt x="240" y="45"/>
                </a:cubicBezTo>
                <a:cubicBezTo>
                  <a:pt x="240" y="45"/>
                  <a:pt x="241" y="45"/>
                  <a:pt x="241" y="46"/>
                </a:cubicBezTo>
                <a:cubicBezTo>
                  <a:pt x="242" y="46"/>
                  <a:pt x="243" y="47"/>
                  <a:pt x="244" y="48"/>
                </a:cubicBezTo>
                <a:cubicBezTo>
                  <a:pt x="245" y="49"/>
                  <a:pt x="245" y="50"/>
                  <a:pt x="245" y="51"/>
                </a:cubicBezTo>
                <a:cubicBezTo>
                  <a:pt x="246" y="55"/>
                  <a:pt x="245" y="58"/>
                  <a:pt x="242" y="61"/>
                </a:cubicBezTo>
                <a:cubicBezTo>
                  <a:pt x="243" y="62"/>
                  <a:pt x="244" y="64"/>
                  <a:pt x="245" y="65"/>
                </a:cubicBezTo>
                <a:cubicBezTo>
                  <a:pt x="246" y="67"/>
                  <a:pt x="246" y="69"/>
                  <a:pt x="245" y="71"/>
                </a:cubicBezTo>
                <a:cubicBezTo>
                  <a:pt x="245" y="72"/>
                  <a:pt x="245" y="73"/>
                  <a:pt x="244" y="74"/>
                </a:cubicBezTo>
                <a:cubicBezTo>
                  <a:pt x="244" y="75"/>
                  <a:pt x="244" y="76"/>
                  <a:pt x="244" y="78"/>
                </a:cubicBezTo>
                <a:cubicBezTo>
                  <a:pt x="250" y="86"/>
                  <a:pt x="255" y="95"/>
                  <a:pt x="260" y="104"/>
                </a:cubicBezTo>
                <a:cubicBezTo>
                  <a:pt x="260" y="105"/>
                  <a:pt x="260" y="105"/>
                  <a:pt x="260" y="106"/>
                </a:cubicBezTo>
                <a:cubicBezTo>
                  <a:pt x="259" y="108"/>
                  <a:pt x="258" y="109"/>
                  <a:pt x="257" y="111"/>
                </a:cubicBezTo>
                <a:cubicBezTo>
                  <a:pt x="256" y="112"/>
                  <a:pt x="255" y="113"/>
                  <a:pt x="253" y="114"/>
                </a:cubicBezTo>
                <a:cubicBezTo>
                  <a:pt x="249" y="117"/>
                  <a:pt x="244" y="119"/>
                  <a:pt x="239" y="122"/>
                </a:cubicBezTo>
                <a:cubicBezTo>
                  <a:pt x="234" y="124"/>
                  <a:pt x="229" y="127"/>
                  <a:pt x="223" y="128"/>
                </a:cubicBezTo>
                <a:cubicBezTo>
                  <a:pt x="229" y="127"/>
                  <a:pt x="235" y="126"/>
                  <a:pt x="241" y="125"/>
                </a:cubicBezTo>
                <a:cubicBezTo>
                  <a:pt x="245" y="124"/>
                  <a:pt x="249" y="125"/>
                  <a:pt x="253" y="126"/>
                </a:cubicBezTo>
                <a:cubicBezTo>
                  <a:pt x="258" y="126"/>
                  <a:pt x="261" y="128"/>
                  <a:pt x="264" y="132"/>
                </a:cubicBezTo>
                <a:cubicBezTo>
                  <a:pt x="264" y="133"/>
                  <a:pt x="264" y="135"/>
                  <a:pt x="264" y="137"/>
                </a:cubicBezTo>
                <a:cubicBezTo>
                  <a:pt x="264" y="138"/>
                  <a:pt x="265" y="140"/>
                  <a:pt x="265" y="141"/>
                </a:cubicBezTo>
                <a:cubicBezTo>
                  <a:pt x="266" y="145"/>
                  <a:pt x="266" y="150"/>
                  <a:pt x="267" y="154"/>
                </a:cubicBezTo>
                <a:cubicBezTo>
                  <a:pt x="267" y="164"/>
                  <a:pt x="265" y="173"/>
                  <a:pt x="260" y="181"/>
                </a:cubicBezTo>
                <a:cubicBezTo>
                  <a:pt x="259" y="183"/>
                  <a:pt x="258" y="184"/>
                  <a:pt x="257" y="184"/>
                </a:cubicBezTo>
                <a:cubicBezTo>
                  <a:pt x="255" y="185"/>
                  <a:pt x="253" y="186"/>
                  <a:pt x="251" y="184"/>
                </a:cubicBezTo>
                <a:cubicBezTo>
                  <a:pt x="251" y="184"/>
                  <a:pt x="251" y="183"/>
                  <a:pt x="250" y="182"/>
                </a:cubicBezTo>
                <a:cubicBezTo>
                  <a:pt x="250" y="180"/>
                  <a:pt x="251" y="178"/>
                  <a:pt x="251" y="176"/>
                </a:cubicBezTo>
                <a:cubicBezTo>
                  <a:pt x="252" y="173"/>
                  <a:pt x="252" y="170"/>
                  <a:pt x="253" y="168"/>
                </a:cubicBezTo>
                <a:cubicBezTo>
                  <a:pt x="253" y="165"/>
                  <a:pt x="254" y="163"/>
                  <a:pt x="253" y="160"/>
                </a:cubicBezTo>
                <a:cubicBezTo>
                  <a:pt x="253" y="158"/>
                  <a:pt x="253" y="156"/>
                  <a:pt x="252" y="155"/>
                </a:cubicBezTo>
                <a:cubicBezTo>
                  <a:pt x="250" y="152"/>
                  <a:pt x="248" y="149"/>
                  <a:pt x="245" y="146"/>
                </a:cubicBezTo>
                <a:cubicBezTo>
                  <a:pt x="245" y="146"/>
                  <a:pt x="244" y="145"/>
                  <a:pt x="244" y="145"/>
                </a:cubicBezTo>
                <a:lnTo>
                  <a:pt x="244" y="147"/>
                </a:lnTo>
                <a:cubicBezTo>
                  <a:pt x="245" y="150"/>
                  <a:pt x="247" y="153"/>
                  <a:pt x="248" y="156"/>
                </a:cubicBezTo>
                <a:cubicBezTo>
                  <a:pt x="249" y="160"/>
                  <a:pt x="249" y="163"/>
                  <a:pt x="247" y="167"/>
                </a:cubicBezTo>
                <a:cubicBezTo>
                  <a:pt x="247" y="168"/>
                  <a:pt x="246" y="169"/>
                  <a:pt x="246" y="170"/>
                </a:cubicBezTo>
                <a:cubicBezTo>
                  <a:pt x="245" y="171"/>
                  <a:pt x="244" y="172"/>
                  <a:pt x="243" y="173"/>
                </a:cubicBezTo>
                <a:cubicBezTo>
                  <a:pt x="241" y="175"/>
                  <a:pt x="239" y="178"/>
                  <a:pt x="236" y="180"/>
                </a:cubicBezTo>
                <a:cubicBezTo>
                  <a:pt x="238" y="180"/>
                  <a:pt x="240" y="180"/>
                  <a:pt x="242" y="180"/>
                </a:cubicBezTo>
                <a:cubicBezTo>
                  <a:pt x="244" y="180"/>
                  <a:pt x="245" y="181"/>
                  <a:pt x="246" y="182"/>
                </a:cubicBezTo>
                <a:cubicBezTo>
                  <a:pt x="247" y="183"/>
                  <a:pt x="248" y="184"/>
                  <a:pt x="248" y="185"/>
                </a:cubicBezTo>
                <a:cubicBezTo>
                  <a:pt x="249" y="187"/>
                  <a:pt x="248" y="188"/>
                  <a:pt x="248" y="189"/>
                </a:cubicBezTo>
                <a:cubicBezTo>
                  <a:pt x="246" y="193"/>
                  <a:pt x="244" y="196"/>
                  <a:pt x="241" y="199"/>
                </a:cubicBezTo>
                <a:cubicBezTo>
                  <a:pt x="240" y="201"/>
                  <a:pt x="239" y="202"/>
                  <a:pt x="237" y="202"/>
                </a:cubicBezTo>
                <a:cubicBezTo>
                  <a:pt x="236" y="203"/>
                  <a:pt x="234" y="203"/>
                  <a:pt x="232" y="202"/>
                </a:cubicBezTo>
                <a:cubicBezTo>
                  <a:pt x="230" y="200"/>
                  <a:pt x="228" y="199"/>
                  <a:pt x="226" y="198"/>
                </a:cubicBezTo>
                <a:cubicBezTo>
                  <a:pt x="224" y="196"/>
                  <a:pt x="222" y="196"/>
                  <a:pt x="220" y="195"/>
                </a:cubicBezTo>
                <a:cubicBezTo>
                  <a:pt x="219" y="196"/>
                  <a:pt x="218" y="196"/>
                  <a:pt x="218" y="197"/>
                </a:cubicBezTo>
                <a:cubicBezTo>
                  <a:pt x="216" y="198"/>
                  <a:pt x="214" y="200"/>
                  <a:pt x="213" y="201"/>
                </a:cubicBezTo>
                <a:cubicBezTo>
                  <a:pt x="211" y="203"/>
                  <a:pt x="210" y="205"/>
                  <a:pt x="208" y="207"/>
                </a:cubicBezTo>
                <a:cubicBezTo>
                  <a:pt x="205" y="210"/>
                  <a:pt x="203" y="212"/>
                  <a:pt x="200" y="214"/>
                </a:cubicBezTo>
                <a:cubicBezTo>
                  <a:pt x="198" y="216"/>
                  <a:pt x="196" y="217"/>
                  <a:pt x="194" y="218"/>
                </a:cubicBezTo>
                <a:cubicBezTo>
                  <a:pt x="189" y="220"/>
                  <a:pt x="185" y="222"/>
                  <a:pt x="179" y="222"/>
                </a:cubicBezTo>
                <a:cubicBezTo>
                  <a:pt x="179" y="222"/>
                  <a:pt x="179" y="222"/>
                  <a:pt x="179" y="221"/>
                </a:cubicBezTo>
                <a:cubicBezTo>
                  <a:pt x="174" y="213"/>
                  <a:pt x="169" y="208"/>
                  <a:pt x="162" y="205"/>
                </a:cubicBezTo>
                <a:cubicBezTo>
                  <a:pt x="162" y="203"/>
                  <a:pt x="160" y="201"/>
                  <a:pt x="158" y="201"/>
                </a:cubicBezTo>
                <a:cubicBezTo>
                  <a:pt x="157" y="201"/>
                  <a:pt x="155" y="202"/>
                  <a:pt x="154" y="203"/>
                </a:cubicBezTo>
                <a:cubicBezTo>
                  <a:pt x="153" y="204"/>
                  <a:pt x="151" y="204"/>
                  <a:pt x="150" y="204"/>
                </a:cubicBezTo>
                <a:cubicBezTo>
                  <a:pt x="149" y="204"/>
                  <a:pt x="144" y="203"/>
                  <a:pt x="136" y="201"/>
                </a:cubicBezTo>
                <a:cubicBezTo>
                  <a:pt x="129" y="202"/>
                  <a:pt x="125" y="199"/>
                  <a:pt x="126" y="194"/>
                </a:cubicBezTo>
                <a:cubicBezTo>
                  <a:pt x="127" y="190"/>
                  <a:pt x="128" y="188"/>
                  <a:pt x="128" y="187"/>
                </a:cubicBezTo>
                <a:cubicBezTo>
                  <a:pt x="129" y="184"/>
                  <a:pt x="130" y="182"/>
                  <a:pt x="130" y="179"/>
                </a:cubicBezTo>
                <a:cubicBezTo>
                  <a:pt x="131" y="177"/>
                  <a:pt x="130" y="175"/>
                  <a:pt x="127" y="174"/>
                </a:cubicBezTo>
                <a:cubicBezTo>
                  <a:pt x="123" y="172"/>
                  <a:pt x="121" y="170"/>
                  <a:pt x="120" y="169"/>
                </a:cubicBezTo>
                <a:cubicBezTo>
                  <a:pt x="119" y="165"/>
                  <a:pt x="118" y="163"/>
                  <a:pt x="118" y="162"/>
                </a:cubicBezTo>
                <a:cubicBezTo>
                  <a:pt x="116" y="160"/>
                  <a:pt x="114" y="157"/>
                  <a:pt x="115" y="154"/>
                </a:cubicBezTo>
                <a:cubicBezTo>
                  <a:pt x="117" y="151"/>
                  <a:pt x="119" y="149"/>
                  <a:pt x="119" y="148"/>
                </a:cubicBezTo>
                <a:cubicBezTo>
                  <a:pt x="119" y="143"/>
                  <a:pt x="118" y="138"/>
                  <a:pt x="116" y="134"/>
                </a:cubicBezTo>
                <a:cubicBezTo>
                  <a:pt x="113" y="130"/>
                  <a:pt x="109" y="127"/>
                  <a:pt x="105" y="127"/>
                </a:cubicBezTo>
                <a:cubicBezTo>
                  <a:pt x="103" y="127"/>
                  <a:pt x="102" y="127"/>
                  <a:pt x="100" y="129"/>
                </a:cubicBezTo>
                <a:cubicBezTo>
                  <a:pt x="98" y="131"/>
                  <a:pt x="96" y="132"/>
                  <a:pt x="95" y="133"/>
                </a:cubicBezTo>
                <a:cubicBezTo>
                  <a:pt x="95" y="133"/>
                  <a:pt x="92" y="133"/>
                  <a:pt x="88" y="133"/>
                </a:cubicBezTo>
                <a:cubicBezTo>
                  <a:pt x="86" y="133"/>
                  <a:pt x="84" y="134"/>
                  <a:pt x="84" y="136"/>
                </a:cubicBezTo>
                <a:cubicBezTo>
                  <a:pt x="84" y="137"/>
                  <a:pt x="85" y="139"/>
                  <a:pt x="86" y="143"/>
                </a:cubicBezTo>
                <a:cubicBezTo>
                  <a:pt x="86" y="145"/>
                  <a:pt x="82" y="150"/>
                  <a:pt x="76" y="156"/>
                </a:cubicBezTo>
                <a:cubicBezTo>
                  <a:pt x="69" y="163"/>
                  <a:pt x="65" y="166"/>
                  <a:pt x="63" y="165"/>
                </a:cubicBezTo>
                <a:cubicBezTo>
                  <a:pt x="61" y="165"/>
                  <a:pt x="57" y="162"/>
                  <a:pt x="52" y="157"/>
                </a:cubicBezTo>
                <a:cubicBezTo>
                  <a:pt x="49" y="155"/>
                  <a:pt x="44" y="153"/>
                  <a:pt x="38" y="151"/>
                </a:cubicBezTo>
                <a:cubicBezTo>
                  <a:pt x="37" y="150"/>
                  <a:pt x="34" y="147"/>
                  <a:pt x="29" y="140"/>
                </a:cubicBezTo>
                <a:cubicBezTo>
                  <a:pt x="21" y="139"/>
                  <a:pt x="18" y="136"/>
                  <a:pt x="17" y="134"/>
                </a:cubicBezTo>
                <a:cubicBezTo>
                  <a:pt x="17" y="126"/>
                  <a:pt x="17" y="121"/>
                  <a:pt x="16" y="118"/>
                </a:cubicBezTo>
                <a:cubicBezTo>
                  <a:pt x="15" y="116"/>
                  <a:pt x="14" y="114"/>
                  <a:pt x="13" y="113"/>
                </a:cubicBezTo>
                <a:cubicBezTo>
                  <a:pt x="10" y="109"/>
                  <a:pt x="8" y="107"/>
                  <a:pt x="8" y="106"/>
                </a:cubicBezTo>
                <a:cubicBezTo>
                  <a:pt x="5" y="103"/>
                  <a:pt x="3" y="98"/>
                  <a:pt x="2" y="93"/>
                </a:cubicBezTo>
                <a:cubicBezTo>
                  <a:pt x="1" y="87"/>
                  <a:pt x="0" y="82"/>
                  <a:pt x="0" y="78"/>
                </a:cubicBezTo>
                <a:cubicBezTo>
                  <a:pt x="7" y="78"/>
                  <a:pt x="11" y="78"/>
                  <a:pt x="12" y="77"/>
                </a:cubicBezTo>
                <a:cubicBezTo>
                  <a:pt x="19" y="74"/>
                  <a:pt x="22" y="72"/>
                  <a:pt x="22" y="72"/>
                </a:cubicBezTo>
                <a:cubicBezTo>
                  <a:pt x="23" y="72"/>
                  <a:pt x="24" y="73"/>
                  <a:pt x="26" y="74"/>
                </a:cubicBezTo>
                <a:cubicBezTo>
                  <a:pt x="28" y="76"/>
                  <a:pt x="30" y="76"/>
                  <a:pt x="31" y="76"/>
                </a:cubicBezTo>
                <a:cubicBezTo>
                  <a:pt x="43" y="73"/>
                  <a:pt x="51" y="70"/>
                  <a:pt x="54" y="69"/>
                </a:cubicBezTo>
                <a:cubicBezTo>
                  <a:pt x="52" y="68"/>
                  <a:pt x="48" y="66"/>
                  <a:pt x="43" y="64"/>
                </a:cubicBezTo>
                <a:cubicBezTo>
                  <a:pt x="38" y="61"/>
                  <a:pt x="35" y="58"/>
                  <a:pt x="36" y="55"/>
                </a:cubicBezTo>
                <a:cubicBezTo>
                  <a:pt x="36" y="53"/>
                  <a:pt x="37" y="52"/>
                  <a:pt x="38" y="49"/>
                </a:cubicBezTo>
                <a:cubicBezTo>
                  <a:pt x="39" y="47"/>
                  <a:pt x="40" y="46"/>
                  <a:pt x="42" y="46"/>
                </a:cubicBezTo>
                <a:cubicBezTo>
                  <a:pt x="45" y="46"/>
                  <a:pt x="48" y="47"/>
                  <a:pt x="50" y="50"/>
                </a:cubicBezTo>
                <a:cubicBezTo>
                  <a:pt x="51" y="52"/>
                  <a:pt x="52" y="53"/>
                  <a:pt x="53" y="54"/>
                </a:cubicBezTo>
                <a:cubicBezTo>
                  <a:pt x="55" y="54"/>
                  <a:pt x="58" y="53"/>
                  <a:pt x="63" y="52"/>
                </a:cubicBezTo>
                <a:cubicBezTo>
                  <a:pt x="67" y="51"/>
                  <a:pt x="72" y="50"/>
                  <a:pt x="75" y="51"/>
                </a:cubicBezTo>
                <a:cubicBezTo>
                  <a:pt x="77" y="50"/>
                  <a:pt x="79" y="49"/>
                  <a:pt x="79" y="47"/>
                </a:cubicBezTo>
                <a:cubicBezTo>
                  <a:pt x="80" y="44"/>
                  <a:pt x="81" y="42"/>
                  <a:pt x="81" y="42"/>
                </a:cubicBezTo>
                <a:cubicBezTo>
                  <a:pt x="85" y="40"/>
                  <a:pt x="88" y="39"/>
                  <a:pt x="89" y="37"/>
                </a:cubicBezTo>
                <a:cubicBezTo>
                  <a:pt x="95" y="30"/>
                  <a:pt x="99" y="25"/>
                  <a:pt x="102" y="21"/>
                </a:cubicBezTo>
                <a:cubicBezTo>
                  <a:pt x="107" y="13"/>
                  <a:pt x="112" y="9"/>
                  <a:pt x="117" y="9"/>
                </a:cubicBezTo>
                <a:lnTo>
                  <a:pt x="124" y="9"/>
                </a:lnTo>
                <a:lnTo>
                  <a:pt x="125" y="10"/>
                </a:lnTo>
                <a:cubicBezTo>
                  <a:pt x="124" y="11"/>
                  <a:pt x="123" y="12"/>
                  <a:pt x="123" y="13"/>
                </a:cubicBezTo>
                <a:cubicBezTo>
                  <a:pt x="124" y="13"/>
                  <a:pt x="125" y="13"/>
                  <a:pt x="126" y="13"/>
                </a:cubicBezTo>
                <a:lnTo>
                  <a:pt x="126" y="1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6" name="Freeform 362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7" name="Freeform 363"/>
          <p:cNvSpPr/>
          <p:nvPr/>
        </p:nvSpPr>
        <p:spPr bwMode="auto">
          <a:xfrm>
            <a:off x="7078530" y="3071095"/>
            <a:ext cx="59393" cy="54153"/>
          </a:xfrm>
          <a:custGeom>
            <a:avLst/>
            <a:gdLst>
              <a:gd name="T0" fmla="*/ 54 w 56"/>
              <a:gd name="T1" fmla="*/ 30 h 52"/>
              <a:gd name="T2" fmla="*/ 54 w 56"/>
              <a:gd name="T3" fmla="*/ 30 h 52"/>
              <a:gd name="T4" fmla="*/ 56 w 56"/>
              <a:gd name="T5" fmla="*/ 33 h 52"/>
              <a:gd name="T6" fmla="*/ 53 w 56"/>
              <a:gd name="T7" fmla="*/ 37 h 52"/>
              <a:gd name="T8" fmla="*/ 48 w 56"/>
              <a:gd name="T9" fmla="*/ 37 h 52"/>
              <a:gd name="T10" fmla="*/ 37 w 56"/>
              <a:gd name="T11" fmla="*/ 40 h 52"/>
              <a:gd name="T12" fmla="*/ 32 w 56"/>
              <a:gd name="T13" fmla="*/ 44 h 52"/>
              <a:gd name="T14" fmla="*/ 32 w 56"/>
              <a:gd name="T15" fmla="*/ 44 h 52"/>
              <a:gd name="T16" fmla="*/ 30 w 56"/>
              <a:gd name="T17" fmla="*/ 46 h 52"/>
              <a:gd name="T18" fmla="*/ 28 w 56"/>
              <a:gd name="T19" fmla="*/ 47 h 52"/>
              <a:gd name="T20" fmla="*/ 27 w 56"/>
              <a:gd name="T21" fmla="*/ 49 h 52"/>
              <a:gd name="T22" fmla="*/ 22 w 56"/>
              <a:gd name="T23" fmla="*/ 52 h 52"/>
              <a:gd name="T24" fmla="*/ 14 w 56"/>
              <a:gd name="T25" fmla="*/ 45 h 52"/>
              <a:gd name="T26" fmla="*/ 9 w 56"/>
              <a:gd name="T27" fmla="*/ 36 h 52"/>
              <a:gd name="T28" fmla="*/ 4 w 56"/>
              <a:gd name="T29" fmla="*/ 26 h 52"/>
              <a:gd name="T30" fmla="*/ 0 w 56"/>
              <a:gd name="T31" fmla="*/ 19 h 52"/>
              <a:gd name="T32" fmla="*/ 4 w 56"/>
              <a:gd name="T33" fmla="*/ 19 h 52"/>
              <a:gd name="T34" fmla="*/ 10 w 56"/>
              <a:gd name="T35" fmla="*/ 9 h 52"/>
              <a:gd name="T36" fmla="*/ 23 w 56"/>
              <a:gd name="T37" fmla="*/ 1 h 52"/>
              <a:gd name="T38" fmla="*/ 27 w 56"/>
              <a:gd name="T39" fmla="*/ 1 h 52"/>
              <a:gd name="T40" fmla="*/ 27 w 56"/>
              <a:gd name="T41" fmla="*/ 2 h 52"/>
              <a:gd name="T42" fmla="*/ 32 w 56"/>
              <a:gd name="T43" fmla="*/ 8 h 52"/>
              <a:gd name="T44" fmla="*/ 36 w 56"/>
              <a:gd name="T45" fmla="*/ 18 h 52"/>
              <a:gd name="T46" fmla="*/ 41 w 56"/>
              <a:gd name="T47" fmla="*/ 27 h 52"/>
              <a:gd name="T48" fmla="*/ 50 w 56"/>
              <a:gd name="T49" fmla="*/ 30 h 52"/>
              <a:gd name="T50" fmla="*/ 54 w 56"/>
              <a:gd name="T51" fmla="*/ 30 h 52"/>
              <a:gd name="T52" fmla="*/ 54 w 56"/>
              <a:gd name="T53" fmla="*/ 3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6" h="52">
                <a:moveTo>
                  <a:pt x="54" y="30"/>
                </a:moveTo>
                <a:lnTo>
                  <a:pt x="54" y="30"/>
                </a:lnTo>
                <a:cubicBezTo>
                  <a:pt x="56" y="30"/>
                  <a:pt x="56" y="31"/>
                  <a:pt x="56" y="33"/>
                </a:cubicBezTo>
                <a:cubicBezTo>
                  <a:pt x="56" y="35"/>
                  <a:pt x="55" y="36"/>
                  <a:pt x="53" y="37"/>
                </a:cubicBezTo>
                <a:cubicBezTo>
                  <a:pt x="53" y="37"/>
                  <a:pt x="51" y="37"/>
                  <a:pt x="48" y="37"/>
                </a:cubicBezTo>
                <a:cubicBezTo>
                  <a:pt x="44" y="38"/>
                  <a:pt x="41" y="39"/>
                  <a:pt x="37" y="40"/>
                </a:cubicBezTo>
                <a:cubicBezTo>
                  <a:pt x="37" y="40"/>
                  <a:pt x="35" y="41"/>
                  <a:pt x="32" y="44"/>
                </a:cubicBezTo>
                <a:lnTo>
                  <a:pt x="32" y="44"/>
                </a:lnTo>
                <a:cubicBezTo>
                  <a:pt x="31" y="44"/>
                  <a:pt x="31" y="45"/>
                  <a:pt x="30" y="46"/>
                </a:cubicBezTo>
                <a:cubicBezTo>
                  <a:pt x="30" y="46"/>
                  <a:pt x="29" y="46"/>
                  <a:pt x="28" y="47"/>
                </a:cubicBezTo>
                <a:cubicBezTo>
                  <a:pt x="28" y="48"/>
                  <a:pt x="28" y="49"/>
                  <a:pt x="27" y="49"/>
                </a:cubicBezTo>
                <a:cubicBezTo>
                  <a:pt x="25" y="51"/>
                  <a:pt x="23" y="52"/>
                  <a:pt x="22" y="52"/>
                </a:cubicBezTo>
                <a:cubicBezTo>
                  <a:pt x="21" y="51"/>
                  <a:pt x="18" y="49"/>
                  <a:pt x="14" y="45"/>
                </a:cubicBezTo>
                <a:cubicBezTo>
                  <a:pt x="11" y="44"/>
                  <a:pt x="10" y="41"/>
                  <a:pt x="9" y="36"/>
                </a:cubicBezTo>
                <a:cubicBezTo>
                  <a:pt x="9" y="32"/>
                  <a:pt x="7" y="29"/>
                  <a:pt x="4" y="26"/>
                </a:cubicBezTo>
                <a:cubicBezTo>
                  <a:pt x="1" y="24"/>
                  <a:pt x="0" y="22"/>
                  <a:pt x="0" y="19"/>
                </a:cubicBezTo>
                <a:cubicBezTo>
                  <a:pt x="2" y="19"/>
                  <a:pt x="3" y="19"/>
                  <a:pt x="4" y="19"/>
                </a:cubicBezTo>
                <a:cubicBezTo>
                  <a:pt x="6" y="18"/>
                  <a:pt x="8" y="15"/>
                  <a:pt x="10" y="9"/>
                </a:cubicBezTo>
                <a:cubicBezTo>
                  <a:pt x="11" y="3"/>
                  <a:pt x="16" y="0"/>
                  <a:pt x="23" y="1"/>
                </a:cubicBezTo>
                <a:lnTo>
                  <a:pt x="27" y="1"/>
                </a:lnTo>
                <a:cubicBezTo>
                  <a:pt x="26" y="1"/>
                  <a:pt x="27" y="2"/>
                  <a:pt x="27" y="2"/>
                </a:cubicBezTo>
                <a:cubicBezTo>
                  <a:pt x="28" y="4"/>
                  <a:pt x="30" y="6"/>
                  <a:pt x="32" y="8"/>
                </a:cubicBezTo>
                <a:cubicBezTo>
                  <a:pt x="33" y="10"/>
                  <a:pt x="34" y="14"/>
                  <a:pt x="36" y="18"/>
                </a:cubicBezTo>
                <a:cubicBezTo>
                  <a:pt x="39" y="23"/>
                  <a:pt x="41" y="26"/>
                  <a:pt x="41" y="27"/>
                </a:cubicBezTo>
                <a:cubicBezTo>
                  <a:pt x="43" y="28"/>
                  <a:pt x="46" y="30"/>
                  <a:pt x="50" y="30"/>
                </a:cubicBezTo>
                <a:cubicBezTo>
                  <a:pt x="52" y="30"/>
                  <a:pt x="53" y="30"/>
                  <a:pt x="54" y="30"/>
                </a:cubicBezTo>
                <a:lnTo>
                  <a:pt x="54" y="3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8" name="Freeform 364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9" name="Freeform 365"/>
          <p:cNvSpPr/>
          <p:nvPr/>
        </p:nvSpPr>
        <p:spPr bwMode="auto">
          <a:xfrm>
            <a:off x="7106480" y="2896408"/>
            <a:ext cx="54153" cy="52406"/>
          </a:xfrm>
          <a:custGeom>
            <a:avLst/>
            <a:gdLst>
              <a:gd name="T0" fmla="*/ 21 w 52"/>
              <a:gd name="T1" fmla="*/ 22 h 50"/>
              <a:gd name="T2" fmla="*/ 21 w 52"/>
              <a:gd name="T3" fmla="*/ 22 h 50"/>
              <a:gd name="T4" fmla="*/ 35 w 52"/>
              <a:gd name="T5" fmla="*/ 12 h 50"/>
              <a:gd name="T6" fmla="*/ 46 w 52"/>
              <a:gd name="T7" fmla="*/ 0 h 50"/>
              <a:gd name="T8" fmla="*/ 50 w 52"/>
              <a:gd name="T9" fmla="*/ 3 h 50"/>
              <a:gd name="T10" fmla="*/ 52 w 52"/>
              <a:gd name="T11" fmla="*/ 9 h 50"/>
              <a:gd name="T12" fmla="*/ 51 w 52"/>
              <a:gd name="T13" fmla="*/ 19 h 50"/>
              <a:gd name="T14" fmla="*/ 44 w 52"/>
              <a:gd name="T15" fmla="*/ 31 h 50"/>
              <a:gd name="T16" fmla="*/ 32 w 52"/>
              <a:gd name="T17" fmla="*/ 40 h 50"/>
              <a:gd name="T18" fmla="*/ 20 w 52"/>
              <a:gd name="T19" fmla="*/ 46 h 50"/>
              <a:gd name="T20" fmla="*/ 3 w 52"/>
              <a:gd name="T21" fmla="*/ 49 h 50"/>
              <a:gd name="T22" fmla="*/ 0 w 52"/>
              <a:gd name="T23" fmla="*/ 47 h 50"/>
              <a:gd name="T24" fmla="*/ 4 w 52"/>
              <a:gd name="T25" fmla="*/ 40 h 50"/>
              <a:gd name="T26" fmla="*/ 10 w 52"/>
              <a:gd name="T27" fmla="*/ 33 h 50"/>
              <a:gd name="T28" fmla="*/ 15 w 52"/>
              <a:gd name="T29" fmla="*/ 27 h 50"/>
              <a:gd name="T30" fmla="*/ 21 w 52"/>
              <a:gd name="T31" fmla="*/ 22 h 50"/>
              <a:gd name="T32" fmla="*/ 21 w 52"/>
              <a:gd name="T33" fmla="*/ 2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2" h="50">
                <a:moveTo>
                  <a:pt x="21" y="22"/>
                </a:moveTo>
                <a:lnTo>
                  <a:pt x="21" y="22"/>
                </a:lnTo>
                <a:cubicBezTo>
                  <a:pt x="27" y="18"/>
                  <a:pt x="32" y="15"/>
                  <a:pt x="35" y="12"/>
                </a:cubicBezTo>
                <a:lnTo>
                  <a:pt x="46" y="0"/>
                </a:lnTo>
                <a:cubicBezTo>
                  <a:pt x="48" y="1"/>
                  <a:pt x="49" y="2"/>
                  <a:pt x="50" y="3"/>
                </a:cubicBezTo>
                <a:cubicBezTo>
                  <a:pt x="51" y="5"/>
                  <a:pt x="52" y="7"/>
                  <a:pt x="52" y="9"/>
                </a:cubicBezTo>
                <a:cubicBezTo>
                  <a:pt x="52" y="12"/>
                  <a:pt x="51" y="15"/>
                  <a:pt x="51" y="19"/>
                </a:cubicBezTo>
                <a:cubicBezTo>
                  <a:pt x="51" y="24"/>
                  <a:pt x="48" y="28"/>
                  <a:pt x="44" y="31"/>
                </a:cubicBezTo>
                <a:cubicBezTo>
                  <a:pt x="42" y="33"/>
                  <a:pt x="37" y="36"/>
                  <a:pt x="32" y="40"/>
                </a:cubicBezTo>
                <a:cubicBezTo>
                  <a:pt x="30" y="41"/>
                  <a:pt x="26" y="43"/>
                  <a:pt x="20" y="46"/>
                </a:cubicBezTo>
                <a:cubicBezTo>
                  <a:pt x="13" y="48"/>
                  <a:pt x="7" y="50"/>
                  <a:pt x="3" y="49"/>
                </a:cubicBezTo>
                <a:cubicBezTo>
                  <a:pt x="1" y="49"/>
                  <a:pt x="0" y="48"/>
                  <a:pt x="0" y="47"/>
                </a:cubicBezTo>
                <a:cubicBezTo>
                  <a:pt x="1" y="45"/>
                  <a:pt x="2" y="43"/>
                  <a:pt x="4" y="40"/>
                </a:cubicBezTo>
                <a:cubicBezTo>
                  <a:pt x="8" y="36"/>
                  <a:pt x="9" y="34"/>
                  <a:pt x="10" y="33"/>
                </a:cubicBezTo>
                <a:cubicBezTo>
                  <a:pt x="11" y="31"/>
                  <a:pt x="12" y="29"/>
                  <a:pt x="15" y="27"/>
                </a:cubicBezTo>
                <a:cubicBezTo>
                  <a:pt x="17" y="25"/>
                  <a:pt x="19" y="23"/>
                  <a:pt x="21" y="22"/>
                </a:cubicBezTo>
                <a:lnTo>
                  <a:pt x="21" y="2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0" name="Freeform 366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1" name="Freeform 367"/>
          <p:cNvSpPr/>
          <p:nvPr/>
        </p:nvSpPr>
        <p:spPr bwMode="auto">
          <a:xfrm>
            <a:off x="7123949" y="2636126"/>
            <a:ext cx="26204" cy="54153"/>
          </a:xfrm>
          <a:custGeom>
            <a:avLst/>
            <a:gdLst>
              <a:gd name="T0" fmla="*/ 23 w 24"/>
              <a:gd name="T1" fmla="*/ 23 h 51"/>
              <a:gd name="T2" fmla="*/ 23 w 24"/>
              <a:gd name="T3" fmla="*/ 23 h 51"/>
              <a:gd name="T4" fmla="*/ 24 w 24"/>
              <a:gd name="T5" fmla="*/ 44 h 51"/>
              <a:gd name="T6" fmla="*/ 23 w 24"/>
              <a:gd name="T7" fmla="*/ 50 h 51"/>
              <a:gd name="T8" fmla="*/ 18 w 24"/>
              <a:gd name="T9" fmla="*/ 51 h 51"/>
              <a:gd name="T10" fmla="*/ 2 w 24"/>
              <a:gd name="T11" fmla="*/ 43 h 51"/>
              <a:gd name="T12" fmla="*/ 1 w 24"/>
              <a:gd name="T13" fmla="*/ 26 h 51"/>
              <a:gd name="T14" fmla="*/ 4 w 24"/>
              <a:gd name="T15" fmla="*/ 12 h 51"/>
              <a:gd name="T16" fmla="*/ 5 w 24"/>
              <a:gd name="T17" fmla="*/ 9 h 51"/>
              <a:gd name="T18" fmla="*/ 18 w 24"/>
              <a:gd name="T19" fmla="*/ 1 h 51"/>
              <a:gd name="T20" fmla="*/ 23 w 24"/>
              <a:gd name="T21" fmla="*/ 3 h 51"/>
              <a:gd name="T22" fmla="*/ 23 w 24"/>
              <a:gd name="T23" fmla="*/ 23 h 51"/>
              <a:gd name="T24" fmla="*/ 23 w 24"/>
              <a:gd name="T25" fmla="*/ 2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" h="51">
                <a:moveTo>
                  <a:pt x="23" y="23"/>
                </a:moveTo>
                <a:lnTo>
                  <a:pt x="23" y="23"/>
                </a:lnTo>
                <a:cubicBezTo>
                  <a:pt x="23" y="26"/>
                  <a:pt x="23" y="33"/>
                  <a:pt x="24" y="44"/>
                </a:cubicBezTo>
                <a:cubicBezTo>
                  <a:pt x="24" y="47"/>
                  <a:pt x="24" y="49"/>
                  <a:pt x="23" y="50"/>
                </a:cubicBezTo>
                <a:cubicBezTo>
                  <a:pt x="22" y="51"/>
                  <a:pt x="20" y="51"/>
                  <a:pt x="18" y="51"/>
                </a:cubicBezTo>
                <a:cubicBezTo>
                  <a:pt x="13" y="50"/>
                  <a:pt x="8" y="47"/>
                  <a:pt x="2" y="43"/>
                </a:cubicBezTo>
                <a:cubicBezTo>
                  <a:pt x="1" y="41"/>
                  <a:pt x="0" y="35"/>
                  <a:pt x="1" y="26"/>
                </a:cubicBezTo>
                <a:cubicBezTo>
                  <a:pt x="2" y="20"/>
                  <a:pt x="3" y="15"/>
                  <a:pt x="4" y="12"/>
                </a:cubicBezTo>
                <a:cubicBezTo>
                  <a:pt x="4" y="11"/>
                  <a:pt x="4" y="10"/>
                  <a:pt x="5" y="9"/>
                </a:cubicBezTo>
                <a:cubicBezTo>
                  <a:pt x="7" y="3"/>
                  <a:pt x="11" y="0"/>
                  <a:pt x="18" y="1"/>
                </a:cubicBezTo>
                <a:cubicBezTo>
                  <a:pt x="19" y="1"/>
                  <a:pt x="21" y="2"/>
                  <a:pt x="23" y="3"/>
                </a:cubicBezTo>
                <a:cubicBezTo>
                  <a:pt x="24" y="4"/>
                  <a:pt x="24" y="11"/>
                  <a:pt x="23" y="23"/>
                </a:cubicBezTo>
                <a:lnTo>
                  <a:pt x="23" y="2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2" name="Freeform 368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3" name="Freeform 369"/>
          <p:cNvSpPr/>
          <p:nvPr/>
        </p:nvSpPr>
        <p:spPr bwMode="auto">
          <a:xfrm>
            <a:off x="7017389" y="2678051"/>
            <a:ext cx="12229" cy="10481"/>
          </a:xfrm>
          <a:custGeom>
            <a:avLst/>
            <a:gdLst>
              <a:gd name="T0" fmla="*/ 11 w 11"/>
              <a:gd name="T1" fmla="*/ 6 h 11"/>
              <a:gd name="T2" fmla="*/ 11 w 11"/>
              <a:gd name="T3" fmla="*/ 6 h 11"/>
              <a:gd name="T4" fmla="*/ 10 w 11"/>
              <a:gd name="T5" fmla="*/ 9 h 11"/>
              <a:gd name="T6" fmla="*/ 8 w 11"/>
              <a:gd name="T7" fmla="*/ 11 h 11"/>
              <a:gd name="T8" fmla="*/ 1 w 11"/>
              <a:gd name="T9" fmla="*/ 2 h 11"/>
              <a:gd name="T10" fmla="*/ 4 w 11"/>
              <a:gd name="T11" fmla="*/ 0 h 11"/>
              <a:gd name="T12" fmla="*/ 9 w 11"/>
              <a:gd name="T13" fmla="*/ 1 h 11"/>
              <a:gd name="T14" fmla="*/ 10 w 11"/>
              <a:gd name="T15" fmla="*/ 2 h 11"/>
              <a:gd name="T16" fmla="*/ 11 w 11"/>
              <a:gd name="T17" fmla="*/ 6 h 11"/>
              <a:gd name="T18" fmla="*/ 11 w 11"/>
              <a:gd name="T1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11">
                <a:moveTo>
                  <a:pt x="11" y="6"/>
                </a:moveTo>
                <a:lnTo>
                  <a:pt x="11" y="6"/>
                </a:lnTo>
                <a:cubicBezTo>
                  <a:pt x="11" y="6"/>
                  <a:pt x="11" y="7"/>
                  <a:pt x="10" y="9"/>
                </a:cubicBezTo>
                <a:cubicBezTo>
                  <a:pt x="10" y="10"/>
                  <a:pt x="9" y="11"/>
                  <a:pt x="8" y="11"/>
                </a:cubicBezTo>
                <a:cubicBezTo>
                  <a:pt x="3" y="5"/>
                  <a:pt x="0" y="2"/>
                  <a:pt x="1" y="2"/>
                </a:cubicBezTo>
                <a:cubicBezTo>
                  <a:pt x="1" y="2"/>
                  <a:pt x="2" y="1"/>
                  <a:pt x="4" y="0"/>
                </a:cubicBezTo>
                <a:lnTo>
                  <a:pt x="9" y="1"/>
                </a:lnTo>
                <a:cubicBezTo>
                  <a:pt x="10" y="1"/>
                  <a:pt x="10" y="1"/>
                  <a:pt x="10" y="2"/>
                </a:cubicBezTo>
                <a:cubicBezTo>
                  <a:pt x="11" y="3"/>
                  <a:pt x="11" y="4"/>
                  <a:pt x="11" y="6"/>
                </a:cubicBezTo>
                <a:lnTo>
                  <a:pt x="11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4" name="Freeform 370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5" name="Freeform 371"/>
          <p:cNvSpPr/>
          <p:nvPr/>
        </p:nvSpPr>
        <p:spPr bwMode="auto">
          <a:xfrm>
            <a:off x="7022631" y="2569745"/>
            <a:ext cx="47166" cy="55900"/>
          </a:xfrm>
          <a:custGeom>
            <a:avLst/>
            <a:gdLst>
              <a:gd name="T0" fmla="*/ 21 w 45"/>
              <a:gd name="T1" fmla="*/ 21 h 54"/>
              <a:gd name="T2" fmla="*/ 21 w 45"/>
              <a:gd name="T3" fmla="*/ 21 h 54"/>
              <a:gd name="T4" fmla="*/ 16 w 45"/>
              <a:gd name="T5" fmla="*/ 18 h 54"/>
              <a:gd name="T6" fmla="*/ 11 w 45"/>
              <a:gd name="T7" fmla="*/ 25 h 54"/>
              <a:gd name="T8" fmla="*/ 2 w 45"/>
              <a:gd name="T9" fmla="*/ 32 h 54"/>
              <a:gd name="T10" fmla="*/ 0 w 45"/>
              <a:gd name="T11" fmla="*/ 29 h 54"/>
              <a:gd name="T12" fmla="*/ 5 w 45"/>
              <a:gd name="T13" fmla="*/ 19 h 54"/>
              <a:gd name="T14" fmla="*/ 9 w 45"/>
              <a:gd name="T15" fmla="*/ 12 h 54"/>
              <a:gd name="T16" fmla="*/ 16 w 45"/>
              <a:gd name="T17" fmla="*/ 5 h 54"/>
              <a:gd name="T18" fmla="*/ 18 w 45"/>
              <a:gd name="T19" fmla="*/ 7 h 54"/>
              <a:gd name="T20" fmla="*/ 19 w 45"/>
              <a:gd name="T21" fmla="*/ 11 h 54"/>
              <a:gd name="T22" fmla="*/ 19 w 45"/>
              <a:gd name="T23" fmla="*/ 13 h 54"/>
              <a:gd name="T24" fmla="*/ 20 w 45"/>
              <a:gd name="T25" fmla="*/ 15 h 54"/>
              <a:gd name="T26" fmla="*/ 30 w 45"/>
              <a:gd name="T27" fmla="*/ 7 h 54"/>
              <a:gd name="T28" fmla="*/ 40 w 45"/>
              <a:gd name="T29" fmla="*/ 1 h 54"/>
              <a:gd name="T30" fmla="*/ 43 w 45"/>
              <a:gd name="T31" fmla="*/ 3 h 54"/>
              <a:gd name="T32" fmla="*/ 45 w 45"/>
              <a:gd name="T33" fmla="*/ 5 h 54"/>
              <a:gd name="T34" fmla="*/ 44 w 45"/>
              <a:gd name="T35" fmla="*/ 6 h 54"/>
              <a:gd name="T36" fmla="*/ 42 w 45"/>
              <a:gd name="T37" fmla="*/ 9 h 54"/>
              <a:gd name="T38" fmla="*/ 39 w 45"/>
              <a:gd name="T39" fmla="*/ 20 h 54"/>
              <a:gd name="T40" fmla="*/ 39 w 45"/>
              <a:gd name="T41" fmla="*/ 30 h 54"/>
              <a:gd name="T42" fmla="*/ 40 w 45"/>
              <a:gd name="T43" fmla="*/ 37 h 54"/>
              <a:gd name="T44" fmla="*/ 31 w 45"/>
              <a:gd name="T45" fmla="*/ 48 h 54"/>
              <a:gd name="T46" fmla="*/ 23 w 45"/>
              <a:gd name="T47" fmla="*/ 51 h 54"/>
              <a:gd name="T48" fmla="*/ 14 w 45"/>
              <a:gd name="T49" fmla="*/ 54 h 54"/>
              <a:gd name="T50" fmla="*/ 10 w 45"/>
              <a:gd name="T51" fmla="*/ 50 h 54"/>
              <a:gd name="T52" fmla="*/ 16 w 45"/>
              <a:gd name="T53" fmla="*/ 46 h 54"/>
              <a:gd name="T54" fmla="*/ 21 w 45"/>
              <a:gd name="T55" fmla="*/ 45 h 54"/>
              <a:gd name="T56" fmla="*/ 20 w 45"/>
              <a:gd name="T57" fmla="*/ 42 h 54"/>
              <a:gd name="T58" fmla="*/ 22 w 45"/>
              <a:gd name="T59" fmla="*/ 38 h 54"/>
              <a:gd name="T60" fmla="*/ 19 w 45"/>
              <a:gd name="T61" fmla="*/ 29 h 54"/>
              <a:gd name="T62" fmla="*/ 22 w 45"/>
              <a:gd name="T63" fmla="*/ 26 h 54"/>
              <a:gd name="T64" fmla="*/ 26 w 45"/>
              <a:gd name="T65" fmla="*/ 23 h 54"/>
              <a:gd name="T66" fmla="*/ 26 w 45"/>
              <a:gd name="T67" fmla="*/ 23 h 54"/>
              <a:gd name="T68" fmla="*/ 21 w 45"/>
              <a:gd name="T69" fmla="*/ 21 h 54"/>
              <a:gd name="T70" fmla="*/ 21 w 45"/>
              <a:gd name="T71" fmla="*/ 2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" h="54">
                <a:moveTo>
                  <a:pt x="21" y="21"/>
                </a:moveTo>
                <a:lnTo>
                  <a:pt x="21" y="21"/>
                </a:lnTo>
                <a:cubicBezTo>
                  <a:pt x="19" y="19"/>
                  <a:pt x="18" y="18"/>
                  <a:pt x="16" y="18"/>
                </a:cubicBezTo>
                <a:lnTo>
                  <a:pt x="11" y="25"/>
                </a:lnTo>
                <a:cubicBezTo>
                  <a:pt x="7" y="30"/>
                  <a:pt x="4" y="33"/>
                  <a:pt x="2" y="32"/>
                </a:cubicBezTo>
                <a:cubicBezTo>
                  <a:pt x="1" y="32"/>
                  <a:pt x="0" y="31"/>
                  <a:pt x="0" y="29"/>
                </a:cubicBezTo>
                <a:cubicBezTo>
                  <a:pt x="1" y="25"/>
                  <a:pt x="2" y="22"/>
                  <a:pt x="5" y="19"/>
                </a:cubicBezTo>
                <a:cubicBezTo>
                  <a:pt x="7" y="17"/>
                  <a:pt x="9" y="14"/>
                  <a:pt x="9" y="12"/>
                </a:cubicBezTo>
                <a:cubicBezTo>
                  <a:pt x="9" y="7"/>
                  <a:pt x="12" y="4"/>
                  <a:pt x="16" y="5"/>
                </a:cubicBezTo>
                <a:cubicBezTo>
                  <a:pt x="16" y="5"/>
                  <a:pt x="17" y="5"/>
                  <a:pt x="18" y="7"/>
                </a:cubicBezTo>
                <a:cubicBezTo>
                  <a:pt x="19" y="8"/>
                  <a:pt x="20" y="9"/>
                  <a:pt x="19" y="11"/>
                </a:cubicBezTo>
                <a:cubicBezTo>
                  <a:pt x="19" y="11"/>
                  <a:pt x="19" y="12"/>
                  <a:pt x="19" y="13"/>
                </a:cubicBezTo>
                <a:cubicBezTo>
                  <a:pt x="19" y="13"/>
                  <a:pt x="19" y="14"/>
                  <a:pt x="20" y="15"/>
                </a:cubicBezTo>
                <a:cubicBezTo>
                  <a:pt x="24" y="11"/>
                  <a:pt x="27" y="9"/>
                  <a:pt x="30" y="7"/>
                </a:cubicBezTo>
                <a:cubicBezTo>
                  <a:pt x="34" y="2"/>
                  <a:pt x="38" y="0"/>
                  <a:pt x="40" y="1"/>
                </a:cubicBezTo>
                <a:cubicBezTo>
                  <a:pt x="42" y="1"/>
                  <a:pt x="43" y="2"/>
                  <a:pt x="43" y="3"/>
                </a:cubicBezTo>
                <a:cubicBezTo>
                  <a:pt x="44" y="3"/>
                  <a:pt x="45" y="3"/>
                  <a:pt x="45" y="5"/>
                </a:cubicBezTo>
                <a:cubicBezTo>
                  <a:pt x="44" y="5"/>
                  <a:pt x="44" y="6"/>
                  <a:pt x="44" y="6"/>
                </a:cubicBezTo>
                <a:cubicBezTo>
                  <a:pt x="43" y="7"/>
                  <a:pt x="43" y="8"/>
                  <a:pt x="42" y="9"/>
                </a:cubicBezTo>
                <a:cubicBezTo>
                  <a:pt x="40" y="12"/>
                  <a:pt x="39" y="15"/>
                  <a:pt x="39" y="20"/>
                </a:cubicBezTo>
                <a:cubicBezTo>
                  <a:pt x="38" y="25"/>
                  <a:pt x="38" y="28"/>
                  <a:pt x="39" y="30"/>
                </a:cubicBezTo>
                <a:cubicBezTo>
                  <a:pt x="41" y="32"/>
                  <a:pt x="41" y="34"/>
                  <a:pt x="40" y="37"/>
                </a:cubicBezTo>
                <a:cubicBezTo>
                  <a:pt x="40" y="43"/>
                  <a:pt x="37" y="47"/>
                  <a:pt x="31" y="48"/>
                </a:cubicBezTo>
                <a:cubicBezTo>
                  <a:pt x="30" y="49"/>
                  <a:pt x="28" y="49"/>
                  <a:pt x="23" y="51"/>
                </a:cubicBezTo>
                <a:cubicBezTo>
                  <a:pt x="18" y="53"/>
                  <a:pt x="15" y="54"/>
                  <a:pt x="14" y="54"/>
                </a:cubicBezTo>
                <a:cubicBezTo>
                  <a:pt x="11" y="53"/>
                  <a:pt x="10" y="52"/>
                  <a:pt x="10" y="50"/>
                </a:cubicBezTo>
                <a:cubicBezTo>
                  <a:pt x="11" y="48"/>
                  <a:pt x="13" y="46"/>
                  <a:pt x="16" y="46"/>
                </a:cubicBezTo>
                <a:cubicBezTo>
                  <a:pt x="19" y="46"/>
                  <a:pt x="21" y="45"/>
                  <a:pt x="21" y="45"/>
                </a:cubicBezTo>
                <a:cubicBezTo>
                  <a:pt x="20" y="44"/>
                  <a:pt x="20" y="43"/>
                  <a:pt x="20" y="42"/>
                </a:cubicBezTo>
                <a:cubicBezTo>
                  <a:pt x="21" y="40"/>
                  <a:pt x="22" y="38"/>
                  <a:pt x="22" y="38"/>
                </a:cubicBezTo>
                <a:cubicBezTo>
                  <a:pt x="20" y="34"/>
                  <a:pt x="19" y="31"/>
                  <a:pt x="19" y="29"/>
                </a:cubicBezTo>
                <a:cubicBezTo>
                  <a:pt x="19" y="28"/>
                  <a:pt x="20" y="27"/>
                  <a:pt x="22" y="26"/>
                </a:cubicBezTo>
                <a:cubicBezTo>
                  <a:pt x="24" y="25"/>
                  <a:pt x="26" y="24"/>
                  <a:pt x="26" y="23"/>
                </a:cubicBezTo>
                <a:cubicBezTo>
                  <a:pt x="26" y="23"/>
                  <a:pt x="26" y="23"/>
                  <a:pt x="26" y="23"/>
                </a:cubicBezTo>
                <a:cubicBezTo>
                  <a:pt x="23" y="23"/>
                  <a:pt x="22" y="22"/>
                  <a:pt x="21" y="21"/>
                </a:cubicBezTo>
                <a:lnTo>
                  <a:pt x="21" y="2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" name="Freeform 372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" name="Freeform 373"/>
          <p:cNvSpPr/>
          <p:nvPr/>
        </p:nvSpPr>
        <p:spPr bwMode="auto">
          <a:xfrm>
            <a:off x="7130936" y="2531314"/>
            <a:ext cx="8735" cy="12229"/>
          </a:xfrm>
          <a:custGeom>
            <a:avLst/>
            <a:gdLst>
              <a:gd name="T0" fmla="*/ 8 w 9"/>
              <a:gd name="T1" fmla="*/ 6 h 12"/>
              <a:gd name="T2" fmla="*/ 8 w 9"/>
              <a:gd name="T3" fmla="*/ 6 h 12"/>
              <a:gd name="T4" fmla="*/ 8 w 9"/>
              <a:gd name="T5" fmla="*/ 8 h 12"/>
              <a:gd name="T6" fmla="*/ 5 w 9"/>
              <a:gd name="T7" fmla="*/ 10 h 12"/>
              <a:gd name="T8" fmla="*/ 1 w 9"/>
              <a:gd name="T9" fmla="*/ 12 h 12"/>
              <a:gd name="T10" fmla="*/ 0 w 9"/>
              <a:gd name="T11" fmla="*/ 11 h 12"/>
              <a:gd name="T12" fmla="*/ 0 w 9"/>
              <a:gd name="T13" fmla="*/ 11 h 12"/>
              <a:gd name="T14" fmla="*/ 0 w 9"/>
              <a:gd name="T15" fmla="*/ 9 h 12"/>
              <a:gd name="T16" fmla="*/ 6 w 9"/>
              <a:gd name="T17" fmla="*/ 0 h 12"/>
              <a:gd name="T18" fmla="*/ 7 w 9"/>
              <a:gd name="T19" fmla="*/ 0 h 12"/>
              <a:gd name="T20" fmla="*/ 7 w 9"/>
              <a:gd name="T21" fmla="*/ 1 h 12"/>
              <a:gd name="T22" fmla="*/ 8 w 9"/>
              <a:gd name="T23" fmla="*/ 6 h 12"/>
              <a:gd name="T24" fmla="*/ 8 w 9"/>
              <a:gd name="T2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12">
                <a:moveTo>
                  <a:pt x="8" y="6"/>
                </a:moveTo>
                <a:lnTo>
                  <a:pt x="8" y="6"/>
                </a:lnTo>
                <a:cubicBezTo>
                  <a:pt x="8" y="7"/>
                  <a:pt x="8" y="7"/>
                  <a:pt x="8" y="8"/>
                </a:cubicBezTo>
                <a:cubicBezTo>
                  <a:pt x="7" y="8"/>
                  <a:pt x="6" y="9"/>
                  <a:pt x="5" y="10"/>
                </a:cubicBezTo>
                <a:cubicBezTo>
                  <a:pt x="3" y="11"/>
                  <a:pt x="2" y="12"/>
                  <a:pt x="1" y="12"/>
                </a:cubicBezTo>
                <a:cubicBezTo>
                  <a:pt x="0" y="12"/>
                  <a:pt x="0" y="12"/>
                  <a:pt x="0" y="11"/>
                </a:cubicBezTo>
                <a:cubicBezTo>
                  <a:pt x="0" y="11"/>
                  <a:pt x="0" y="11"/>
                  <a:pt x="0" y="11"/>
                </a:cubicBezTo>
                <a:lnTo>
                  <a:pt x="0" y="9"/>
                </a:lnTo>
                <a:cubicBezTo>
                  <a:pt x="0" y="3"/>
                  <a:pt x="2" y="0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7" y="1"/>
                  <a:pt x="7" y="1"/>
                  <a:pt x="7" y="1"/>
                </a:cubicBezTo>
                <a:cubicBezTo>
                  <a:pt x="8" y="3"/>
                  <a:pt x="9" y="5"/>
                  <a:pt x="8" y="6"/>
                </a:cubicBezTo>
                <a:lnTo>
                  <a:pt x="8" y="6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" name="Freeform 374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" name="Freeform 375"/>
          <p:cNvSpPr/>
          <p:nvPr/>
        </p:nvSpPr>
        <p:spPr bwMode="auto">
          <a:xfrm>
            <a:off x="7068049" y="2536554"/>
            <a:ext cx="10481" cy="13975"/>
          </a:xfrm>
          <a:custGeom>
            <a:avLst/>
            <a:gdLst>
              <a:gd name="T0" fmla="*/ 2 w 11"/>
              <a:gd name="T1" fmla="*/ 14 h 14"/>
              <a:gd name="T2" fmla="*/ 2 w 11"/>
              <a:gd name="T3" fmla="*/ 14 h 14"/>
              <a:gd name="T4" fmla="*/ 0 w 11"/>
              <a:gd name="T5" fmla="*/ 8 h 14"/>
              <a:gd name="T6" fmla="*/ 4 w 11"/>
              <a:gd name="T7" fmla="*/ 3 h 14"/>
              <a:gd name="T8" fmla="*/ 10 w 11"/>
              <a:gd name="T9" fmla="*/ 0 h 14"/>
              <a:gd name="T10" fmla="*/ 11 w 11"/>
              <a:gd name="T11" fmla="*/ 1 h 14"/>
              <a:gd name="T12" fmla="*/ 7 w 11"/>
              <a:gd name="T13" fmla="*/ 9 h 14"/>
              <a:gd name="T14" fmla="*/ 2 w 11"/>
              <a:gd name="T15" fmla="*/ 14 h 14"/>
              <a:gd name="T16" fmla="*/ 2 w 11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14">
                <a:moveTo>
                  <a:pt x="2" y="14"/>
                </a:moveTo>
                <a:lnTo>
                  <a:pt x="2" y="14"/>
                </a:lnTo>
                <a:cubicBezTo>
                  <a:pt x="1" y="13"/>
                  <a:pt x="0" y="11"/>
                  <a:pt x="0" y="8"/>
                </a:cubicBezTo>
                <a:cubicBezTo>
                  <a:pt x="1" y="7"/>
                  <a:pt x="2" y="5"/>
                  <a:pt x="4" y="3"/>
                </a:cubicBezTo>
                <a:cubicBezTo>
                  <a:pt x="7" y="1"/>
                  <a:pt x="9" y="0"/>
                  <a:pt x="10" y="0"/>
                </a:cubicBezTo>
                <a:lnTo>
                  <a:pt x="11" y="1"/>
                </a:lnTo>
                <a:cubicBezTo>
                  <a:pt x="11" y="4"/>
                  <a:pt x="10" y="6"/>
                  <a:pt x="7" y="9"/>
                </a:cubicBezTo>
                <a:cubicBezTo>
                  <a:pt x="5" y="12"/>
                  <a:pt x="4" y="14"/>
                  <a:pt x="2" y="14"/>
                </a:cubicBezTo>
                <a:lnTo>
                  <a:pt x="2" y="1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0" name="Freeform 376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1" name="Freeform 377"/>
          <p:cNvSpPr/>
          <p:nvPr/>
        </p:nvSpPr>
        <p:spPr bwMode="auto">
          <a:xfrm>
            <a:off x="7162380" y="2609922"/>
            <a:ext cx="13975" cy="27950"/>
          </a:xfrm>
          <a:custGeom>
            <a:avLst/>
            <a:gdLst>
              <a:gd name="T0" fmla="*/ 9 w 13"/>
              <a:gd name="T1" fmla="*/ 8 h 27"/>
              <a:gd name="T2" fmla="*/ 9 w 13"/>
              <a:gd name="T3" fmla="*/ 8 h 27"/>
              <a:gd name="T4" fmla="*/ 12 w 13"/>
              <a:gd name="T5" fmla="*/ 20 h 27"/>
              <a:gd name="T6" fmla="*/ 10 w 13"/>
              <a:gd name="T7" fmla="*/ 26 h 27"/>
              <a:gd name="T8" fmla="*/ 9 w 13"/>
              <a:gd name="T9" fmla="*/ 27 h 27"/>
              <a:gd name="T10" fmla="*/ 3 w 13"/>
              <a:gd name="T11" fmla="*/ 17 h 27"/>
              <a:gd name="T12" fmla="*/ 0 w 13"/>
              <a:gd name="T13" fmla="*/ 5 h 27"/>
              <a:gd name="T14" fmla="*/ 1 w 13"/>
              <a:gd name="T15" fmla="*/ 0 h 27"/>
              <a:gd name="T16" fmla="*/ 9 w 13"/>
              <a:gd name="T17" fmla="*/ 8 h 27"/>
              <a:gd name="T18" fmla="*/ 9 w 13"/>
              <a:gd name="T19" fmla="*/ 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27">
                <a:moveTo>
                  <a:pt x="9" y="8"/>
                </a:moveTo>
                <a:lnTo>
                  <a:pt x="9" y="8"/>
                </a:lnTo>
                <a:cubicBezTo>
                  <a:pt x="12" y="12"/>
                  <a:pt x="13" y="16"/>
                  <a:pt x="12" y="20"/>
                </a:cubicBezTo>
                <a:cubicBezTo>
                  <a:pt x="12" y="23"/>
                  <a:pt x="11" y="26"/>
                  <a:pt x="10" y="26"/>
                </a:cubicBezTo>
                <a:cubicBezTo>
                  <a:pt x="10" y="27"/>
                  <a:pt x="9" y="27"/>
                  <a:pt x="9" y="27"/>
                </a:cubicBezTo>
                <a:cubicBezTo>
                  <a:pt x="7" y="27"/>
                  <a:pt x="5" y="23"/>
                  <a:pt x="3" y="17"/>
                </a:cubicBezTo>
                <a:cubicBezTo>
                  <a:pt x="2" y="12"/>
                  <a:pt x="1" y="8"/>
                  <a:pt x="0" y="5"/>
                </a:cubicBezTo>
                <a:lnTo>
                  <a:pt x="1" y="0"/>
                </a:lnTo>
                <a:cubicBezTo>
                  <a:pt x="4" y="2"/>
                  <a:pt x="6" y="4"/>
                  <a:pt x="9" y="8"/>
                </a:cubicBezTo>
                <a:lnTo>
                  <a:pt x="9" y="8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2" name="Freeform 378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3" name="Freeform 379"/>
          <p:cNvSpPr/>
          <p:nvPr/>
        </p:nvSpPr>
        <p:spPr bwMode="auto">
          <a:xfrm>
            <a:off x="7162380" y="2608176"/>
            <a:ext cx="1747" cy="1747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1" y="0"/>
                  <a:pt x="1" y="0"/>
                  <a:pt x="1" y="1"/>
                </a:cubicBezTo>
                <a:lnTo>
                  <a:pt x="1" y="1"/>
                </a:lnTo>
                <a:cubicBezTo>
                  <a:pt x="1" y="1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4" name="Freeform 380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5" name="Freeform 381"/>
          <p:cNvSpPr/>
          <p:nvPr/>
        </p:nvSpPr>
        <p:spPr bwMode="auto">
          <a:xfrm flipH="1">
            <a:off x="7164126" y="2608176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1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6" name="Freeform 382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7" name="Freeform 383"/>
          <p:cNvSpPr/>
          <p:nvPr/>
        </p:nvSpPr>
        <p:spPr bwMode="auto">
          <a:xfrm>
            <a:off x="7188582" y="2349640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  <a:gd name="T12" fmla="*/ 0 w 1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8" name="Freeform 384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9" name="Freeform 385"/>
          <p:cNvSpPr/>
          <p:nvPr/>
        </p:nvSpPr>
        <p:spPr bwMode="auto">
          <a:xfrm>
            <a:off x="7097745" y="2251815"/>
            <a:ext cx="92584" cy="129268"/>
          </a:xfrm>
          <a:custGeom>
            <a:avLst/>
            <a:gdLst>
              <a:gd name="T0" fmla="*/ 88 w 88"/>
              <a:gd name="T1" fmla="*/ 95 h 123"/>
              <a:gd name="T2" fmla="*/ 88 w 88"/>
              <a:gd name="T3" fmla="*/ 95 h 123"/>
              <a:gd name="T4" fmla="*/ 88 w 88"/>
              <a:gd name="T5" fmla="*/ 97 h 123"/>
              <a:gd name="T6" fmla="*/ 70 w 88"/>
              <a:gd name="T7" fmla="*/ 112 h 123"/>
              <a:gd name="T8" fmla="*/ 46 w 88"/>
              <a:gd name="T9" fmla="*/ 123 h 123"/>
              <a:gd name="T10" fmla="*/ 46 w 88"/>
              <a:gd name="T11" fmla="*/ 117 h 123"/>
              <a:gd name="T12" fmla="*/ 50 w 88"/>
              <a:gd name="T13" fmla="*/ 110 h 123"/>
              <a:gd name="T14" fmla="*/ 56 w 88"/>
              <a:gd name="T15" fmla="*/ 104 h 123"/>
              <a:gd name="T16" fmla="*/ 72 w 88"/>
              <a:gd name="T17" fmla="*/ 100 h 123"/>
              <a:gd name="T18" fmla="*/ 55 w 88"/>
              <a:gd name="T19" fmla="*/ 91 h 123"/>
              <a:gd name="T20" fmla="*/ 53 w 88"/>
              <a:gd name="T21" fmla="*/ 97 h 123"/>
              <a:gd name="T22" fmla="*/ 41 w 88"/>
              <a:gd name="T23" fmla="*/ 92 h 123"/>
              <a:gd name="T24" fmla="*/ 23 w 88"/>
              <a:gd name="T25" fmla="*/ 90 h 123"/>
              <a:gd name="T26" fmla="*/ 20 w 88"/>
              <a:gd name="T27" fmla="*/ 76 h 123"/>
              <a:gd name="T28" fmla="*/ 24 w 88"/>
              <a:gd name="T29" fmla="*/ 59 h 123"/>
              <a:gd name="T30" fmla="*/ 32 w 88"/>
              <a:gd name="T31" fmla="*/ 65 h 123"/>
              <a:gd name="T32" fmla="*/ 17 w 88"/>
              <a:gd name="T33" fmla="*/ 44 h 123"/>
              <a:gd name="T34" fmla="*/ 10 w 88"/>
              <a:gd name="T35" fmla="*/ 55 h 123"/>
              <a:gd name="T36" fmla="*/ 0 w 88"/>
              <a:gd name="T37" fmla="*/ 31 h 123"/>
              <a:gd name="T38" fmla="*/ 3 w 88"/>
              <a:gd name="T39" fmla="*/ 26 h 123"/>
              <a:gd name="T40" fmla="*/ 7 w 88"/>
              <a:gd name="T41" fmla="*/ 23 h 123"/>
              <a:gd name="T42" fmla="*/ 13 w 88"/>
              <a:gd name="T43" fmla="*/ 27 h 123"/>
              <a:gd name="T44" fmla="*/ 18 w 88"/>
              <a:gd name="T45" fmla="*/ 26 h 123"/>
              <a:gd name="T46" fmla="*/ 22 w 88"/>
              <a:gd name="T47" fmla="*/ 22 h 123"/>
              <a:gd name="T48" fmla="*/ 18 w 88"/>
              <a:gd name="T49" fmla="*/ 13 h 123"/>
              <a:gd name="T50" fmla="*/ 19 w 88"/>
              <a:gd name="T51" fmla="*/ 10 h 123"/>
              <a:gd name="T52" fmla="*/ 22 w 88"/>
              <a:gd name="T53" fmla="*/ 10 h 123"/>
              <a:gd name="T54" fmla="*/ 30 w 88"/>
              <a:gd name="T55" fmla="*/ 30 h 123"/>
              <a:gd name="T56" fmla="*/ 31 w 88"/>
              <a:gd name="T57" fmla="*/ 30 h 123"/>
              <a:gd name="T58" fmla="*/ 36 w 88"/>
              <a:gd name="T59" fmla="*/ 29 h 123"/>
              <a:gd name="T60" fmla="*/ 40 w 88"/>
              <a:gd name="T61" fmla="*/ 34 h 123"/>
              <a:gd name="T62" fmla="*/ 40 w 88"/>
              <a:gd name="T63" fmla="*/ 34 h 123"/>
              <a:gd name="T64" fmla="*/ 40 w 88"/>
              <a:gd name="T65" fmla="*/ 35 h 123"/>
              <a:gd name="T66" fmla="*/ 41 w 88"/>
              <a:gd name="T67" fmla="*/ 39 h 123"/>
              <a:gd name="T68" fmla="*/ 41 w 88"/>
              <a:gd name="T69" fmla="*/ 40 h 123"/>
              <a:gd name="T70" fmla="*/ 41 w 88"/>
              <a:gd name="T71" fmla="*/ 39 h 123"/>
              <a:gd name="T72" fmla="*/ 41 w 88"/>
              <a:gd name="T73" fmla="*/ 39 h 123"/>
              <a:gd name="T74" fmla="*/ 40 w 88"/>
              <a:gd name="T75" fmla="*/ 35 h 123"/>
              <a:gd name="T76" fmla="*/ 40 w 88"/>
              <a:gd name="T77" fmla="*/ 34 h 123"/>
              <a:gd name="T78" fmla="*/ 40 w 88"/>
              <a:gd name="T79" fmla="*/ 25 h 123"/>
              <a:gd name="T80" fmla="*/ 43 w 88"/>
              <a:gd name="T81" fmla="*/ 11 h 123"/>
              <a:gd name="T82" fmla="*/ 51 w 88"/>
              <a:gd name="T83" fmla="*/ 0 h 123"/>
              <a:gd name="T84" fmla="*/ 60 w 88"/>
              <a:gd name="T85" fmla="*/ 10 h 123"/>
              <a:gd name="T86" fmla="*/ 65 w 88"/>
              <a:gd name="T87" fmla="*/ 23 h 123"/>
              <a:gd name="T88" fmla="*/ 62 w 88"/>
              <a:gd name="T89" fmla="*/ 33 h 123"/>
              <a:gd name="T90" fmla="*/ 62 w 88"/>
              <a:gd name="T91" fmla="*/ 35 h 123"/>
              <a:gd name="T92" fmla="*/ 57 w 88"/>
              <a:gd name="T93" fmla="*/ 49 h 123"/>
              <a:gd name="T94" fmla="*/ 46 w 88"/>
              <a:gd name="T95" fmla="*/ 71 h 123"/>
              <a:gd name="T96" fmla="*/ 47 w 88"/>
              <a:gd name="T97" fmla="*/ 71 h 123"/>
              <a:gd name="T98" fmla="*/ 59 w 88"/>
              <a:gd name="T99" fmla="*/ 76 h 123"/>
              <a:gd name="T100" fmla="*/ 59 w 88"/>
              <a:gd name="T101" fmla="*/ 76 h 123"/>
              <a:gd name="T102" fmla="*/ 67 w 88"/>
              <a:gd name="T103" fmla="*/ 85 h 123"/>
              <a:gd name="T104" fmla="*/ 78 w 88"/>
              <a:gd name="T105" fmla="*/ 88 h 123"/>
              <a:gd name="T106" fmla="*/ 87 w 88"/>
              <a:gd name="T107" fmla="*/ 93 h 123"/>
              <a:gd name="T108" fmla="*/ 88 w 88"/>
              <a:gd name="T109" fmla="*/ 94 h 123"/>
              <a:gd name="T110" fmla="*/ 88 w 88"/>
              <a:gd name="T111" fmla="*/ 95 h 123"/>
              <a:gd name="T112" fmla="*/ 88 w 88"/>
              <a:gd name="T113" fmla="*/ 9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8" h="123">
                <a:moveTo>
                  <a:pt x="88" y="95"/>
                </a:moveTo>
                <a:lnTo>
                  <a:pt x="88" y="95"/>
                </a:lnTo>
                <a:cubicBezTo>
                  <a:pt x="88" y="96"/>
                  <a:pt x="88" y="96"/>
                  <a:pt x="88" y="97"/>
                </a:cubicBezTo>
                <a:cubicBezTo>
                  <a:pt x="87" y="100"/>
                  <a:pt x="81" y="105"/>
                  <a:pt x="70" y="112"/>
                </a:cubicBezTo>
                <a:cubicBezTo>
                  <a:pt x="59" y="119"/>
                  <a:pt x="51" y="122"/>
                  <a:pt x="46" y="123"/>
                </a:cubicBezTo>
                <a:lnTo>
                  <a:pt x="46" y="117"/>
                </a:lnTo>
                <a:cubicBezTo>
                  <a:pt x="48" y="116"/>
                  <a:pt x="49" y="114"/>
                  <a:pt x="50" y="110"/>
                </a:cubicBezTo>
                <a:cubicBezTo>
                  <a:pt x="52" y="107"/>
                  <a:pt x="53" y="105"/>
                  <a:pt x="56" y="104"/>
                </a:cubicBezTo>
                <a:cubicBezTo>
                  <a:pt x="62" y="103"/>
                  <a:pt x="67" y="102"/>
                  <a:pt x="72" y="100"/>
                </a:cubicBezTo>
                <a:cubicBezTo>
                  <a:pt x="68" y="99"/>
                  <a:pt x="63" y="96"/>
                  <a:pt x="55" y="91"/>
                </a:cubicBezTo>
                <a:cubicBezTo>
                  <a:pt x="54" y="92"/>
                  <a:pt x="53" y="94"/>
                  <a:pt x="53" y="97"/>
                </a:cubicBezTo>
                <a:cubicBezTo>
                  <a:pt x="52" y="97"/>
                  <a:pt x="48" y="95"/>
                  <a:pt x="41" y="92"/>
                </a:cubicBezTo>
                <a:cubicBezTo>
                  <a:pt x="29" y="90"/>
                  <a:pt x="23" y="90"/>
                  <a:pt x="23" y="90"/>
                </a:cubicBezTo>
                <a:cubicBezTo>
                  <a:pt x="20" y="88"/>
                  <a:pt x="19" y="84"/>
                  <a:pt x="20" y="76"/>
                </a:cubicBezTo>
                <a:cubicBezTo>
                  <a:pt x="21" y="67"/>
                  <a:pt x="22" y="61"/>
                  <a:pt x="24" y="59"/>
                </a:cubicBezTo>
                <a:cubicBezTo>
                  <a:pt x="26" y="61"/>
                  <a:pt x="29" y="63"/>
                  <a:pt x="32" y="65"/>
                </a:cubicBezTo>
                <a:cubicBezTo>
                  <a:pt x="25" y="53"/>
                  <a:pt x="20" y="46"/>
                  <a:pt x="17" y="44"/>
                </a:cubicBezTo>
                <a:cubicBezTo>
                  <a:pt x="16" y="52"/>
                  <a:pt x="14" y="56"/>
                  <a:pt x="10" y="55"/>
                </a:cubicBezTo>
                <a:cubicBezTo>
                  <a:pt x="9" y="55"/>
                  <a:pt x="6" y="47"/>
                  <a:pt x="0" y="31"/>
                </a:cubicBezTo>
                <a:cubicBezTo>
                  <a:pt x="0" y="30"/>
                  <a:pt x="1" y="28"/>
                  <a:pt x="3" y="26"/>
                </a:cubicBezTo>
                <a:cubicBezTo>
                  <a:pt x="5" y="24"/>
                  <a:pt x="6" y="23"/>
                  <a:pt x="7" y="23"/>
                </a:cubicBezTo>
                <a:cubicBezTo>
                  <a:pt x="10" y="25"/>
                  <a:pt x="12" y="27"/>
                  <a:pt x="13" y="27"/>
                </a:cubicBezTo>
                <a:cubicBezTo>
                  <a:pt x="14" y="27"/>
                  <a:pt x="16" y="27"/>
                  <a:pt x="18" y="26"/>
                </a:cubicBezTo>
                <a:cubicBezTo>
                  <a:pt x="20" y="24"/>
                  <a:pt x="22" y="23"/>
                  <a:pt x="22" y="22"/>
                </a:cubicBezTo>
                <a:cubicBezTo>
                  <a:pt x="22" y="20"/>
                  <a:pt x="21" y="17"/>
                  <a:pt x="18" y="13"/>
                </a:cubicBezTo>
                <a:lnTo>
                  <a:pt x="19" y="10"/>
                </a:lnTo>
                <a:lnTo>
                  <a:pt x="22" y="10"/>
                </a:lnTo>
                <a:cubicBezTo>
                  <a:pt x="30" y="16"/>
                  <a:pt x="33" y="22"/>
                  <a:pt x="30" y="30"/>
                </a:cubicBezTo>
                <a:lnTo>
                  <a:pt x="31" y="30"/>
                </a:lnTo>
                <a:cubicBezTo>
                  <a:pt x="33" y="30"/>
                  <a:pt x="35" y="29"/>
                  <a:pt x="36" y="29"/>
                </a:cubicBezTo>
                <a:cubicBezTo>
                  <a:pt x="37" y="30"/>
                  <a:pt x="39" y="31"/>
                  <a:pt x="40" y="34"/>
                </a:cubicBezTo>
                <a:lnTo>
                  <a:pt x="40" y="34"/>
                </a:lnTo>
                <a:cubicBezTo>
                  <a:pt x="40" y="35"/>
                  <a:pt x="40" y="35"/>
                  <a:pt x="40" y="35"/>
                </a:cubicBezTo>
                <a:cubicBezTo>
                  <a:pt x="40" y="37"/>
                  <a:pt x="41" y="38"/>
                  <a:pt x="41" y="39"/>
                </a:cubicBezTo>
                <a:cubicBezTo>
                  <a:pt x="41" y="39"/>
                  <a:pt x="41" y="40"/>
                  <a:pt x="41" y="40"/>
                </a:cubicBezTo>
                <a:lnTo>
                  <a:pt x="41" y="39"/>
                </a:lnTo>
                <a:cubicBezTo>
                  <a:pt x="41" y="39"/>
                  <a:pt x="41" y="39"/>
                  <a:pt x="41" y="39"/>
                </a:cubicBezTo>
                <a:cubicBezTo>
                  <a:pt x="41" y="38"/>
                  <a:pt x="40" y="37"/>
                  <a:pt x="40" y="35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2"/>
                  <a:pt x="40" y="28"/>
                  <a:pt x="40" y="25"/>
                </a:cubicBezTo>
                <a:cubicBezTo>
                  <a:pt x="41" y="20"/>
                  <a:pt x="42" y="16"/>
                  <a:pt x="43" y="11"/>
                </a:cubicBezTo>
                <a:cubicBezTo>
                  <a:pt x="45" y="3"/>
                  <a:pt x="48" y="0"/>
                  <a:pt x="51" y="0"/>
                </a:cubicBezTo>
                <a:cubicBezTo>
                  <a:pt x="53" y="0"/>
                  <a:pt x="56" y="4"/>
                  <a:pt x="60" y="10"/>
                </a:cubicBezTo>
                <a:cubicBezTo>
                  <a:pt x="63" y="16"/>
                  <a:pt x="65" y="20"/>
                  <a:pt x="65" y="23"/>
                </a:cubicBezTo>
                <a:cubicBezTo>
                  <a:pt x="64" y="26"/>
                  <a:pt x="64" y="29"/>
                  <a:pt x="62" y="33"/>
                </a:cubicBezTo>
                <a:cubicBezTo>
                  <a:pt x="62" y="33"/>
                  <a:pt x="62" y="34"/>
                  <a:pt x="62" y="35"/>
                </a:cubicBezTo>
                <a:cubicBezTo>
                  <a:pt x="59" y="40"/>
                  <a:pt x="58" y="45"/>
                  <a:pt x="57" y="49"/>
                </a:cubicBezTo>
                <a:cubicBezTo>
                  <a:pt x="55" y="58"/>
                  <a:pt x="51" y="66"/>
                  <a:pt x="46" y="71"/>
                </a:cubicBezTo>
                <a:lnTo>
                  <a:pt x="47" y="71"/>
                </a:lnTo>
                <a:cubicBezTo>
                  <a:pt x="52" y="71"/>
                  <a:pt x="56" y="73"/>
                  <a:pt x="59" y="76"/>
                </a:cubicBezTo>
                <a:cubicBezTo>
                  <a:pt x="59" y="76"/>
                  <a:pt x="59" y="76"/>
                  <a:pt x="59" y="76"/>
                </a:cubicBezTo>
                <a:cubicBezTo>
                  <a:pt x="64" y="82"/>
                  <a:pt x="66" y="85"/>
                  <a:pt x="67" y="85"/>
                </a:cubicBezTo>
                <a:cubicBezTo>
                  <a:pt x="68" y="86"/>
                  <a:pt x="72" y="87"/>
                  <a:pt x="78" y="88"/>
                </a:cubicBezTo>
                <a:cubicBezTo>
                  <a:pt x="81" y="88"/>
                  <a:pt x="84" y="90"/>
                  <a:pt x="87" y="93"/>
                </a:cubicBezTo>
                <a:cubicBezTo>
                  <a:pt x="87" y="93"/>
                  <a:pt x="87" y="93"/>
                  <a:pt x="88" y="94"/>
                </a:cubicBezTo>
                <a:cubicBezTo>
                  <a:pt x="87" y="94"/>
                  <a:pt x="87" y="95"/>
                  <a:pt x="88" y="95"/>
                </a:cubicBezTo>
                <a:lnTo>
                  <a:pt x="88" y="9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0" name="Freeform 386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1" name="Freeform 387"/>
          <p:cNvSpPr/>
          <p:nvPr/>
        </p:nvSpPr>
        <p:spPr bwMode="auto">
          <a:xfrm flipH="1">
            <a:off x="7139670" y="2291993"/>
            <a:ext cx="0" cy="1747"/>
          </a:xfrm>
          <a:custGeom>
            <a:avLst/>
            <a:gdLst>
              <a:gd name="T0" fmla="*/ 0 h 1"/>
              <a:gd name="T1" fmla="*/ 0 h 1"/>
              <a:gd name="T2" fmla="*/ 1 h 1"/>
              <a:gd name="T3" fmla="*/ 0 h 1"/>
              <a:gd name="T4" fmla="*/ 0 h 1"/>
              <a:gd name="T5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2" name="Freeform 388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3" name="Freeform 389"/>
          <p:cNvSpPr/>
          <p:nvPr/>
        </p:nvSpPr>
        <p:spPr bwMode="auto">
          <a:xfrm>
            <a:off x="7073289" y="2442223"/>
            <a:ext cx="71622" cy="68128"/>
          </a:xfrm>
          <a:custGeom>
            <a:avLst/>
            <a:gdLst>
              <a:gd name="T0" fmla="*/ 43 w 69"/>
              <a:gd name="T1" fmla="*/ 15 h 66"/>
              <a:gd name="T2" fmla="*/ 43 w 69"/>
              <a:gd name="T3" fmla="*/ 15 h 66"/>
              <a:gd name="T4" fmla="*/ 43 w 69"/>
              <a:gd name="T5" fmla="*/ 20 h 66"/>
              <a:gd name="T6" fmla="*/ 45 w 69"/>
              <a:gd name="T7" fmla="*/ 25 h 66"/>
              <a:gd name="T8" fmla="*/ 49 w 69"/>
              <a:gd name="T9" fmla="*/ 29 h 66"/>
              <a:gd name="T10" fmla="*/ 54 w 69"/>
              <a:gd name="T11" fmla="*/ 31 h 66"/>
              <a:gd name="T12" fmla="*/ 64 w 69"/>
              <a:gd name="T13" fmla="*/ 40 h 66"/>
              <a:gd name="T14" fmla="*/ 65 w 69"/>
              <a:gd name="T15" fmla="*/ 42 h 66"/>
              <a:gd name="T16" fmla="*/ 69 w 69"/>
              <a:gd name="T17" fmla="*/ 47 h 66"/>
              <a:gd name="T18" fmla="*/ 66 w 69"/>
              <a:gd name="T19" fmla="*/ 55 h 66"/>
              <a:gd name="T20" fmla="*/ 57 w 69"/>
              <a:gd name="T21" fmla="*/ 56 h 66"/>
              <a:gd name="T22" fmla="*/ 57 w 69"/>
              <a:gd name="T23" fmla="*/ 58 h 66"/>
              <a:gd name="T24" fmla="*/ 57 w 69"/>
              <a:gd name="T25" fmla="*/ 60 h 66"/>
              <a:gd name="T26" fmla="*/ 54 w 69"/>
              <a:gd name="T27" fmla="*/ 64 h 66"/>
              <a:gd name="T28" fmla="*/ 50 w 69"/>
              <a:gd name="T29" fmla="*/ 66 h 66"/>
              <a:gd name="T30" fmla="*/ 43 w 69"/>
              <a:gd name="T31" fmla="*/ 62 h 66"/>
              <a:gd name="T32" fmla="*/ 35 w 69"/>
              <a:gd name="T33" fmla="*/ 60 h 66"/>
              <a:gd name="T34" fmla="*/ 29 w 69"/>
              <a:gd name="T35" fmla="*/ 63 h 66"/>
              <a:gd name="T36" fmla="*/ 20 w 69"/>
              <a:gd name="T37" fmla="*/ 64 h 66"/>
              <a:gd name="T38" fmla="*/ 13 w 69"/>
              <a:gd name="T39" fmla="*/ 62 h 66"/>
              <a:gd name="T40" fmla="*/ 10 w 69"/>
              <a:gd name="T41" fmla="*/ 63 h 66"/>
              <a:gd name="T42" fmla="*/ 7 w 69"/>
              <a:gd name="T43" fmla="*/ 64 h 66"/>
              <a:gd name="T44" fmla="*/ 0 w 69"/>
              <a:gd name="T45" fmla="*/ 58 h 66"/>
              <a:gd name="T46" fmla="*/ 2 w 69"/>
              <a:gd name="T47" fmla="*/ 54 h 66"/>
              <a:gd name="T48" fmla="*/ 7 w 69"/>
              <a:gd name="T49" fmla="*/ 51 h 66"/>
              <a:gd name="T50" fmla="*/ 12 w 69"/>
              <a:gd name="T51" fmla="*/ 54 h 66"/>
              <a:gd name="T52" fmla="*/ 18 w 69"/>
              <a:gd name="T53" fmla="*/ 52 h 66"/>
              <a:gd name="T54" fmla="*/ 25 w 69"/>
              <a:gd name="T55" fmla="*/ 54 h 66"/>
              <a:gd name="T56" fmla="*/ 31 w 69"/>
              <a:gd name="T57" fmla="*/ 52 h 66"/>
              <a:gd name="T58" fmla="*/ 23 w 69"/>
              <a:gd name="T59" fmla="*/ 45 h 66"/>
              <a:gd name="T60" fmla="*/ 31 w 69"/>
              <a:gd name="T61" fmla="*/ 37 h 66"/>
              <a:gd name="T62" fmla="*/ 38 w 69"/>
              <a:gd name="T63" fmla="*/ 34 h 66"/>
              <a:gd name="T64" fmla="*/ 34 w 69"/>
              <a:gd name="T65" fmla="*/ 29 h 66"/>
              <a:gd name="T66" fmla="*/ 28 w 69"/>
              <a:gd name="T67" fmla="*/ 23 h 66"/>
              <a:gd name="T68" fmla="*/ 18 w 69"/>
              <a:gd name="T69" fmla="*/ 11 h 66"/>
              <a:gd name="T70" fmla="*/ 24 w 69"/>
              <a:gd name="T71" fmla="*/ 5 h 66"/>
              <a:gd name="T72" fmla="*/ 30 w 69"/>
              <a:gd name="T73" fmla="*/ 0 h 66"/>
              <a:gd name="T74" fmla="*/ 34 w 69"/>
              <a:gd name="T75" fmla="*/ 1 h 66"/>
              <a:gd name="T76" fmla="*/ 36 w 69"/>
              <a:gd name="T77" fmla="*/ 2 h 66"/>
              <a:gd name="T78" fmla="*/ 41 w 69"/>
              <a:gd name="T79" fmla="*/ 7 h 66"/>
              <a:gd name="T80" fmla="*/ 43 w 69"/>
              <a:gd name="T81" fmla="*/ 15 h 66"/>
              <a:gd name="T82" fmla="*/ 43 w 69"/>
              <a:gd name="T83" fmla="*/ 1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9" h="66">
                <a:moveTo>
                  <a:pt x="43" y="15"/>
                </a:moveTo>
                <a:lnTo>
                  <a:pt x="43" y="15"/>
                </a:lnTo>
                <a:cubicBezTo>
                  <a:pt x="43" y="17"/>
                  <a:pt x="43" y="19"/>
                  <a:pt x="43" y="20"/>
                </a:cubicBezTo>
                <a:cubicBezTo>
                  <a:pt x="44" y="22"/>
                  <a:pt x="45" y="24"/>
                  <a:pt x="45" y="25"/>
                </a:cubicBezTo>
                <a:cubicBezTo>
                  <a:pt x="45" y="27"/>
                  <a:pt x="46" y="28"/>
                  <a:pt x="49" y="29"/>
                </a:cubicBezTo>
                <a:cubicBezTo>
                  <a:pt x="52" y="29"/>
                  <a:pt x="54" y="30"/>
                  <a:pt x="54" y="31"/>
                </a:cubicBezTo>
                <a:cubicBezTo>
                  <a:pt x="57" y="33"/>
                  <a:pt x="60" y="36"/>
                  <a:pt x="64" y="40"/>
                </a:cubicBezTo>
                <a:cubicBezTo>
                  <a:pt x="64" y="41"/>
                  <a:pt x="65" y="41"/>
                  <a:pt x="65" y="42"/>
                </a:cubicBezTo>
                <a:cubicBezTo>
                  <a:pt x="68" y="45"/>
                  <a:pt x="69" y="47"/>
                  <a:pt x="69" y="47"/>
                </a:cubicBezTo>
                <a:cubicBezTo>
                  <a:pt x="69" y="51"/>
                  <a:pt x="68" y="53"/>
                  <a:pt x="66" y="55"/>
                </a:cubicBezTo>
                <a:cubicBezTo>
                  <a:pt x="64" y="57"/>
                  <a:pt x="61" y="57"/>
                  <a:pt x="57" y="56"/>
                </a:cubicBezTo>
                <a:lnTo>
                  <a:pt x="57" y="58"/>
                </a:lnTo>
                <a:cubicBezTo>
                  <a:pt x="57" y="59"/>
                  <a:pt x="57" y="60"/>
                  <a:pt x="57" y="60"/>
                </a:cubicBezTo>
                <a:cubicBezTo>
                  <a:pt x="57" y="61"/>
                  <a:pt x="56" y="62"/>
                  <a:pt x="54" y="64"/>
                </a:cubicBezTo>
                <a:cubicBezTo>
                  <a:pt x="52" y="65"/>
                  <a:pt x="50" y="66"/>
                  <a:pt x="50" y="66"/>
                </a:cubicBezTo>
                <a:cubicBezTo>
                  <a:pt x="49" y="66"/>
                  <a:pt x="47" y="65"/>
                  <a:pt x="43" y="62"/>
                </a:cubicBezTo>
                <a:cubicBezTo>
                  <a:pt x="41" y="61"/>
                  <a:pt x="38" y="60"/>
                  <a:pt x="35" y="60"/>
                </a:cubicBezTo>
                <a:cubicBezTo>
                  <a:pt x="34" y="61"/>
                  <a:pt x="32" y="62"/>
                  <a:pt x="29" y="63"/>
                </a:cubicBezTo>
                <a:cubicBezTo>
                  <a:pt x="25" y="64"/>
                  <a:pt x="22" y="64"/>
                  <a:pt x="20" y="64"/>
                </a:cubicBezTo>
                <a:cubicBezTo>
                  <a:pt x="19" y="63"/>
                  <a:pt x="17" y="63"/>
                  <a:pt x="13" y="62"/>
                </a:cubicBezTo>
                <a:cubicBezTo>
                  <a:pt x="12" y="62"/>
                  <a:pt x="11" y="62"/>
                  <a:pt x="10" y="63"/>
                </a:cubicBezTo>
                <a:cubicBezTo>
                  <a:pt x="9" y="64"/>
                  <a:pt x="8" y="64"/>
                  <a:pt x="7" y="64"/>
                </a:cubicBezTo>
                <a:cubicBezTo>
                  <a:pt x="2" y="63"/>
                  <a:pt x="0" y="61"/>
                  <a:pt x="0" y="58"/>
                </a:cubicBezTo>
                <a:cubicBezTo>
                  <a:pt x="0" y="57"/>
                  <a:pt x="1" y="56"/>
                  <a:pt x="2" y="54"/>
                </a:cubicBezTo>
                <a:cubicBezTo>
                  <a:pt x="4" y="52"/>
                  <a:pt x="6" y="51"/>
                  <a:pt x="7" y="51"/>
                </a:cubicBezTo>
                <a:cubicBezTo>
                  <a:pt x="10" y="53"/>
                  <a:pt x="12" y="54"/>
                  <a:pt x="12" y="54"/>
                </a:cubicBezTo>
                <a:cubicBezTo>
                  <a:pt x="16" y="53"/>
                  <a:pt x="18" y="52"/>
                  <a:pt x="18" y="52"/>
                </a:cubicBezTo>
                <a:lnTo>
                  <a:pt x="25" y="54"/>
                </a:lnTo>
                <a:cubicBezTo>
                  <a:pt x="27" y="54"/>
                  <a:pt x="29" y="53"/>
                  <a:pt x="31" y="52"/>
                </a:cubicBezTo>
                <a:cubicBezTo>
                  <a:pt x="26" y="49"/>
                  <a:pt x="23" y="47"/>
                  <a:pt x="23" y="45"/>
                </a:cubicBezTo>
                <a:cubicBezTo>
                  <a:pt x="24" y="40"/>
                  <a:pt x="27" y="38"/>
                  <a:pt x="31" y="37"/>
                </a:cubicBezTo>
                <a:cubicBezTo>
                  <a:pt x="36" y="36"/>
                  <a:pt x="38" y="35"/>
                  <a:pt x="38" y="34"/>
                </a:cubicBezTo>
                <a:cubicBezTo>
                  <a:pt x="38" y="32"/>
                  <a:pt x="37" y="31"/>
                  <a:pt x="34" y="29"/>
                </a:cubicBezTo>
                <a:cubicBezTo>
                  <a:pt x="31" y="27"/>
                  <a:pt x="29" y="25"/>
                  <a:pt x="28" y="23"/>
                </a:cubicBezTo>
                <a:cubicBezTo>
                  <a:pt x="21" y="17"/>
                  <a:pt x="18" y="13"/>
                  <a:pt x="18" y="11"/>
                </a:cubicBezTo>
                <a:cubicBezTo>
                  <a:pt x="18" y="10"/>
                  <a:pt x="20" y="8"/>
                  <a:pt x="24" y="5"/>
                </a:cubicBezTo>
                <a:cubicBezTo>
                  <a:pt x="27" y="2"/>
                  <a:pt x="29" y="1"/>
                  <a:pt x="30" y="0"/>
                </a:cubicBezTo>
                <a:lnTo>
                  <a:pt x="34" y="1"/>
                </a:lnTo>
                <a:lnTo>
                  <a:pt x="36" y="2"/>
                </a:lnTo>
                <a:cubicBezTo>
                  <a:pt x="38" y="3"/>
                  <a:pt x="39" y="5"/>
                  <a:pt x="41" y="7"/>
                </a:cubicBezTo>
                <a:cubicBezTo>
                  <a:pt x="42" y="9"/>
                  <a:pt x="43" y="12"/>
                  <a:pt x="43" y="15"/>
                </a:cubicBezTo>
                <a:lnTo>
                  <a:pt x="43" y="1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4" name="Freeform 390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5" name="Freeform 391"/>
          <p:cNvSpPr/>
          <p:nvPr/>
        </p:nvSpPr>
        <p:spPr bwMode="auto">
          <a:xfrm>
            <a:off x="7108226" y="2443970"/>
            <a:ext cx="3494" cy="0"/>
          </a:xfrm>
          <a:custGeom>
            <a:avLst/>
            <a:gdLst>
              <a:gd name="T0" fmla="*/ 1 w 2"/>
              <a:gd name="T1" fmla="*/ 0 h 1"/>
              <a:gd name="T2" fmla="*/ 1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1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2" y="1"/>
                  <a:pt x="2" y="1"/>
                </a:cubicBezTo>
                <a:lnTo>
                  <a:pt x="0" y="0"/>
                </a:ln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6" name="Freeform 392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7" name="Freeform 393"/>
          <p:cNvSpPr/>
          <p:nvPr/>
        </p:nvSpPr>
        <p:spPr bwMode="auto">
          <a:xfrm>
            <a:off x="7094252" y="2354880"/>
            <a:ext cx="12229" cy="6987"/>
          </a:xfrm>
          <a:custGeom>
            <a:avLst/>
            <a:gdLst>
              <a:gd name="T0" fmla="*/ 3 w 11"/>
              <a:gd name="T1" fmla="*/ 7 h 7"/>
              <a:gd name="T2" fmla="*/ 3 w 11"/>
              <a:gd name="T3" fmla="*/ 7 h 7"/>
              <a:gd name="T4" fmla="*/ 0 w 11"/>
              <a:gd name="T5" fmla="*/ 4 h 7"/>
              <a:gd name="T6" fmla="*/ 0 w 11"/>
              <a:gd name="T7" fmla="*/ 2 h 7"/>
              <a:gd name="T8" fmla="*/ 1 w 11"/>
              <a:gd name="T9" fmla="*/ 0 h 7"/>
              <a:gd name="T10" fmla="*/ 4 w 11"/>
              <a:gd name="T11" fmla="*/ 1 h 7"/>
              <a:gd name="T12" fmla="*/ 11 w 11"/>
              <a:gd name="T13" fmla="*/ 4 h 7"/>
              <a:gd name="T14" fmla="*/ 10 w 11"/>
              <a:gd name="T15" fmla="*/ 7 h 7"/>
              <a:gd name="T16" fmla="*/ 3 w 11"/>
              <a:gd name="T17" fmla="*/ 7 h 7"/>
              <a:gd name="T18" fmla="*/ 3 w 11"/>
              <a:gd name="T1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7">
                <a:moveTo>
                  <a:pt x="3" y="7"/>
                </a:moveTo>
                <a:lnTo>
                  <a:pt x="3" y="7"/>
                </a:lnTo>
                <a:cubicBezTo>
                  <a:pt x="1" y="5"/>
                  <a:pt x="0" y="4"/>
                  <a:pt x="0" y="4"/>
                </a:cubicBezTo>
                <a:cubicBezTo>
                  <a:pt x="0" y="4"/>
                  <a:pt x="0" y="4"/>
                  <a:pt x="0" y="2"/>
                </a:cubicBezTo>
                <a:cubicBezTo>
                  <a:pt x="1" y="2"/>
                  <a:pt x="1" y="1"/>
                  <a:pt x="1" y="0"/>
                </a:cubicBezTo>
                <a:lnTo>
                  <a:pt x="4" y="1"/>
                </a:lnTo>
                <a:cubicBezTo>
                  <a:pt x="6" y="3"/>
                  <a:pt x="8" y="4"/>
                  <a:pt x="11" y="4"/>
                </a:cubicBezTo>
                <a:lnTo>
                  <a:pt x="10" y="7"/>
                </a:lnTo>
                <a:lnTo>
                  <a:pt x="3" y="7"/>
                </a:ln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8" name="Freeform 394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9" name="Freeform 395"/>
          <p:cNvSpPr/>
          <p:nvPr/>
        </p:nvSpPr>
        <p:spPr bwMode="auto">
          <a:xfrm>
            <a:off x="7055820" y="2424754"/>
            <a:ext cx="24456" cy="15722"/>
          </a:xfrm>
          <a:custGeom>
            <a:avLst/>
            <a:gdLst>
              <a:gd name="T0" fmla="*/ 1 w 23"/>
              <a:gd name="T1" fmla="*/ 12 h 16"/>
              <a:gd name="T2" fmla="*/ 1 w 23"/>
              <a:gd name="T3" fmla="*/ 12 h 16"/>
              <a:gd name="T4" fmla="*/ 9 w 23"/>
              <a:gd name="T5" fmla="*/ 5 h 16"/>
              <a:gd name="T6" fmla="*/ 19 w 23"/>
              <a:gd name="T7" fmla="*/ 0 h 16"/>
              <a:gd name="T8" fmla="*/ 23 w 23"/>
              <a:gd name="T9" fmla="*/ 6 h 16"/>
              <a:gd name="T10" fmla="*/ 14 w 23"/>
              <a:gd name="T11" fmla="*/ 13 h 16"/>
              <a:gd name="T12" fmla="*/ 3 w 23"/>
              <a:gd name="T13" fmla="*/ 15 h 16"/>
              <a:gd name="T14" fmla="*/ 0 w 23"/>
              <a:gd name="T15" fmla="*/ 15 h 16"/>
              <a:gd name="T16" fmla="*/ 1 w 23"/>
              <a:gd name="T17" fmla="*/ 12 h 16"/>
              <a:gd name="T18" fmla="*/ 1 w 23"/>
              <a:gd name="T19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6">
                <a:moveTo>
                  <a:pt x="1" y="12"/>
                </a:moveTo>
                <a:lnTo>
                  <a:pt x="1" y="12"/>
                </a:lnTo>
                <a:cubicBezTo>
                  <a:pt x="4" y="9"/>
                  <a:pt x="6" y="7"/>
                  <a:pt x="9" y="5"/>
                </a:cubicBezTo>
                <a:cubicBezTo>
                  <a:pt x="13" y="1"/>
                  <a:pt x="17" y="0"/>
                  <a:pt x="19" y="0"/>
                </a:cubicBezTo>
                <a:cubicBezTo>
                  <a:pt x="21" y="0"/>
                  <a:pt x="22" y="2"/>
                  <a:pt x="23" y="6"/>
                </a:cubicBezTo>
                <a:cubicBezTo>
                  <a:pt x="21" y="8"/>
                  <a:pt x="18" y="11"/>
                  <a:pt x="14" y="13"/>
                </a:cubicBezTo>
                <a:cubicBezTo>
                  <a:pt x="9" y="15"/>
                  <a:pt x="6" y="16"/>
                  <a:pt x="3" y="15"/>
                </a:cubicBezTo>
                <a:cubicBezTo>
                  <a:pt x="3" y="15"/>
                  <a:pt x="2" y="15"/>
                  <a:pt x="0" y="15"/>
                </a:cubicBezTo>
                <a:lnTo>
                  <a:pt x="1" y="12"/>
                </a:lnTo>
                <a:lnTo>
                  <a:pt x="1" y="1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0" name="Freeform 396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1" name="Freeform 397"/>
          <p:cNvSpPr/>
          <p:nvPr/>
        </p:nvSpPr>
        <p:spPr bwMode="auto">
          <a:xfrm>
            <a:off x="7020883" y="2440477"/>
            <a:ext cx="22710" cy="13975"/>
          </a:xfrm>
          <a:custGeom>
            <a:avLst/>
            <a:gdLst>
              <a:gd name="T0" fmla="*/ 23 w 23"/>
              <a:gd name="T1" fmla="*/ 4 h 13"/>
              <a:gd name="T2" fmla="*/ 23 w 23"/>
              <a:gd name="T3" fmla="*/ 4 h 13"/>
              <a:gd name="T4" fmla="*/ 15 w 23"/>
              <a:gd name="T5" fmla="*/ 10 h 13"/>
              <a:gd name="T6" fmla="*/ 5 w 23"/>
              <a:gd name="T7" fmla="*/ 12 h 13"/>
              <a:gd name="T8" fmla="*/ 0 w 23"/>
              <a:gd name="T9" fmla="*/ 9 h 13"/>
              <a:gd name="T10" fmla="*/ 7 w 23"/>
              <a:gd name="T11" fmla="*/ 3 h 13"/>
              <a:gd name="T12" fmla="*/ 13 w 23"/>
              <a:gd name="T13" fmla="*/ 0 h 13"/>
              <a:gd name="T14" fmla="*/ 19 w 23"/>
              <a:gd name="T15" fmla="*/ 1 h 13"/>
              <a:gd name="T16" fmla="*/ 22 w 23"/>
              <a:gd name="T17" fmla="*/ 2 h 13"/>
              <a:gd name="T18" fmla="*/ 23 w 23"/>
              <a:gd name="T19" fmla="*/ 4 h 13"/>
              <a:gd name="T20" fmla="*/ 23 w 23"/>
              <a:gd name="T2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" h="13">
                <a:moveTo>
                  <a:pt x="23" y="4"/>
                </a:moveTo>
                <a:lnTo>
                  <a:pt x="23" y="4"/>
                </a:lnTo>
                <a:cubicBezTo>
                  <a:pt x="22" y="6"/>
                  <a:pt x="20" y="9"/>
                  <a:pt x="15" y="10"/>
                </a:cubicBezTo>
                <a:cubicBezTo>
                  <a:pt x="11" y="12"/>
                  <a:pt x="7" y="13"/>
                  <a:pt x="5" y="12"/>
                </a:cubicBezTo>
                <a:cubicBezTo>
                  <a:pt x="1" y="12"/>
                  <a:pt x="0" y="11"/>
                  <a:pt x="0" y="9"/>
                </a:cubicBezTo>
                <a:cubicBezTo>
                  <a:pt x="0" y="7"/>
                  <a:pt x="3" y="5"/>
                  <a:pt x="7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14" y="0"/>
                  <a:pt x="16" y="0"/>
                  <a:pt x="19" y="1"/>
                </a:cubicBezTo>
                <a:cubicBezTo>
                  <a:pt x="20" y="1"/>
                  <a:pt x="21" y="1"/>
                  <a:pt x="22" y="2"/>
                </a:cubicBezTo>
                <a:cubicBezTo>
                  <a:pt x="23" y="3"/>
                  <a:pt x="23" y="3"/>
                  <a:pt x="23" y="4"/>
                </a:cubicBezTo>
                <a:lnTo>
                  <a:pt x="23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2" name="Freeform 398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3" name="Freeform 399"/>
          <p:cNvSpPr/>
          <p:nvPr/>
        </p:nvSpPr>
        <p:spPr bwMode="auto">
          <a:xfrm>
            <a:off x="6992933" y="2330424"/>
            <a:ext cx="19216" cy="19216"/>
          </a:xfrm>
          <a:custGeom>
            <a:avLst/>
            <a:gdLst>
              <a:gd name="T0" fmla="*/ 18 w 18"/>
              <a:gd name="T1" fmla="*/ 5 h 18"/>
              <a:gd name="T2" fmla="*/ 18 w 18"/>
              <a:gd name="T3" fmla="*/ 5 h 18"/>
              <a:gd name="T4" fmla="*/ 5 w 18"/>
              <a:gd name="T5" fmla="*/ 17 h 18"/>
              <a:gd name="T6" fmla="*/ 0 w 18"/>
              <a:gd name="T7" fmla="*/ 13 h 18"/>
              <a:gd name="T8" fmla="*/ 6 w 18"/>
              <a:gd name="T9" fmla="*/ 6 h 18"/>
              <a:gd name="T10" fmla="*/ 15 w 18"/>
              <a:gd name="T11" fmla="*/ 0 h 18"/>
              <a:gd name="T12" fmla="*/ 15 w 18"/>
              <a:gd name="T13" fmla="*/ 0 h 18"/>
              <a:gd name="T14" fmla="*/ 18 w 18"/>
              <a:gd name="T15" fmla="*/ 5 h 18"/>
              <a:gd name="T16" fmla="*/ 18 w 18"/>
              <a:gd name="T17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8">
                <a:moveTo>
                  <a:pt x="18" y="5"/>
                </a:moveTo>
                <a:lnTo>
                  <a:pt x="18" y="5"/>
                </a:lnTo>
                <a:cubicBezTo>
                  <a:pt x="17" y="14"/>
                  <a:pt x="13" y="18"/>
                  <a:pt x="5" y="17"/>
                </a:cubicBezTo>
                <a:cubicBezTo>
                  <a:pt x="2" y="16"/>
                  <a:pt x="0" y="15"/>
                  <a:pt x="0" y="13"/>
                </a:cubicBezTo>
                <a:cubicBezTo>
                  <a:pt x="0" y="11"/>
                  <a:pt x="2" y="8"/>
                  <a:pt x="6" y="6"/>
                </a:cubicBezTo>
                <a:cubicBezTo>
                  <a:pt x="10" y="3"/>
                  <a:pt x="13" y="1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2"/>
                  <a:pt x="18" y="3"/>
                  <a:pt x="18" y="5"/>
                </a:cubicBezTo>
                <a:lnTo>
                  <a:pt x="18" y="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4" name="Freeform 400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5" name="Freeform 401"/>
          <p:cNvSpPr/>
          <p:nvPr/>
        </p:nvSpPr>
        <p:spPr bwMode="auto">
          <a:xfrm>
            <a:off x="7029618" y="2328677"/>
            <a:ext cx="1747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cubicBezTo>
                  <a:pt x="1" y="0"/>
                  <a:pt x="1" y="0"/>
                  <a:pt x="1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6" name="Freeform 402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7" name="Freeform 403"/>
          <p:cNvSpPr/>
          <p:nvPr/>
        </p:nvSpPr>
        <p:spPr bwMode="auto">
          <a:xfrm>
            <a:off x="7017389" y="2271030"/>
            <a:ext cx="27950" cy="57647"/>
          </a:xfrm>
          <a:custGeom>
            <a:avLst/>
            <a:gdLst>
              <a:gd name="T0" fmla="*/ 1 w 27"/>
              <a:gd name="T1" fmla="*/ 39 h 55"/>
              <a:gd name="T2" fmla="*/ 1 w 27"/>
              <a:gd name="T3" fmla="*/ 39 h 55"/>
              <a:gd name="T4" fmla="*/ 4 w 27"/>
              <a:gd name="T5" fmla="*/ 28 h 55"/>
              <a:gd name="T6" fmla="*/ 8 w 27"/>
              <a:gd name="T7" fmla="*/ 19 h 55"/>
              <a:gd name="T8" fmla="*/ 13 w 27"/>
              <a:gd name="T9" fmla="*/ 10 h 55"/>
              <a:gd name="T10" fmla="*/ 18 w 27"/>
              <a:gd name="T11" fmla="*/ 0 h 55"/>
              <a:gd name="T12" fmla="*/ 19 w 27"/>
              <a:gd name="T13" fmla="*/ 0 h 55"/>
              <a:gd name="T14" fmla="*/ 18 w 27"/>
              <a:gd name="T15" fmla="*/ 1 h 55"/>
              <a:gd name="T16" fmla="*/ 21 w 27"/>
              <a:gd name="T17" fmla="*/ 3 h 55"/>
              <a:gd name="T18" fmla="*/ 22 w 27"/>
              <a:gd name="T19" fmla="*/ 6 h 55"/>
              <a:gd name="T20" fmla="*/ 20 w 27"/>
              <a:gd name="T21" fmla="*/ 12 h 55"/>
              <a:gd name="T22" fmla="*/ 24 w 27"/>
              <a:gd name="T23" fmla="*/ 19 h 55"/>
              <a:gd name="T24" fmla="*/ 27 w 27"/>
              <a:gd name="T25" fmla="*/ 23 h 55"/>
              <a:gd name="T26" fmla="*/ 23 w 27"/>
              <a:gd name="T27" fmla="*/ 30 h 55"/>
              <a:gd name="T28" fmla="*/ 15 w 27"/>
              <a:gd name="T29" fmla="*/ 24 h 55"/>
              <a:gd name="T30" fmla="*/ 14 w 27"/>
              <a:gd name="T31" fmla="*/ 24 h 55"/>
              <a:gd name="T32" fmla="*/ 14 w 27"/>
              <a:gd name="T33" fmla="*/ 25 h 55"/>
              <a:gd name="T34" fmla="*/ 16 w 27"/>
              <a:gd name="T35" fmla="*/ 32 h 55"/>
              <a:gd name="T36" fmla="*/ 14 w 27"/>
              <a:gd name="T37" fmla="*/ 39 h 55"/>
              <a:gd name="T38" fmla="*/ 12 w 27"/>
              <a:gd name="T39" fmla="*/ 42 h 55"/>
              <a:gd name="T40" fmla="*/ 10 w 27"/>
              <a:gd name="T41" fmla="*/ 44 h 55"/>
              <a:gd name="T42" fmla="*/ 13 w 27"/>
              <a:gd name="T43" fmla="*/ 55 h 55"/>
              <a:gd name="T44" fmla="*/ 12 w 27"/>
              <a:gd name="T45" fmla="*/ 55 h 55"/>
              <a:gd name="T46" fmla="*/ 1 w 27"/>
              <a:gd name="T47" fmla="*/ 39 h 55"/>
              <a:gd name="T48" fmla="*/ 1 w 27"/>
              <a:gd name="T49" fmla="*/ 39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55">
                <a:moveTo>
                  <a:pt x="1" y="39"/>
                </a:moveTo>
                <a:lnTo>
                  <a:pt x="1" y="39"/>
                </a:lnTo>
                <a:cubicBezTo>
                  <a:pt x="1" y="37"/>
                  <a:pt x="2" y="33"/>
                  <a:pt x="4" y="28"/>
                </a:cubicBezTo>
                <a:cubicBezTo>
                  <a:pt x="5" y="23"/>
                  <a:pt x="7" y="20"/>
                  <a:pt x="8" y="19"/>
                </a:cubicBezTo>
                <a:cubicBezTo>
                  <a:pt x="10" y="15"/>
                  <a:pt x="12" y="12"/>
                  <a:pt x="13" y="10"/>
                </a:cubicBezTo>
                <a:cubicBezTo>
                  <a:pt x="15" y="3"/>
                  <a:pt x="17" y="0"/>
                  <a:pt x="18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1"/>
                  <a:pt x="18" y="1"/>
                </a:cubicBezTo>
                <a:cubicBezTo>
                  <a:pt x="19" y="1"/>
                  <a:pt x="20" y="2"/>
                  <a:pt x="21" y="3"/>
                </a:cubicBezTo>
                <a:cubicBezTo>
                  <a:pt x="22" y="3"/>
                  <a:pt x="22" y="4"/>
                  <a:pt x="22" y="6"/>
                </a:cubicBezTo>
                <a:cubicBezTo>
                  <a:pt x="22" y="7"/>
                  <a:pt x="21" y="10"/>
                  <a:pt x="20" y="12"/>
                </a:cubicBezTo>
                <a:cubicBezTo>
                  <a:pt x="20" y="15"/>
                  <a:pt x="21" y="17"/>
                  <a:pt x="24" y="19"/>
                </a:cubicBezTo>
                <a:cubicBezTo>
                  <a:pt x="26" y="21"/>
                  <a:pt x="27" y="22"/>
                  <a:pt x="27" y="23"/>
                </a:cubicBezTo>
                <a:lnTo>
                  <a:pt x="23" y="30"/>
                </a:lnTo>
                <a:cubicBezTo>
                  <a:pt x="23" y="29"/>
                  <a:pt x="20" y="28"/>
                  <a:pt x="15" y="24"/>
                </a:cubicBezTo>
                <a:cubicBezTo>
                  <a:pt x="15" y="24"/>
                  <a:pt x="15" y="24"/>
                  <a:pt x="14" y="24"/>
                </a:cubicBezTo>
                <a:lnTo>
                  <a:pt x="14" y="25"/>
                </a:lnTo>
                <a:cubicBezTo>
                  <a:pt x="14" y="26"/>
                  <a:pt x="15" y="28"/>
                  <a:pt x="16" y="32"/>
                </a:cubicBezTo>
                <a:cubicBezTo>
                  <a:pt x="16" y="34"/>
                  <a:pt x="15" y="36"/>
                  <a:pt x="14" y="39"/>
                </a:cubicBezTo>
                <a:cubicBezTo>
                  <a:pt x="14" y="41"/>
                  <a:pt x="13" y="41"/>
                  <a:pt x="12" y="42"/>
                </a:cubicBezTo>
                <a:cubicBezTo>
                  <a:pt x="11" y="42"/>
                  <a:pt x="10" y="43"/>
                  <a:pt x="10" y="44"/>
                </a:cubicBezTo>
                <a:cubicBezTo>
                  <a:pt x="10" y="45"/>
                  <a:pt x="11" y="49"/>
                  <a:pt x="13" y="55"/>
                </a:cubicBezTo>
                <a:lnTo>
                  <a:pt x="12" y="55"/>
                </a:lnTo>
                <a:cubicBezTo>
                  <a:pt x="4" y="50"/>
                  <a:pt x="0" y="44"/>
                  <a:pt x="1" y="39"/>
                </a:cubicBezTo>
                <a:lnTo>
                  <a:pt x="1" y="3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8" name="Freeform 404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9" name="Freeform 405"/>
          <p:cNvSpPr/>
          <p:nvPr/>
        </p:nvSpPr>
        <p:spPr bwMode="auto">
          <a:xfrm>
            <a:off x="7036605" y="2257055"/>
            <a:ext cx="20962" cy="15722"/>
          </a:xfrm>
          <a:custGeom>
            <a:avLst/>
            <a:gdLst>
              <a:gd name="T0" fmla="*/ 13 w 19"/>
              <a:gd name="T1" fmla="*/ 2 h 15"/>
              <a:gd name="T2" fmla="*/ 13 w 19"/>
              <a:gd name="T3" fmla="*/ 2 h 15"/>
              <a:gd name="T4" fmla="*/ 15 w 19"/>
              <a:gd name="T5" fmla="*/ 2 h 15"/>
              <a:gd name="T6" fmla="*/ 19 w 19"/>
              <a:gd name="T7" fmla="*/ 3 h 15"/>
              <a:gd name="T8" fmla="*/ 18 w 19"/>
              <a:gd name="T9" fmla="*/ 8 h 15"/>
              <a:gd name="T10" fmla="*/ 14 w 19"/>
              <a:gd name="T11" fmla="*/ 13 h 15"/>
              <a:gd name="T12" fmla="*/ 7 w 19"/>
              <a:gd name="T13" fmla="*/ 14 h 15"/>
              <a:gd name="T14" fmla="*/ 2 w 19"/>
              <a:gd name="T15" fmla="*/ 12 h 15"/>
              <a:gd name="T16" fmla="*/ 0 w 19"/>
              <a:gd name="T17" fmla="*/ 2 h 15"/>
              <a:gd name="T18" fmla="*/ 3 w 19"/>
              <a:gd name="T19" fmla="*/ 0 h 15"/>
              <a:gd name="T20" fmla="*/ 11 w 19"/>
              <a:gd name="T21" fmla="*/ 3 h 15"/>
              <a:gd name="T22" fmla="*/ 9 w 19"/>
              <a:gd name="T23" fmla="*/ 3 h 15"/>
              <a:gd name="T24" fmla="*/ 11 w 19"/>
              <a:gd name="T25" fmla="*/ 3 h 15"/>
              <a:gd name="T26" fmla="*/ 13 w 19"/>
              <a:gd name="T27" fmla="*/ 2 h 15"/>
              <a:gd name="T28" fmla="*/ 13 w 19"/>
              <a:gd name="T2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15">
                <a:moveTo>
                  <a:pt x="13" y="2"/>
                </a:moveTo>
                <a:lnTo>
                  <a:pt x="13" y="2"/>
                </a:lnTo>
                <a:cubicBezTo>
                  <a:pt x="13" y="2"/>
                  <a:pt x="14" y="2"/>
                  <a:pt x="15" y="2"/>
                </a:cubicBezTo>
                <a:cubicBezTo>
                  <a:pt x="16" y="2"/>
                  <a:pt x="18" y="3"/>
                  <a:pt x="19" y="3"/>
                </a:cubicBezTo>
                <a:lnTo>
                  <a:pt x="18" y="8"/>
                </a:lnTo>
                <a:cubicBezTo>
                  <a:pt x="17" y="9"/>
                  <a:pt x="15" y="11"/>
                  <a:pt x="14" y="13"/>
                </a:cubicBezTo>
                <a:cubicBezTo>
                  <a:pt x="12" y="14"/>
                  <a:pt x="10" y="15"/>
                  <a:pt x="7" y="14"/>
                </a:cubicBezTo>
                <a:cubicBezTo>
                  <a:pt x="5" y="14"/>
                  <a:pt x="3" y="13"/>
                  <a:pt x="2" y="12"/>
                </a:cubicBezTo>
                <a:cubicBezTo>
                  <a:pt x="0" y="10"/>
                  <a:pt x="0" y="7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6" y="1"/>
                  <a:pt x="9" y="2"/>
                  <a:pt x="11" y="3"/>
                </a:cubicBezTo>
                <a:cubicBezTo>
                  <a:pt x="11" y="3"/>
                  <a:pt x="10" y="3"/>
                  <a:pt x="9" y="3"/>
                </a:cubicBezTo>
                <a:cubicBezTo>
                  <a:pt x="10" y="3"/>
                  <a:pt x="11" y="3"/>
                  <a:pt x="11" y="3"/>
                </a:cubicBezTo>
                <a:cubicBezTo>
                  <a:pt x="12" y="3"/>
                  <a:pt x="12" y="2"/>
                  <a:pt x="13" y="2"/>
                </a:cubicBezTo>
                <a:lnTo>
                  <a:pt x="13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0" name="Freeform 407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1" name="Freeform 408"/>
          <p:cNvSpPr/>
          <p:nvPr/>
        </p:nvSpPr>
        <p:spPr bwMode="auto">
          <a:xfrm flipH="1">
            <a:off x="7057567" y="2246574"/>
            <a:ext cx="0" cy="0"/>
          </a:xfrm>
          <a:custGeom>
            <a:avLst/>
            <a:gdLst>
              <a:gd name="T0" fmla="*/ 1 w 1"/>
              <a:gd name="T1" fmla="*/ 1 w 1"/>
              <a:gd name="T2" fmla="*/ 0 w 1"/>
              <a:gd name="T3" fmla="*/ 1 w 1"/>
              <a:gd name="T4" fmla="*/ 1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cubicBezTo>
                  <a:pt x="1" y="0"/>
                  <a:pt x="0" y="0"/>
                  <a:pt x="0" y="0"/>
                </a:cubicBez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2" name="Freeform 409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3" name="Freeform 410"/>
          <p:cNvSpPr/>
          <p:nvPr/>
        </p:nvSpPr>
        <p:spPr bwMode="auto">
          <a:xfrm>
            <a:off x="7057567" y="2244828"/>
            <a:ext cx="1747" cy="1747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0 w 1"/>
              <a:gd name="T5" fmla="*/ 0 h 1"/>
              <a:gd name="T6" fmla="*/ 1 w 1"/>
              <a:gd name="T7" fmla="*/ 0 h 1"/>
              <a:gd name="T8" fmla="*/ 0 w 1"/>
              <a:gd name="T9" fmla="*/ 1 h 1"/>
              <a:gd name="T10" fmla="*/ 0 w 1"/>
              <a:gd name="T11" fmla="*/ 1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ubicBezTo>
                  <a:pt x="1" y="1"/>
                  <a:pt x="1" y="1"/>
                  <a:pt x="0" y="1"/>
                </a:cubicBezTo>
                <a:cubicBezTo>
                  <a:pt x="0" y="1"/>
                  <a:pt x="0" y="1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4" name="Freeform 411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5" name="Freeform 412"/>
          <p:cNvSpPr/>
          <p:nvPr/>
        </p:nvSpPr>
        <p:spPr bwMode="auto">
          <a:xfrm>
            <a:off x="7036604" y="2220372"/>
            <a:ext cx="38431" cy="26204"/>
          </a:xfrm>
          <a:custGeom>
            <a:avLst/>
            <a:gdLst>
              <a:gd name="T0" fmla="*/ 21 w 37"/>
              <a:gd name="T1" fmla="*/ 25 h 25"/>
              <a:gd name="T2" fmla="*/ 21 w 37"/>
              <a:gd name="T3" fmla="*/ 25 h 25"/>
              <a:gd name="T4" fmla="*/ 10 w 37"/>
              <a:gd name="T5" fmla="*/ 18 h 25"/>
              <a:gd name="T6" fmla="*/ 1 w 37"/>
              <a:gd name="T7" fmla="*/ 11 h 25"/>
              <a:gd name="T8" fmla="*/ 8 w 37"/>
              <a:gd name="T9" fmla="*/ 5 h 25"/>
              <a:gd name="T10" fmla="*/ 18 w 37"/>
              <a:gd name="T11" fmla="*/ 1 h 25"/>
              <a:gd name="T12" fmla="*/ 29 w 37"/>
              <a:gd name="T13" fmla="*/ 4 h 25"/>
              <a:gd name="T14" fmla="*/ 34 w 37"/>
              <a:gd name="T15" fmla="*/ 7 h 25"/>
              <a:gd name="T16" fmla="*/ 36 w 37"/>
              <a:gd name="T17" fmla="*/ 12 h 25"/>
              <a:gd name="T18" fmla="*/ 23 w 37"/>
              <a:gd name="T19" fmla="*/ 25 h 25"/>
              <a:gd name="T20" fmla="*/ 22 w 37"/>
              <a:gd name="T21" fmla="*/ 24 h 25"/>
              <a:gd name="T22" fmla="*/ 21 w 37"/>
              <a:gd name="T23" fmla="*/ 24 h 25"/>
              <a:gd name="T24" fmla="*/ 21 w 37"/>
              <a:gd name="T25" fmla="*/ 25 h 25"/>
              <a:gd name="T26" fmla="*/ 21 w 37"/>
              <a:gd name="T2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" h="25">
                <a:moveTo>
                  <a:pt x="21" y="25"/>
                </a:moveTo>
                <a:lnTo>
                  <a:pt x="21" y="25"/>
                </a:lnTo>
                <a:cubicBezTo>
                  <a:pt x="19" y="24"/>
                  <a:pt x="16" y="21"/>
                  <a:pt x="10" y="18"/>
                </a:cubicBezTo>
                <a:cubicBezTo>
                  <a:pt x="4" y="14"/>
                  <a:pt x="0" y="12"/>
                  <a:pt x="1" y="11"/>
                </a:cubicBezTo>
                <a:cubicBezTo>
                  <a:pt x="1" y="10"/>
                  <a:pt x="3" y="7"/>
                  <a:pt x="8" y="5"/>
                </a:cubicBezTo>
                <a:cubicBezTo>
                  <a:pt x="13" y="2"/>
                  <a:pt x="17" y="0"/>
                  <a:pt x="18" y="1"/>
                </a:cubicBezTo>
                <a:cubicBezTo>
                  <a:pt x="23" y="1"/>
                  <a:pt x="27" y="2"/>
                  <a:pt x="29" y="4"/>
                </a:cubicBezTo>
                <a:cubicBezTo>
                  <a:pt x="29" y="5"/>
                  <a:pt x="30" y="5"/>
                  <a:pt x="34" y="7"/>
                </a:cubicBezTo>
                <a:cubicBezTo>
                  <a:pt x="36" y="8"/>
                  <a:pt x="37" y="10"/>
                  <a:pt x="36" y="12"/>
                </a:cubicBezTo>
                <a:cubicBezTo>
                  <a:pt x="36" y="18"/>
                  <a:pt x="31" y="22"/>
                  <a:pt x="23" y="25"/>
                </a:cubicBezTo>
                <a:cubicBezTo>
                  <a:pt x="23" y="24"/>
                  <a:pt x="22" y="24"/>
                  <a:pt x="22" y="24"/>
                </a:cubicBezTo>
                <a:lnTo>
                  <a:pt x="21" y="24"/>
                </a:lnTo>
                <a:lnTo>
                  <a:pt x="21" y="25"/>
                </a:lnTo>
                <a:lnTo>
                  <a:pt x="21" y="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6" name="Freeform 413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7" name="Freeform 414"/>
          <p:cNvSpPr/>
          <p:nvPr/>
        </p:nvSpPr>
        <p:spPr bwMode="auto">
          <a:xfrm>
            <a:off x="7047086" y="2248321"/>
            <a:ext cx="15722" cy="6987"/>
          </a:xfrm>
          <a:custGeom>
            <a:avLst/>
            <a:gdLst>
              <a:gd name="T0" fmla="*/ 8 w 15"/>
              <a:gd name="T1" fmla="*/ 1 h 8"/>
              <a:gd name="T2" fmla="*/ 8 w 15"/>
              <a:gd name="T3" fmla="*/ 1 h 8"/>
              <a:gd name="T4" fmla="*/ 9 w 15"/>
              <a:gd name="T5" fmla="*/ 1 h 8"/>
              <a:gd name="T6" fmla="*/ 10 w 15"/>
              <a:gd name="T7" fmla="*/ 2 h 8"/>
              <a:gd name="T8" fmla="*/ 11 w 15"/>
              <a:gd name="T9" fmla="*/ 2 h 8"/>
              <a:gd name="T10" fmla="*/ 15 w 15"/>
              <a:gd name="T11" fmla="*/ 6 h 8"/>
              <a:gd name="T12" fmla="*/ 7 w 15"/>
              <a:gd name="T13" fmla="*/ 8 h 8"/>
              <a:gd name="T14" fmla="*/ 6 w 15"/>
              <a:gd name="T15" fmla="*/ 8 h 8"/>
              <a:gd name="T16" fmla="*/ 0 w 15"/>
              <a:gd name="T17" fmla="*/ 5 h 8"/>
              <a:gd name="T18" fmla="*/ 2 w 15"/>
              <a:gd name="T19" fmla="*/ 1 h 8"/>
              <a:gd name="T20" fmla="*/ 4 w 15"/>
              <a:gd name="T21" fmla="*/ 0 h 8"/>
              <a:gd name="T22" fmla="*/ 5 w 15"/>
              <a:gd name="T23" fmla="*/ 1 h 8"/>
              <a:gd name="T24" fmla="*/ 6 w 15"/>
              <a:gd name="T25" fmla="*/ 1 h 8"/>
              <a:gd name="T26" fmla="*/ 7 w 15"/>
              <a:gd name="T27" fmla="*/ 1 h 8"/>
              <a:gd name="T28" fmla="*/ 8 w 15"/>
              <a:gd name="T29" fmla="*/ 1 h 8"/>
              <a:gd name="T30" fmla="*/ 8 w 15"/>
              <a:gd name="T3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8">
                <a:moveTo>
                  <a:pt x="8" y="1"/>
                </a:moveTo>
                <a:lnTo>
                  <a:pt x="8" y="1"/>
                </a:lnTo>
                <a:lnTo>
                  <a:pt x="9" y="1"/>
                </a:lnTo>
                <a:cubicBezTo>
                  <a:pt x="9" y="1"/>
                  <a:pt x="10" y="2"/>
                  <a:pt x="10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4" y="3"/>
                  <a:pt x="15" y="4"/>
                  <a:pt x="15" y="6"/>
                </a:cubicBezTo>
                <a:cubicBezTo>
                  <a:pt x="15" y="8"/>
                  <a:pt x="12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2" y="8"/>
                  <a:pt x="0" y="6"/>
                  <a:pt x="0" y="5"/>
                </a:cubicBezTo>
                <a:cubicBezTo>
                  <a:pt x="0" y="3"/>
                  <a:pt x="0" y="2"/>
                  <a:pt x="2" y="1"/>
                </a:cubicBezTo>
                <a:cubicBezTo>
                  <a:pt x="3" y="1"/>
                  <a:pt x="4" y="0"/>
                  <a:pt x="4" y="0"/>
                </a:cubicBezTo>
                <a:cubicBezTo>
                  <a:pt x="5" y="0"/>
                  <a:pt x="5" y="1"/>
                  <a:pt x="5" y="1"/>
                </a:cubicBezTo>
                <a:cubicBezTo>
                  <a:pt x="5" y="1"/>
                  <a:pt x="6" y="1"/>
                  <a:pt x="6" y="1"/>
                </a:cubicBezTo>
                <a:cubicBezTo>
                  <a:pt x="6" y="1"/>
                  <a:pt x="7" y="1"/>
                  <a:pt x="7" y="1"/>
                </a:cubicBezTo>
                <a:cubicBezTo>
                  <a:pt x="8" y="1"/>
                  <a:pt x="8" y="1"/>
                  <a:pt x="8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8" name="Freeform 415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9" name="Freeform 416"/>
          <p:cNvSpPr/>
          <p:nvPr/>
        </p:nvSpPr>
        <p:spPr bwMode="auto">
          <a:xfrm>
            <a:off x="7169366" y="2332171"/>
            <a:ext cx="1747" cy="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1 w 1"/>
              <a:gd name="T5" fmla="*/ 1 h 1"/>
              <a:gd name="T6" fmla="*/ 0 w 1"/>
              <a:gd name="T7" fmla="*/ 1 h 1"/>
              <a:gd name="T8" fmla="*/ 0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1"/>
                  <a:pt x="1" y="1"/>
                </a:cubicBezTo>
                <a:cubicBezTo>
                  <a:pt x="1" y="1"/>
                  <a:pt x="0" y="1"/>
                  <a:pt x="0" y="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0" name="Freeform 417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1" name="Freeform 418"/>
          <p:cNvSpPr/>
          <p:nvPr/>
        </p:nvSpPr>
        <p:spPr bwMode="auto">
          <a:xfrm>
            <a:off x="7157139" y="2300727"/>
            <a:ext cx="15722" cy="31444"/>
          </a:xfrm>
          <a:custGeom>
            <a:avLst/>
            <a:gdLst>
              <a:gd name="T0" fmla="*/ 5 w 15"/>
              <a:gd name="T1" fmla="*/ 29 h 31"/>
              <a:gd name="T2" fmla="*/ 5 w 15"/>
              <a:gd name="T3" fmla="*/ 29 h 31"/>
              <a:gd name="T4" fmla="*/ 4 w 15"/>
              <a:gd name="T5" fmla="*/ 28 h 31"/>
              <a:gd name="T6" fmla="*/ 0 w 15"/>
              <a:gd name="T7" fmla="*/ 22 h 31"/>
              <a:gd name="T8" fmla="*/ 5 w 15"/>
              <a:gd name="T9" fmla="*/ 11 h 31"/>
              <a:gd name="T10" fmla="*/ 12 w 15"/>
              <a:gd name="T11" fmla="*/ 0 h 31"/>
              <a:gd name="T12" fmla="*/ 15 w 15"/>
              <a:gd name="T13" fmla="*/ 0 h 31"/>
              <a:gd name="T14" fmla="*/ 15 w 15"/>
              <a:gd name="T15" fmla="*/ 0 h 31"/>
              <a:gd name="T16" fmla="*/ 11 w 15"/>
              <a:gd name="T17" fmla="*/ 14 h 31"/>
              <a:gd name="T18" fmla="*/ 12 w 15"/>
              <a:gd name="T19" fmla="*/ 18 h 31"/>
              <a:gd name="T20" fmla="*/ 7 w 15"/>
              <a:gd name="T21" fmla="*/ 22 h 31"/>
              <a:gd name="T22" fmla="*/ 12 w 15"/>
              <a:gd name="T23" fmla="*/ 30 h 31"/>
              <a:gd name="T24" fmla="*/ 12 w 15"/>
              <a:gd name="T25" fmla="*/ 30 h 31"/>
              <a:gd name="T26" fmla="*/ 12 w 15"/>
              <a:gd name="T27" fmla="*/ 31 h 31"/>
              <a:gd name="T28" fmla="*/ 5 w 15"/>
              <a:gd name="T29" fmla="*/ 29 h 31"/>
              <a:gd name="T30" fmla="*/ 5 w 15"/>
              <a:gd name="T31" fmla="*/ 2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31">
                <a:moveTo>
                  <a:pt x="5" y="29"/>
                </a:moveTo>
                <a:lnTo>
                  <a:pt x="5" y="29"/>
                </a:lnTo>
                <a:cubicBezTo>
                  <a:pt x="5" y="28"/>
                  <a:pt x="4" y="28"/>
                  <a:pt x="4" y="28"/>
                </a:cubicBezTo>
                <a:cubicBezTo>
                  <a:pt x="1" y="26"/>
                  <a:pt x="0" y="24"/>
                  <a:pt x="0" y="22"/>
                </a:cubicBezTo>
                <a:cubicBezTo>
                  <a:pt x="0" y="20"/>
                  <a:pt x="2" y="16"/>
                  <a:pt x="5" y="11"/>
                </a:cubicBezTo>
                <a:cubicBezTo>
                  <a:pt x="8" y="6"/>
                  <a:pt x="10" y="2"/>
                  <a:pt x="12" y="0"/>
                </a:cubicBezTo>
                <a:lnTo>
                  <a:pt x="15" y="0"/>
                </a:lnTo>
                <a:cubicBezTo>
                  <a:pt x="15" y="0"/>
                  <a:pt x="15" y="0"/>
                  <a:pt x="15" y="0"/>
                </a:cubicBezTo>
                <a:cubicBezTo>
                  <a:pt x="15" y="2"/>
                  <a:pt x="14" y="6"/>
                  <a:pt x="11" y="14"/>
                </a:cubicBezTo>
                <a:cubicBezTo>
                  <a:pt x="11" y="15"/>
                  <a:pt x="11" y="16"/>
                  <a:pt x="12" y="18"/>
                </a:cubicBezTo>
                <a:cubicBezTo>
                  <a:pt x="11" y="20"/>
                  <a:pt x="10" y="21"/>
                  <a:pt x="7" y="22"/>
                </a:cubicBezTo>
                <a:cubicBezTo>
                  <a:pt x="8" y="24"/>
                  <a:pt x="9" y="27"/>
                  <a:pt x="12" y="30"/>
                </a:cubicBezTo>
                <a:cubicBezTo>
                  <a:pt x="12" y="30"/>
                  <a:pt x="12" y="30"/>
                  <a:pt x="12" y="30"/>
                </a:cubicBezTo>
                <a:lnTo>
                  <a:pt x="12" y="31"/>
                </a:lnTo>
                <a:cubicBezTo>
                  <a:pt x="10" y="31"/>
                  <a:pt x="8" y="30"/>
                  <a:pt x="5" y="29"/>
                </a:cubicBezTo>
                <a:lnTo>
                  <a:pt x="5" y="29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2" name="Freeform 419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3" name="Freeform 420"/>
          <p:cNvSpPr/>
          <p:nvPr/>
        </p:nvSpPr>
        <p:spPr bwMode="auto">
          <a:xfrm>
            <a:off x="7179847" y="2295486"/>
            <a:ext cx="1747" cy="0"/>
          </a:xfrm>
          <a:custGeom>
            <a:avLst/>
            <a:gdLst>
              <a:gd name="T0" fmla="*/ 3 w 3"/>
              <a:gd name="T1" fmla="*/ 1 h 1"/>
              <a:gd name="T2" fmla="*/ 3 w 3"/>
              <a:gd name="T3" fmla="*/ 1 h 1"/>
              <a:gd name="T4" fmla="*/ 0 w 3"/>
              <a:gd name="T5" fmla="*/ 0 h 1"/>
              <a:gd name="T6" fmla="*/ 0 w 3"/>
              <a:gd name="T7" fmla="*/ 0 h 1"/>
              <a:gd name="T8" fmla="*/ 3 w 3"/>
              <a:gd name="T9" fmla="*/ 1 h 1"/>
              <a:gd name="T10" fmla="*/ 3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3" y="1"/>
                </a:moveTo>
                <a:lnTo>
                  <a:pt x="3" y="1"/>
                </a:lnTo>
                <a:cubicBezTo>
                  <a:pt x="2" y="1"/>
                  <a:pt x="1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1"/>
                  <a:pt x="3" y="1"/>
                </a:cubicBezTo>
                <a:lnTo>
                  <a:pt x="3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4" name="Freeform 421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5" name="Freeform 422"/>
          <p:cNvSpPr/>
          <p:nvPr/>
        </p:nvSpPr>
        <p:spPr bwMode="auto">
          <a:xfrm>
            <a:off x="7176354" y="2281511"/>
            <a:ext cx="5241" cy="13975"/>
          </a:xfrm>
          <a:custGeom>
            <a:avLst/>
            <a:gdLst>
              <a:gd name="T0" fmla="*/ 1 w 6"/>
              <a:gd name="T1" fmla="*/ 11 h 13"/>
              <a:gd name="T2" fmla="*/ 1 w 6"/>
              <a:gd name="T3" fmla="*/ 11 h 13"/>
              <a:gd name="T4" fmla="*/ 0 w 6"/>
              <a:gd name="T5" fmla="*/ 9 h 13"/>
              <a:gd name="T6" fmla="*/ 5 w 6"/>
              <a:gd name="T7" fmla="*/ 0 h 13"/>
              <a:gd name="T8" fmla="*/ 6 w 6"/>
              <a:gd name="T9" fmla="*/ 5 h 13"/>
              <a:gd name="T10" fmla="*/ 3 w 6"/>
              <a:gd name="T11" fmla="*/ 13 h 13"/>
              <a:gd name="T12" fmla="*/ 1 w 6"/>
              <a:gd name="T13" fmla="*/ 11 h 13"/>
              <a:gd name="T14" fmla="*/ 1 w 6"/>
              <a:gd name="T15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3">
                <a:moveTo>
                  <a:pt x="1" y="11"/>
                </a:moveTo>
                <a:lnTo>
                  <a:pt x="1" y="11"/>
                </a:lnTo>
                <a:cubicBezTo>
                  <a:pt x="0" y="11"/>
                  <a:pt x="0" y="10"/>
                  <a:pt x="0" y="9"/>
                </a:cubicBezTo>
                <a:cubicBezTo>
                  <a:pt x="0" y="6"/>
                  <a:pt x="2" y="3"/>
                  <a:pt x="5" y="0"/>
                </a:cubicBezTo>
                <a:cubicBezTo>
                  <a:pt x="6" y="1"/>
                  <a:pt x="6" y="3"/>
                  <a:pt x="6" y="5"/>
                </a:cubicBezTo>
                <a:cubicBezTo>
                  <a:pt x="6" y="7"/>
                  <a:pt x="5" y="10"/>
                  <a:pt x="3" y="13"/>
                </a:cubicBezTo>
                <a:cubicBezTo>
                  <a:pt x="3" y="12"/>
                  <a:pt x="2" y="12"/>
                  <a:pt x="1" y="11"/>
                </a:cubicBezTo>
                <a:lnTo>
                  <a:pt x="1" y="1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6" name="Freeform 423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7" name="Freeform 424"/>
          <p:cNvSpPr/>
          <p:nvPr/>
        </p:nvSpPr>
        <p:spPr bwMode="auto">
          <a:xfrm>
            <a:off x="7137923" y="2176699"/>
            <a:ext cx="33191" cy="24456"/>
          </a:xfrm>
          <a:custGeom>
            <a:avLst/>
            <a:gdLst>
              <a:gd name="T0" fmla="*/ 3 w 33"/>
              <a:gd name="T1" fmla="*/ 7 h 24"/>
              <a:gd name="T2" fmla="*/ 3 w 33"/>
              <a:gd name="T3" fmla="*/ 7 h 24"/>
              <a:gd name="T4" fmla="*/ 10 w 33"/>
              <a:gd name="T5" fmla="*/ 3 h 24"/>
              <a:gd name="T6" fmla="*/ 24 w 33"/>
              <a:gd name="T7" fmla="*/ 0 h 24"/>
              <a:gd name="T8" fmla="*/ 33 w 33"/>
              <a:gd name="T9" fmla="*/ 3 h 24"/>
              <a:gd name="T10" fmla="*/ 32 w 33"/>
              <a:gd name="T11" fmla="*/ 13 h 24"/>
              <a:gd name="T12" fmla="*/ 29 w 33"/>
              <a:gd name="T13" fmla="*/ 16 h 24"/>
              <a:gd name="T14" fmla="*/ 25 w 33"/>
              <a:gd name="T15" fmla="*/ 14 h 24"/>
              <a:gd name="T16" fmla="*/ 24 w 33"/>
              <a:gd name="T17" fmla="*/ 14 h 24"/>
              <a:gd name="T18" fmla="*/ 24 w 33"/>
              <a:gd name="T19" fmla="*/ 14 h 24"/>
              <a:gd name="T20" fmla="*/ 18 w 33"/>
              <a:gd name="T21" fmla="*/ 21 h 24"/>
              <a:gd name="T22" fmla="*/ 6 w 33"/>
              <a:gd name="T23" fmla="*/ 23 h 24"/>
              <a:gd name="T24" fmla="*/ 3 w 33"/>
              <a:gd name="T25" fmla="*/ 18 h 24"/>
              <a:gd name="T26" fmla="*/ 0 w 33"/>
              <a:gd name="T27" fmla="*/ 10 h 24"/>
              <a:gd name="T28" fmla="*/ 1 w 33"/>
              <a:gd name="T29" fmla="*/ 8 h 24"/>
              <a:gd name="T30" fmla="*/ 3 w 33"/>
              <a:gd name="T31" fmla="*/ 7 h 24"/>
              <a:gd name="T32" fmla="*/ 3 w 33"/>
              <a:gd name="T33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3" h="24">
                <a:moveTo>
                  <a:pt x="3" y="7"/>
                </a:moveTo>
                <a:lnTo>
                  <a:pt x="3" y="7"/>
                </a:lnTo>
                <a:cubicBezTo>
                  <a:pt x="5" y="5"/>
                  <a:pt x="7" y="4"/>
                  <a:pt x="10" y="3"/>
                </a:cubicBezTo>
                <a:cubicBezTo>
                  <a:pt x="15" y="1"/>
                  <a:pt x="20" y="0"/>
                  <a:pt x="24" y="0"/>
                </a:cubicBezTo>
                <a:cubicBezTo>
                  <a:pt x="25" y="0"/>
                  <a:pt x="28" y="1"/>
                  <a:pt x="33" y="3"/>
                </a:cubicBezTo>
                <a:cubicBezTo>
                  <a:pt x="33" y="5"/>
                  <a:pt x="33" y="9"/>
                  <a:pt x="32" y="13"/>
                </a:cubicBezTo>
                <a:cubicBezTo>
                  <a:pt x="32" y="15"/>
                  <a:pt x="31" y="16"/>
                  <a:pt x="29" y="16"/>
                </a:cubicBezTo>
                <a:cubicBezTo>
                  <a:pt x="28" y="15"/>
                  <a:pt x="26" y="15"/>
                  <a:pt x="25" y="14"/>
                </a:cubicBezTo>
                <a:cubicBezTo>
                  <a:pt x="25" y="14"/>
                  <a:pt x="24" y="14"/>
                  <a:pt x="24" y="14"/>
                </a:cubicBezTo>
                <a:lnTo>
                  <a:pt x="24" y="14"/>
                </a:lnTo>
                <a:cubicBezTo>
                  <a:pt x="25" y="17"/>
                  <a:pt x="23" y="20"/>
                  <a:pt x="18" y="21"/>
                </a:cubicBezTo>
                <a:cubicBezTo>
                  <a:pt x="14" y="23"/>
                  <a:pt x="10" y="24"/>
                  <a:pt x="6" y="23"/>
                </a:cubicBezTo>
                <a:cubicBezTo>
                  <a:pt x="5" y="23"/>
                  <a:pt x="4" y="21"/>
                  <a:pt x="3" y="18"/>
                </a:cubicBezTo>
                <a:cubicBezTo>
                  <a:pt x="1" y="14"/>
                  <a:pt x="0" y="12"/>
                  <a:pt x="0" y="10"/>
                </a:cubicBezTo>
                <a:cubicBezTo>
                  <a:pt x="0" y="9"/>
                  <a:pt x="1" y="9"/>
                  <a:pt x="1" y="8"/>
                </a:cubicBezTo>
                <a:cubicBezTo>
                  <a:pt x="2" y="8"/>
                  <a:pt x="2" y="7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8" name="Freeform 425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9" name="Freeform 426"/>
          <p:cNvSpPr/>
          <p:nvPr/>
        </p:nvSpPr>
        <p:spPr bwMode="auto">
          <a:xfrm>
            <a:off x="7780769" y="1864011"/>
            <a:ext cx="13975" cy="24456"/>
          </a:xfrm>
          <a:custGeom>
            <a:avLst/>
            <a:gdLst>
              <a:gd name="T0" fmla="*/ 12 w 14"/>
              <a:gd name="T1" fmla="*/ 1 h 24"/>
              <a:gd name="T2" fmla="*/ 12 w 14"/>
              <a:gd name="T3" fmla="*/ 1 h 24"/>
              <a:gd name="T4" fmla="*/ 13 w 14"/>
              <a:gd name="T5" fmla="*/ 2 h 24"/>
              <a:gd name="T6" fmla="*/ 13 w 14"/>
              <a:gd name="T7" fmla="*/ 5 h 24"/>
              <a:gd name="T8" fmla="*/ 14 w 14"/>
              <a:gd name="T9" fmla="*/ 13 h 24"/>
              <a:gd name="T10" fmla="*/ 11 w 14"/>
              <a:gd name="T11" fmla="*/ 20 h 24"/>
              <a:gd name="T12" fmla="*/ 3 w 14"/>
              <a:gd name="T13" fmla="*/ 24 h 24"/>
              <a:gd name="T14" fmla="*/ 1 w 14"/>
              <a:gd name="T15" fmla="*/ 22 h 24"/>
              <a:gd name="T16" fmla="*/ 1 w 14"/>
              <a:gd name="T17" fmla="*/ 6 h 24"/>
              <a:gd name="T18" fmla="*/ 4 w 14"/>
              <a:gd name="T19" fmla="*/ 3 h 24"/>
              <a:gd name="T20" fmla="*/ 6 w 14"/>
              <a:gd name="T21" fmla="*/ 2 h 24"/>
              <a:gd name="T22" fmla="*/ 7 w 14"/>
              <a:gd name="T23" fmla="*/ 0 h 24"/>
              <a:gd name="T24" fmla="*/ 10 w 14"/>
              <a:gd name="T25" fmla="*/ 0 h 24"/>
              <a:gd name="T26" fmla="*/ 12 w 14"/>
              <a:gd name="T27" fmla="*/ 1 h 24"/>
              <a:gd name="T28" fmla="*/ 12 w 14"/>
              <a:gd name="T2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4">
                <a:moveTo>
                  <a:pt x="12" y="1"/>
                </a:moveTo>
                <a:lnTo>
                  <a:pt x="12" y="1"/>
                </a:lnTo>
                <a:cubicBezTo>
                  <a:pt x="12" y="1"/>
                  <a:pt x="13" y="1"/>
                  <a:pt x="13" y="2"/>
                </a:cubicBezTo>
                <a:cubicBezTo>
                  <a:pt x="13" y="2"/>
                  <a:pt x="13" y="3"/>
                  <a:pt x="13" y="5"/>
                </a:cubicBezTo>
                <a:cubicBezTo>
                  <a:pt x="14" y="10"/>
                  <a:pt x="14" y="12"/>
                  <a:pt x="14" y="13"/>
                </a:cubicBezTo>
                <a:cubicBezTo>
                  <a:pt x="14" y="14"/>
                  <a:pt x="13" y="17"/>
                  <a:pt x="11" y="20"/>
                </a:cubicBezTo>
                <a:cubicBezTo>
                  <a:pt x="8" y="23"/>
                  <a:pt x="6" y="24"/>
                  <a:pt x="3" y="24"/>
                </a:cubicBezTo>
                <a:cubicBezTo>
                  <a:pt x="3" y="24"/>
                  <a:pt x="2" y="24"/>
                  <a:pt x="1" y="22"/>
                </a:cubicBezTo>
                <a:cubicBezTo>
                  <a:pt x="0" y="20"/>
                  <a:pt x="0" y="14"/>
                  <a:pt x="1" y="6"/>
                </a:cubicBezTo>
                <a:cubicBezTo>
                  <a:pt x="1" y="6"/>
                  <a:pt x="2" y="5"/>
                  <a:pt x="4" y="3"/>
                </a:cubicBezTo>
                <a:cubicBezTo>
                  <a:pt x="4" y="3"/>
                  <a:pt x="5" y="2"/>
                  <a:pt x="6" y="2"/>
                </a:cubicBezTo>
                <a:cubicBezTo>
                  <a:pt x="6" y="1"/>
                  <a:pt x="7" y="1"/>
                  <a:pt x="7" y="0"/>
                </a:cubicBezTo>
                <a:cubicBezTo>
                  <a:pt x="8" y="0"/>
                  <a:pt x="9" y="0"/>
                  <a:pt x="10" y="0"/>
                </a:cubicBezTo>
                <a:cubicBezTo>
                  <a:pt x="11" y="0"/>
                  <a:pt x="11" y="0"/>
                  <a:pt x="12" y="1"/>
                </a:cubicBezTo>
                <a:lnTo>
                  <a:pt x="12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0" name="Freeform 427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1" name="Freeform 428"/>
          <p:cNvSpPr/>
          <p:nvPr/>
        </p:nvSpPr>
        <p:spPr bwMode="auto">
          <a:xfrm>
            <a:off x="7099492" y="2106825"/>
            <a:ext cx="115293" cy="99572"/>
          </a:xfrm>
          <a:custGeom>
            <a:avLst/>
            <a:gdLst>
              <a:gd name="T0" fmla="*/ 99 w 112"/>
              <a:gd name="T1" fmla="*/ 34 h 95"/>
              <a:gd name="T2" fmla="*/ 99 w 112"/>
              <a:gd name="T3" fmla="*/ 34 h 95"/>
              <a:gd name="T4" fmla="*/ 91 w 112"/>
              <a:gd name="T5" fmla="*/ 39 h 95"/>
              <a:gd name="T6" fmla="*/ 83 w 112"/>
              <a:gd name="T7" fmla="*/ 48 h 95"/>
              <a:gd name="T8" fmla="*/ 85 w 112"/>
              <a:gd name="T9" fmla="*/ 50 h 95"/>
              <a:gd name="T10" fmla="*/ 87 w 112"/>
              <a:gd name="T11" fmla="*/ 53 h 95"/>
              <a:gd name="T12" fmla="*/ 94 w 112"/>
              <a:gd name="T13" fmla="*/ 50 h 95"/>
              <a:gd name="T14" fmla="*/ 101 w 112"/>
              <a:gd name="T15" fmla="*/ 47 h 95"/>
              <a:gd name="T16" fmla="*/ 101 w 112"/>
              <a:gd name="T17" fmla="*/ 48 h 95"/>
              <a:gd name="T18" fmla="*/ 96 w 112"/>
              <a:gd name="T19" fmla="*/ 54 h 95"/>
              <a:gd name="T20" fmla="*/ 86 w 112"/>
              <a:gd name="T21" fmla="*/ 57 h 95"/>
              <a:gd name="T22" fmla="*/ 83 w 112"/>
              <a:gd name="T23" fmla="*/ 56 h 95"/>
              <a:gd name="T24" fmla="*/ 80 w 112"/>
              <a:gd name="T25" fmla="*/ 55 h 95"/>
              <a:gd name="T26" fmla="*/ 53 w 112"/>
              <a:gd name="T27" fmla="*/ 61 h 95"/>
              <a:gd name="T28" fmla="*/ 43 w 112"/>
              <a:gd name="T29" fmla="*/ 68 h 95"/>
              <a:gd name="T30" fmla="*/ 38 w 112"/>
              <a:gd name="T31" fmla="*/ 71 h 95"/>
              <a:gd name="T32" fmla="*/ 38 w 112"/>
              <a:gd name="T33" fmla="*/ 71 h 95"/>
              <a:gd name="T34" fmla="*/ 36 w 112"/>
              <a:gd name="T35" fmla="*/ 73 h 95"/>
              <a:gd name="T36" fmla="*/ 34 w 112"/>
              <a:gd name="T37" fmla="*/ 76 h 95"/>
              <a:gd name="T38" fmla="*/ 36 w 112"/>
              <a:gd name="T39" fmla="*/ 92 h 95"/>
              <a:gd name="T40" fmla="*/ 32 w 112"/>
              <a:gd name="T41" fmla="*/ 95 h 95"/>
              <a:gd name="T42" fmla="*/ 22 w 112"/>
              <a:gd name="T43" fmla="*/ 87 h 95"/>
              <a:gd name="T44" fmla="*/ 22 w 112"/>
              <a:gd name="T45" fmla="*/ 87 h 95"/>
              <a:gd name="T46" fmla="*/ 10 w 112"/>
              <a:gd name="T47" fmla="*/ 76 h 95"/>
              <a:gd name="T48" fmla="*/ 9 w 112"/>
              <a:gd name="T49" fmla="*/ 76 h 95"/>
              <a:gd name="T50" fmla="*/ 1 w 112"/>
              <a:gd name="T51" fmla="*/ 65 h 95"/>
              <a:gd name="T52" fmla="*/ 15 w 112"/>
              <a:gd name="T53" fmla="*/ 60 h 95"/>
              <a:gd name="T54" fmla="*/ 4 w 112"/>
              <a:gd name="T55" fmla="*/ 56 h 95"/>
              <a:gd name="T56" fmla="*/ 3 w 112"/>
              <a:gd name="T57" fmla="*/ 47 h 95"/>
              <a:gd name="T58" fmla="*/ 6 w 112"/>
              <a:gd name="T59" fmla="*/ 39 h 95"/>
              <a:gd name="T60" fmla="*/ 16 w 112"/>
              <a:gd name="T61" fmla="*/ 37 h 95"/>
              <a:gd name="T62" fmla="*/ 19 w 112"/>
              <a:gd name="T63" fmla="*/ 29 h 95"/>
              <a:gd name="T64" fmla="*/ 23 w 112"/>
              <a:gd name="T65" fmla="*/ 27 h 95"/>
              <a:gd name="T66" fmla="*/ 27 w 112"/>
              <a:gd name="T67" fmla="*/ 38 h 95"/>
              <a:gd name="T68" fmla="*/ 26 w 112"/>
              <a:gd name="T69" fmla="*/ 44 h 95"/>
              <a:gd name="T70" fmla="*/ 28 w 112"/>
              <a:gd name="T71" fmla="*/ 45 h 95"/>
              <a:gd name="T72" fmla="*/ 37 w 112"/>
              <a:gd name="T73" fmla="*/ 29 h 95"/>
              <a:gd name="T74" fmla="*/ 37 w 112"/>
              <a:gd name="T75" fmla="*/ 30 h 95"/>
              <a:gd name="T76" fmla="*/ 34 w 112"/>
              <a:gd name="T77" fmla="*/ 38 h 95"/>
              <a:gd name="T78" fmla="*/ 36 w 112"/>
              <a:gd name="T79" fmla="*/ 41 h 95"/>
              <a:gd name="T80" fmla="*/ 39 w 112"/>
              <a:gd name="T81" fmla="*/ 45 h 95"/>
              <a:gd name="T82" fmla="*/ 43 w 112"/>
              <a:gd name="T83" fmla="*/ 45 h 95"/>
              <a:gd name="T84" fmla="*/ 43 w 112"/>
              <a:gd name="T85" fmla="*/ 40 h 95"/>
              <a:gd name="T86" fmla="*/ 42 w 112"/>
              <a:gd name="T87" fmla="*/ 34 h 95"/>
              <a:gd name="T88" fmla="*/ 42 w 112"/>
              <a:gd name="T89" fmla="*/ 31 h 95"/>
              <a:gd name="T90" fmla="*/ 51 w 112"/>
              <a:gd name="T91" fmla="*/ 19 h 95"/>
              <a:gd name="T92" fmla="*/ 70 w 112"/>
              <a:gd name="T93" fmla="*/ 15 h 95"/>
              <a:gd name="T94" fmla="*/ 86 w 112"/>
              <a:gd name="T95" fmla="*/ 6 h 95"/>
              <a:gd name="T96" fmla="*/ 103 w 112"/>
              <a:gd name="T97" fmla="*/ 0 h 95"/>
              <a:gd name="T98" fmla="*/ 108 w 112"/>
              <a:gd name="T99" fmla="*/ 10 h 95"/>
              <a:gd name="T100" fmla="*/ 112 w 112"/>
              <a:gd name="T101" fmla="*/ 17 h 95"/>
              <a:gd name="T102" fmla="*/ 99 w 112"/>
              <a:gd name="T103" fmla="*/ 34 h 95"/>
              <a:gd name="T104" fmla="*/ 99 w 112"/>
              <a:gd name="T105" fmla="*/ 34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2" h="95">
                <a:moveTo>
                  <a:pt x="99" y="34"/>
                </a:moveTo>
                <a:lnTo>
                  <a:pt x="99" y="34"/>
                </a:lnTo>
                <a:cubicBezTo>
                  <a:pt x="99" y="34"/>
                  <a:pt x="96" y="36"/>
                  <a:pt x="91" y="39"/>
                </a:cubicBezTo>
                <a:cubicBezTo>
                  <a:pt x="86" y="42"/>
                  <a:pt x="84" y="45"/>
                  <a:pt x="83" y="48"/>
                </a:cubicBezTo>
                <a:cubicBezTo>
                  <a:pt x="83" y="48"/>
                  <a:pt x="84" y="49"/>
                  <a:pt x="85" y="50"/>
                </a:cubicBezTo>
                <a:cubicBezTo>
                  <a:pt x="85" y="52"/>
                  <a:pt x="86" y="53"/>
                  <a:pt x="87" y="53"/>
                </a:cubicBezTo>
                <a:cubicBezTo>
                  <a:pt x="88" y="53"/>
                  <a:pt x="91" y="52"/>
                  <a:pt x="94" y="50"/>
                </a:cubicBezTo>
                <a:cubicBezTo>
                  <a:pt x="98" y="49"/>
                  <a:pt x="100" y="48"/>
                  <a:pt x="101" y="47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1" y="50"/>
                  <a:pt x="99" y="52"/>
                  <a:pt x="96" y="54"/>
                </a:cubicBezTo>
                <a:cubicBezTo>
                  <a:pt x="92" y="57"/>
                  <a:pt x="89" y="58"/>
                  <a:pt x="86" y="57"/>
                </a:cubicBezTo>
                <a:cubicBezTo>
                  <a:pt x="84" y="57"/>
                  <a:pt x="84" y="57"/>
                  <a:pt x="83" y="56"/>
                </a:cubicBezTo>
                <a:cubicBezTo>
                  <a:pt x="82" y="55"/>
                  <a:pt x="81" y="55"/>
                  <a:pt x="80" y="55"/>
                </a:cubicBezTo>
                <a:cubicBezTo>
                  <a:pt x="78" y="61"/>
                  <a:pt x="70" y="63"/>
                  <a:pt x="53" y="61"/>
                </a:cubicBezTo>
                <a:cubicBezTo>
                  <a:pt x="52" y="61"/>
                  <a:pt x="48" y="63"/>
                  <a:pt x="43" y="68"/>
                </a:cubicBezTo>
                <a:cubicBezTo>
                  <a:pt x="41" y="69"/>
                  <a:pt x="39" y="70"/>
                  <a:pt x="38" y="71"/>
                </a:cubicBezTo>
                <a:lnTo>
                  <a:pt x="38" y="71"/>
                </a:lnTo>
                <a:cubicBezTo>
                  <a:pt x="37" y="72"/>
                  <a:pt x="36" y="73"/>
                  <a:pt x="36" y="73"/>
                </a:cubicBezTo>
                <a:cubicBezTo>
                  <a:pt x="35" y="75"/>
                  <a:pt x="34" y="76"/>
                  <a:pt x="34" y="76"/>
                </a:cubicBezTo>
                <a:cubicBezTo>
                  <a:pt x="33" y="79"/>
                  <a:pt x="34" y="84"/>
                  <a:pt x="36" y="92"/>
                </a:cubicBezTo>
                <a:cubicBezTo>
                  <a:pt x="36" y="94"/>
                  <a:pt x="34" y="95"/>
                  <a:pt x="32" y="95"/>
                </a:cubicBezTo>
                <a:cubicBezTo>
                  <a:pt x="28" y="92"/>
                  <a:pt x="25" y="89"/>
                  <a:pt x="22" y="87"/>
                </a:cubicBezTo>
                <a:lnTo>
                  <a:pt x="22" y="87"/>
                </a:lnTo>
                <a:cubicBezTo>
                  <a:pt x="17" y="83"/>
                  <a:pt x="13" y="79"/>
                  <a:pt x="10" y="76"/>
                </a:cubicBezTo>
                <a:lnTo>
                  <a:pt x="9" y="76"/>
                </a:lnTo>
                <a:cubicBezTo>
                  <a:pt x="3" y="70"/>
                  <a:pt x="0" y="67"/>
                  <a:pt x="1" y="65"/>
                </a:cubicBezTo>
                <a:cubicBezTo>
                  <a:pt x="1" y="64"/>
                  <a:pt x="5" y="62"/>
                  <a:pt x="15" y="60"/>
                </a:cubicBezTo>
                <a:cubicBezTo>
                  <a:pt x="9" y="60"/>
                  <a:pt x="6" y="58"/>
                  <a:pt x="4" y="56"/>
                </a:cubicBezTo>
                <a:cubicBezTo>
                  <a:pt x="3" y="54"/>
                  <a:pt x="3" y="51"/>
                  <a:pt x="3" y="47"/>
                </a:cubicBezTo>
                <a:cubicBezTo>
                  <a:pt x="4" y="42"/>
                  <a:pt x="5" y="40"/>
                  <a:pt x="6" y="39"/>
                </a:cubicBezTo>
                <a:cubicBezTo>
                  <a:pt x="8" y="37"/>
                  <a:pt x="11" y="37"/>
                  <a:pt x="16" y="37"/>
                </a:cubicBezTo>
                <a:cubicBezTo>
                  <a:pt x="16" y="36"/>
                  <a:pt x="17" y="33"/>
                  <a:pt x="19" y="29"/>
                </a:cubicBezTo>
                <a:cubicBezTo>
                  <a:pt x="19" y="27"/>
                  <a:pt x="21" y="26"/>
                  <a:pt x="23" y="27"/>
                </a:cubicBezTo>
                <a:cubicBezTo>
                  <a:pt x="26" y="27"/>
                  <a:pt x="28" y="31"/>
                  <a:pt x="27" y="38"/>
                </a:cubicBezTo>
                <a:lnTo>
                  <a:pt x="26" y="44"/>
                </a:lnTo>
                <a:lnTo>
                  <a:pt x="28" y="45"/>
                </a:lnTo>
                <a:cubicBezTo>
                  <a:pt x="31" y="35"/>
                  <a:pt x="34" y="29"/>
                  <a:pt x="37" y="29"/>
                </a:cubicBezTo>
                <a:cubicBezTo>
                  <a:pt x="37" y="29"/>
                  <a:pt x="37" y="30"/>
                  <a:pt x="37" y="30"/>
                </a:cubicBezTo>
                <a:cubicBezTo>
                  <a:pt x="37" y="32"/>
                  <a:pt x="36" y="35"/>
                  <a:pt x="34" y="38"/>
                </a:cubicBezTo>
                <a:cubicBezTo>
                  <a:pt x="34" y="39"/>
                  <a:pt x="35" y="40"/>
                  <a:pt x="36" y="41"/>
                </a:cubicBezTo>
                <a:cubicBezTo>
                  <a:pt x="38" y="42"/>
                  <a:pt x="39" y="43"/>
                  <a:pt x="39" y="45"/>
                </a:cubicBezTo>
                <a:lnTo>
                  <a:pt x="43" y="45"/>
                </a:lnTo>
                <a:lnTo>
                  <a:pt x="43" y="40"/>
                </a:lnTo>
                <a:cubicBezTo>
                  <a:pt x="42" y="36"/>
                  <a:pt x="42" y="34"/>
                  <a:pt x="42" y="34"/>
                </a:cubicBezTo>
                <a:cubicBezTo>
                  <a:pt x="42" y="33"/>
                  <a:pt x="42" y="32"/>
                  <a:pt x="42" y="31"/>
                </a:cubicBezTo>
                <a:cubicBezTo>
                  <a:pt x="44" y="24"/>
                  <a:pt x="46" y="20"/>
                  <a:pt x="51" y="19"/>
                </a:cubicBezTo>
                <a:cubicBezTo>
                  <a:pt x="58" y="19"/>
                  <a:pt x="65" y="17"/>
                  <a:pt x="70" y="15"/>
                </a:cubicBezTo>
                <a:cubicBezTo>
                  <a:pt x="77" y="11"/>
                  <a:pt x="83" y="8"/>
                  <a:pt x="86" y="6"/>
                </a:cubicBezTo>
                <a:cubicBezTo>
                  <a:pt x="93" y="3"/>
                  <a:pt x="99" y="1"/>
                  <a:pt x="103" y="0"/>
                </a:cubicBezTo>
                <a:cubicBezTo>
                  <a:pt x="104" y="3"/>
                  <a:pt x="105" y="6"/>
                  <a:pt x="108" y="10"/>
                </a:cubicBezTo>
                <a:cubicBezTo>
                  <a:pt x="111" y="13"/>
                  <a:pt x="112" y="15"/>
                  <a:pt x="112" y="17"/>
                </a:cubicBezTo>
                <a:cubicBezTo>
                  <a:pt x="112" y="17"/>
                  <a:pt x="107" y="23"/>
                  <a:pt x="99" y="34"/>
                </a:cubicBezTo>
                <a:lnTo>
                  <a:pt x="99" y="3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2" name="Freeform 429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3" name="Freeform 430"/>
          <p:cNvSpPr/>
          <p:nvPr/>
        </p:nvSpPr>
        <p:spPr bwMode="auto">
          <a:xfrm>
            <a:off x="7094252" y="2190674"/>
            <a:ext cx="12229" cy="6987"/>
          </a:xfrm>
          <a:custGeom>
            <a:avLst/>
            <a:gdLst>
              <a:gd name="T0" fmla="*/ 3 w 13"/>
              <a:gd name="T1" fmla="*/ 7 h 7"/>
              <a:gd name="T2" fmla="*/ 3 w 13"/>
              <a:gd name="T3" fmla="*/ 7 h 7"/>
              <a:gd name="T4" fmla="*/ 0 w 13"/>
              <a:gd name="T5" fmla="*/ 6 h 7"/>
              <a:gd name="T6" fmla="*/ 0 w 13"/>
              <a:gd name="T7" fmla="*/ 4 h 7"/>
              <a:gd name="T8" fmla="*/ 10 w 13"/>
              <a:gd name="T9" fmla="*/ 0 h 7"/>
              <a:gd name="T10" fmla="*/ 13 w 13"/>
              <a:gd name="T11" fmla="*/ 0 h 7"/>
              <a:gd name="T12" fmla="*/ 3 w 13"/>
              <a:gd name="T13" fmla="*/ 7 h 7"/>
              <a:gd name="T14" fmla="*/ 3 w 13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7">
                <a:moveTo>
                  <a:pt x="3" y="7"/>
                </a:moveTo>
                <a:lnTo>
                  <a:pt x="3" y="7"/>
                </a:lnTo>
                <a:cubicBezTo>
                  <a:pt x="1" y="7"/>
                  <a:pt x="1" y="7"/>
                  <a:pt x="0" y="6"/>
                </a:cubicBezTo>
                <a:lnTo>
                  <a:pt x="0" y="4"/>
                </a:lnTo>
                <a:cubicBezTo>
                  <a:pt x="4" y="2"/>
                  <a:pt x="7" y="1"/>
                  <a:pt x="10" y="0"/>
                </a:cubicBezTo>
                <a:cubicBezTo>
                  <a:pt x="11" y="0"/>
                  <a:pt x="12" y="0"/>
                  <a:pt x="13" y="0"/>
                </a:cubicBezTo>
                <a:cubicBezTo>
                  <a:pt x="12" y="3"/>
                  <a:pt x="9" y="5"/>
                  <a:pt x="3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4" name="Freeform 431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5" name="Freeform 432"/>
          <p:cNvSpPr/>
          <p:nvPr/>
        </p:nvSpPr>
        <p:spPr bwMode="auto">
          <a:xfrm>
            <a:off x="7090758" y="2195915"/>
            <a:ext cx="31444" cy="29697"/>
          </a:xfrm>
          <a:custGeom>
            <a:avLst/>
            <a:gdLst>
              <a:gd name="T0" fmla="*/ 27 w 30"/>
              <a:gd name="T1" fmla="*/ 4 h 29"/>
              <a:gd name="T2" fmla="*/ 27 w 30"/>
              <a:gd name="T3" fmla="*/ 4 h 29"/>
              <a:gd name="T4" fmla="*/ 30 w 30"/>
              <a:gd name="T5" fmla="*/ 13 h 29"/>
              <a:gd name="T6" fmla="*/ 5 w 30"/>
              <a:gd name="T7" fmla="*/ 29 h 29"/>
              <a:gd name="T8" fmla="*/ 2 w 30"/>
              <a:gd name="T9" fmla="*/ 21 h 29"/>
              <a:gd name="T10" fmla="*/ 0 w 30"/>
              <a:gd name="T11" fmla="*/ 11 h 29"/>
              <a:gd name="T12" fmla="*/ 4 w 30"/>
              <a:gd name="T13" fmla="*/ 7 h 29"/>
              <a:gd name="T14" fmla="*/ 6 w 30"/>
              <a:gd name="T15" fmla="*/ 6 h 29"/>
              <a:gd name="T16" fmla="*/ 10 w 30"/>
              <a:gd name="T17" fmla="*/ 6 h 29"/>
              <a:gd name="T18" fmla="*/ 15 w 30"/>
              <a:gd name="T19" fmla="*/ 4 h 29"/>
              <a:gd name="T20" fmla="*/ 18 w 30"/>
              <a:gd name="T21" fmla="*/ 1 h 29"/>
              <a:gd name="T22" fmla="*/ 18 w 30"/>
              <a:gd name="T23" fmla="*/ 0 h 29"/>
              <a:gd name="T24" fmla="*/ 19 w 30"/>
              <a:gd name="T25" fmla="*/ 1 h 29"/>
              <a:gd name="T26" fmla="*/ 27 w 30"/>
              <a:gd name="T27" fmla="*/ 4 h 29"/>
              <a:gd name="T28" fmla="*/ 27 w 30"/>
              <a:gd name="T2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28">
                <a:moveTo>
                  <a:pt x="27" y="4"/>
                </a:moveTo>
                <a:lnTo>
                  <a:pt x="27" y="4"/>
                </a:lnTo>
                <a:cubicBezTo>
                  <a:pt x="29" y="8"/>
                  <a:pt x="30" y="10"/>
                  <a:pt x="30" y="13"/>
                </a:cubicBezTo>
                <a:cubicBezTo>
                  <a:pt x="16" y="24"/>
                  <a:pt x="8" y="29"/>
                  <a:pt x="5" y="29"/>
                </a:cubicBezTo>
                <a:cubicBezTo>
                  <a:pt x="5" y="29"/>
                  <a:pt x="3" y="26"/>
                  <a:pt x="2" y="21"/>
                </a:cubicBezTo>
                <a:cubicBezTo>
                  <a:pt x="1" y="16"/>
                  <a:pt x="0" y="13"/>
                  <a:pt x="0" y="11"/>
                </a:cubicBezTo>
                <a:cubicBezTo>
                  <a:pt x="0" y="10"/>
                  <a:pt x="1" y="8"/>
                  <a:pt x="4" y="7"/>
                </a:cubicBezTo>
                <a:cubicBezTo>
                  <a:pt x="5" y="7"/>
                  <a:pt x="5" y="7"/>
                  <a:pt x="6" y="6"/>
                </a:cubicBezTo>
                <a:cubicBezTo>
                  <a:pt x="7" y="6"/>
                  <a:pt x="9" y="6"/>
                  <a:pt x="10" y="6"/>
                </a:cubicBezTo>
                <a:cubicBezTo>
                  <a:pt x="12" y="7"/>
                  <a:pt x="14" y="6"/>
                  <a:pt x="15" y="4"/>
                </a:cubicBezTo>
                <a:cubicBezTo>
                  <a:pt x="16" y="3"/>
                  <a:pt x="17" y="2"/>
                  <a:pt x="18" y="1"/>
                </a:cubicBezTo>
                <a:cubicBezTo>
                  <a:pt x="18" y="1"/>
                  <a:pt x="18" y="0"/>
                  <a:pt x="18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21" y="2"/>
                  <a:pt x="23" y="3"/>
                  <a:pt x="27" y="4"/>
                </a:cubicBezTo>
                <a:lnTo>
                  <a:pt x="27" y="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6" name="Freeform 433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7" name="Freeform 434"/>
          <p:cNvSpPr/>
          <p:nvPr/>
        </p:nvSpPr>
        <p:spPr bwMode="auto">
          <a:xfrm>
            <a:off x="7104733" y="2363615"/>
            <a:ext cx="19216" cy="20962"/>
          </a:xfrm>
          <a:custGeom>
            <a:avLst/>
            <a:gdLst>
              <a:gd name="T0" fmla="*/ 14 w 19"/>
              <a:gd name="T1" fmla="*/ 2 h 20"/>
              <a:gd name="T2" fmla="*/ 14 w 19"/>
              <a:gd name="T3" fmla="*/ 2 h 20"/>
              <a:gd name="T4" fmla="*/ 14 w 19"/>
              <a:gd name="T5" fmla="*/ 2 h 20"/>
              <a:gd name="T6" fmla="*/ 14 w 19"/>
              <a:gd name="T7" fmla="*/ 1 h 20"/>
              <a:gd name="T8" fmla="*/ 16 w 19"/>
              <a:gd name="T9" fmla="*/ 2 h 20"/>
              <a:gd name="T10" fmla="*/ 17 w 19"/>
              <a:gd name="T11" fmla="*/ 3 h 20"/>
              <a:gd name="T12" fmla="*/ 19 w 19"/>
              <a:gd name="T13" fmla="*/ 8 h 20"/>
              <a:gd name="T14" fmla="*/ 16 w 19"/>
              <a:gd name="T15" fmla="*/ 15 h 20"/>
              <a:gd name="T16" fmla="*/ 10 w 19"/>
              <a:gd name="T17" fmla="*/ 19 h 20"/>
              <a:gd name="T18" fmla="*/ 4 w 19"/>
              <a:gd name="T19" fmla="*/ 13 h 20"/>
              <a:gd name="T20" fmla="*/ 1 w 19"/>
              <a:gd name="T21" fmla="*/ 3 h 20"/>
              <a:gd name="T22" fmla="*/ 2 w 19"/>
              <a:gd name="T23" fmla="*/ 1 h 20"/>
              <a:gd name="T24" fmla="*/ 9 w 19"/>
              <a:gd name="T25" fmla="*/ 1 h 20"/>
              <a:gd name="T26" fmla="*/ 14 w 19"/>
              <a:gd name="T27" fmla="*/ 2 h 20"/>
              <a:gd name="T28" fmla="*/ 14 w 19"/>
              <a:gd name="T29" fmla="*/ 2 h 20"/>
              <a:gd name="T30" fmla="*/ 14 w 19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9" h="20">
                <a:moveTo>
                  <a:pt x="14" y="2"/>
                </a:moveTo>
                <a:lnTo>
                  <a:pt x="14" y="2"/>
                </a:lnTo>
                <a:lnTo>
                  <a:pt x="14" y="2"/>
                </a:lnTo>
                <a:lnTo>
                  <a:pt x="14" y="1"/>
                </a:lnTo>
                <a:cubicBezTo>
                  <a:pt x="15" y="2"/>
                  <a:pt x="16" y="2"/>
                  <a:pt x="16" y="2"/>
                </a:cubicBezTo>
                <a:cubicBezTo>
                  <a:pt x="16" y="2"/>
                  <a:pt x="17" y="2"/>
                  <a:pt x="17" y="3"/>
                </a:cubicBezTo>
                <a:cubicBezTo>
                  <a:pt x="18" y="4"/>
                  <a:pt x="19" y="6"/>
                  <a:pt x="19" y="8"/>
                </a:cubicBezTo>
                <a:cubicBezTo>
                  <a:pt x="19" y="10"/>
                  <a:pt x="18" y="12"/>
                  <a:pt x="16" y="15"/>
                </a:cubicBezTo>
                <a:cubicBezTo>
                  <a:pt x="14" y="18"/>
                  <a:pt x="12" y="20"/>
                  <a:pt x="10" y="19"/>
                </a:cubicBezTo>
                <a:cubicBezTo>
                  <a:pt x="8" y="19"/>
                  <a:pt x="6" y="17"/>
                  <a:pt x="4" y="13"/>
                </a:cubicBezTo>
                <a:cubicBezTo>
                  <a:pt x="1" y="9"/>
                  <a:pt x="0" y="6"/>
                  <a:pt x="1" y="3"/>
                </a:cubicBezTo>
                <a:cubicBezTo>
                  <a:pt x="1" y="2"/>
                  <a:pt x="1" y="2"/>
                  <a:pt x="2" y="1"/>
                </a:cubicBezTo>
                <a:cubicBezTo>
                  <a:pt x="3" y="0"/>
                  <a:pt x="5" y="0"/>
                  <a:pt x="9" y="1"/>
                </a:cubicBezTo>
                <a:cubicBezTo>
                  <a:pt x="10" y="1"/>
                  <a:pt x="12" y="1"/>
                  <a:pt x="14" y="2"/>
                </a:cubicBezTo>
                <a:lnTo>
                  <a:pt x="14" y="2"/>
                </a:lnTo>
                <a:lnTo>
                  <a:pt x="14" y="2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8" name="Freeform 435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9" name="Freeform 436"/>
          <p:cNvSpPr/>
          <p:nvPr/>
        </p:nvSpPr>
        <p:spPr bwMode="auto">
          <a:xfrm>
            <a:off x="7476815" y="2541795"/>
            <a:ext cx="1747" cy="0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0 w 1"/>
              <a:gd name="T7" fmla="*/ 1 h 1"/>
              <a:gd name="T8" fmla="*/ 1 w 1"/>
              <a:gd name="T9" fmla="*/ 0 h 1"/>
              <a:gd name="T10" fmla="*/ 1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0"/>
                </a:moveTo>
                <a:lnTo>
                  <a:pt x="1" y="0"/>
                </a:ln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0" name="Freeform 437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1" name="Freeform 438"/>
          <p:cNvSpPr/>
          <p:nvPr/>
        </p:nvSpPr>
        <p:spPr bwMode="auto">
          <a:xfrm flipH="1">
            <a:off x="7737098" y="3385531"/>
            <a:ext cx="0" cy="1747"/>
          </a:xfrm>
          <a:custGeom>
            <a:avLst/>
            <a:gdLst>
              <a:gd name="T0" fmla="*/ 1 h 1"/>
              <a:gd name="T1" fmla="*/ 1 h 1"/>
              <a:gd name="T2" fmla="*/ 1 h 1"/>
              <a:gd name="T3" fmla="*/ 0 h 1"/>
              <a:gd name="T4" fmla="*/ 1 h 1"/>
              <a:gd name="T5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1"/>
                </a:lnTo>
                <a:cubicBezTo>
                  <a:pt x="0" y="0"/>
                  <a:pt x="0" y="0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"/>
                </a:cubicBezTo>
                <a:lnTo>
                  <a:pt x="0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2" name="Freeform 439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3" name="Freeform 440"/>
          <p:cNvSpPr/>
          <p:nvPr/>
        </p:nvSpPr>
        <p:spPr bwMode="auto">
          <a:xfrm flipH="1">
            <a:off x="7516993" y="3132236"/>
            <a:ext cx="0" cy="0"/>
          </a:xfrm>
          <a:custGeom>
            <a:avLst/>
            <a:gdLst>
              <a:gd name="T0" fmla="*/ 0 w 1"/>
              <a:gd name="T1" fmla="*/ 0 w 1"/>
              <a:gd name="T2" fmla="*/ 1 w 1"/>
              <a:gd name="T3" fmla="*/ 1 w 1"/>
              <a:gd name="T4" fmla="*/ 0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ubicBezTo>
                  <a:pt x="1" y="0"/>
                  <a:pt x="1" y="0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4" name="Freeform 441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5" name="Freeform 442"/>
          <p:cNvSpPr/>
          <p:nvPr/>
        </p:nvSpPr>
        <p:spPr bwMode="auto">
          <a:xfrm>
            <a:off x="7141416" y="3464141"/>
            <a:ext cx="1747" cy="0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1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cubicBezTo>
                  <a:pt x="1" y="1"/>
                  <a:pt x="1" y="0"/>
                  <a:pt x="1" y="0"/>
                </a:cubicBezTo>
                <a:cubicBezTo>
                  <a:pt x="1" y="1"/>
                  <a:pt x="1" y="1"/>
                  <a:pt x="0" y="1"/>
                </a:cubicBezTo>
                <a:cubicBezTo>
                  <a:pt x="0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6" name="Freeform 443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7" name="Freeform 444"/>
          <p:cNvSpPr/>
          <p:nvPr/>
        </p:nvSpPr>
        <p:spPr bwMode="auto">
          <a:xfrm>
            <a:off x="7197316" y="2699013"/>
            <a:ext cx="1747" cy="1747"/>
          </a:xfrm>
          <a:custGeom>
            <a:avLst/>
            <a:gdLst>
              <a:gd name="T0" fmla="*/ 2 w 2"/>
              <a:gd name="T1" fmla="*/ 0 h 1"/>
              <a:gd name="T2" fmla="*/ 2 w 2"/>
              <a:gd name="T3" fmla="*/ 0 h 1"/>
              <a:gd name="T4" fmla="*/ 2 w 2"/>
              <a:gd name="T5" fmla="*/ 1 h 1"/>
              <a:gd name="T6" fmla="*/ 0 w 2"/>
              <a:gd name="T7" fmla="*/ 0 h 1"/>
              <a:gd name="T8" fmla="*/ 1 w 2"/>
              <a:gd name="T9" fmla="*/ 0 h 1"/>
              <a:gd name="T10" fmla="*/ 2 w 2"/>
              <a:gd name="T11" fmla="*/ 0 h 1"/>
              <a:gd name="T12" fmla="*/ 2 w 2"/>
              <a:gd name="T13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">
                <a:moveTo>
                  <a:pt x="2" y="0"/>
                </a:moveTo>
                <a:lnTo>
                  <a:pt x="2" y="0"/>
                </a:lnTo>
                <a:cubicBezTo>
                  <a:pt x="2" y="0"/>
                  <a:pt x="2" y="1"/>
                  <a:pt x="2" y="1"/>
                </a:cubicBezTo>
                <a:lnTo>
                  <a:pt x="0" y="0"/>
                </a:lnTo>
                <a:lnTo>
                  <a:pt x="1" y="0"/>
                </a:lnTo>
                <a:cubicBezTo>
                  <a:pt x="1" y="0"/>
                  <a:pt x="2" y="0"/>
                  <a:pt x="2" y="0"/>
                </a:cubicBezTo>
                <a:lnTo>
                  <a:pt x="2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8" name="Freeform 445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9" name="Freeform 446"/>
          <p:cNvSpPr/>
          <p:nvPr/>
        </p:nvSpPr>
        <p:spPr bwMode="auto">
          <a:xfrm>
            <a:off x="7307369" y="2613416"/>
            <a:ext cx="3494" cy="3494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3 w 3"/>
              <a:gd name="T7" fmla="*/ 4 h 4"/>
              <a:gd name="T8" fmla="*/ 0 w 3"/>
              <a:gd name="T9" fmla="*/ 0 h 4"/>
              <a:gd name="T10" fmla="*/ 0 w 3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1" y="1"/>
                  <a:pt x="2" y="2"/>
                  <a:pt x="3" y="4"/>
                </a:cubicBezTo>
                <a:cubicBezTo>
                  <a:pt x="2" y="2"/>
                  <a:pt x="1" y="1"/>
                  <a:pt x="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0" name="Freeform 447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1" name="Freeform 448"/>
          <p:cNvSpPr/>
          <p:nvPr/>
        </p:nvSpPr>
        <p:spPr bwMode="auto">
          <a:xfrm>
            <a:off x="7274178" y="3034411"/>
            <a:ext cx="1747" cy="1747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0 w 1"/>
              <a:gd name="T5" fmla="*/ 1 h 1"/>
              <a:gd name="T6" fmla="*/ 1 w 1"/>
              <a:gd name="T7" fmla="*/ 0 h 1"/>
              <a:gd name="T8" fmla="*/ 1 w 1"/>
              <a:gd name="T9" fmla="*/ 1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0" y="1"/>
                </a:lnTo>
                <a:cubicBezTo>
                  <a:pt x="1" y="1"/>
                  <a:pt x="1" y="1"/>
                  <a:pt x="1" y="0"/>
                </a:cubicBezTo>
                <a:cubicBezTo>
                  <a:pt x="1" y="1"/>
                  <a:pt x="1" y="1"/>
                  <a:pt x="1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2" name="Freeform 449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3" name="Freeform 450"/>
          <p:cNvSpPr/>
          <p:nvPr/>
        </p:nvSpPr>
        <p:spPr bwMode="auto">
          <a:xfrm>
            <a:off x="6778068" y="2122547"/>
            <a:ext cx="960777" cy="1568686"/>
          </a:xfrm>
          <a:custGeom>
            <a:avLst/>
            <a:gdLst>
              <a:gd name="T0" fmla="*/ 612 w 918"/>
              <a:gd name="T1" fmla="*/ 135 h 1499"/>
              <a:gd name="T2" fmla="*/ 572 w 918"/>
              <a:gd name="T3" fmla="*/ 163 h 1499"/>
              <a:gd name="T4" fmla="*/ 558 w 918"/>
              <a:gd name="T5" fmla="*/ 189 h 1499"/>
              <a:gd name="T6" fmla="*/ 580 w 918"/>
              <a:gd name="T7" fmla="*/ 213 h 1499"/>
              <a:gd name="T8" fmla="*/ 766 w 918"/>
              <a:gd name="T9" fmla="*/ 255 h 1499"/>
              <a:gd name="T10" fmla="*/ 609 w 918"/>
              <a:gd name="T11" fmla="*/ 429 h 1499"/>
              <a:gd name="T12" fmla="*/ 526 w 918"/>
              <a:gd name="T13" fmla="*/ 482 h 1499"/>
              <a:gd name="T14" fmla="*/ 639 w 918"/>
              <a:gd name="T15" fmla="*/ 527 h 1499"/>
              <a:gd name="T16" fmla="*/ 691 w 918"/>
              <a:gd name="T17" fmla="*/ 734 h 1499"/>
              <a:gd name="T18" fmla="*/ 765 w 918"/>
              <a:gd name="T19" fmla="*/ 995 h 1499"/>
              <a:gd name="T20" fmla="*/ 729 w 918"/>
              <a:gd name="T21" fmla="*/ 970 h 1499"/>
              <a:gd name="T22" fmla="*/ 753 w 918"/>
              <a:gd name="T23" fmla="*/ 1127 h 1499"/>
              <a:gd name="T24" fmla="*/ 917 w 918"/>
              <a:gd name="T25" fmla="*/ 1209 h 1499"/>
              <a:gd name="T26" fmla="*/ 831 w 918"/>
              <a:gd name="T27" fmla="*/ 1313 h 1499"/>
              <a:gd name="T28" fmla="*/ 771 w 918"/>
              <a:gd name="T29" fmla="*/ 1341 h 1499"/>
              <a:gd name="T30" fmla="*/ 725 w 918"/>
              <a:gd name="T31" fmla="*/ 1383 h 1499"/>
              <a:gd name="T32" fmla="*/ 833 w 918"/>
              <a:gd name="T33" fmla="*/ 1418 h 1499"/>
              <a:gd name="T34" fmla="*/ 696 w 918"/>
              <a:gd name="T35" fmla="*/ 1495 h 1499"/>
              <a:gd name="T36" fmla="*/ 537 w 918"/>
              <a:gd name="T37" fmla="*/ 1450 h 1499"/>
              <a:gd name="T38" fmla="*/ 432 w 918"/>
              <a:gd name="T39" fmla="*/ 1450 h 1499"/>
              <a:gd name="T40" fmla="*/ 279 w 918"/>
              <a:gd name="T41" fmla="*/ 1413 h 1499"/>
              <a:gd name="T42" fmla="*/ 193 w 918"/>
              <a:gd name="T43" fmla="*/ 1442 h 1499"/>
              <a:gd name="T44" fmla="*/ 89 w 918"/>
              <a:gd name="T45" fmla="*/ 1439 h 1499"/>
              <a:gd name="T46" fmla="*/ 36 w 918"/>
              <a:gd name="T47" fmla="*/ 1437 h 1499"/>
              <a:gd name="T48" fmla="*/ 110 w 918"/>
              <a:gd name="T49" fmla="*/ 1386 h 1499"/>
              <a:gd name="T50" fmla="*/ 228 w 918"/>
              <a:gd name="T51" fmla="*/ 1294 h 1499"/>
              <a:gd name="T52" fmla="*/ 417 w 918"/>
              <a:gd name="T53" fmla="*/ 1269 h 1499"/>
              <a:gd name="T54" fmla="*/ 288 w 918"/>
              <a:gd name="T55" fmla="*/ 1254 h 1499"/>
              <a:gd name="T56" fmla="*/ 235 w 918"/>
              <a:gd name="T57" fmla="*/ 1190 h 1499"/>
              <a:gd name="T58" fmla="*/ 173 w 918"/>
              <a:gd name="T59" fmla="*/ 1181 h 1499"/>
              <a:gd name="T60" fmla="*/ 201 w 918"/>
              <a:gd name="T61" fmla="*/ 1128 h 1499"/>
              <a:gd name="T62" fmla="*/ 316 w 918"/>
              <a:gd name="T63" fmla="*/ 1037 h 1499"/>
              <a:gd name="T64" fmla="*/ 299 w 918"/>
              <a:gd name="T65" fmla="*/ 976 h 1499"/>
              <a:gd name="T66" fmla="*/ 438 w 918"/>
              <a:gd name="T67" fmla="*/ 978 h 1499"/>
              <a:gd name="T68" fmla="*/ 459 w 918"/>
              <a:gd name="T69" fmla="*/ 946 h 1499"/>
              <a:gd name="T70" fmla="*/ 500 w 918"/>
              <a:gd name="T71" fmla="*/ 855 h 1499"/>
              <a:gd name="T72" fmla="*/ 472 w 918"/>
              <a:gd name="T73" fmla="*/ 807 h 1499"/>
              <a:gd name="T74" fmla="*/ 504 w 918"/>
              <a:gd name="T75" fmla="*/ 682 h 1499"/>
              <a:gd name="T76" fmla="*/ 431 w 918"/>
              <a:gd name="T77" fmla="*/ 687 h 1499"/>
              <a:gd name="T78" fmla="*/ 363 w 918"/>
              <a:gd name="T79" fmla="*/ 667 h 1499"/>
              <a:gd name="T80" fmla="*/ 325 w 918"/>
              <a:gd name="T81" fmla="*/ 613 h 1499"/>
              <a:gd name="T82" fmla="*/ 386 w 918"/>
              <a:gd name="T83" fmla="*/ 559 h 1499"/>
              <a:gd name="T84" fmla="*/ 431 w 918"/>
              <a:gd name="T85" fmla="*/ 477 h 1499"/>
              <a:gd name="T86" fmla="*/ 385 w 918"/>
              <a:gd name="T87" fmla="*/ 469 h 1499"/>
              <a:gd name="T88" fmla="*/ 395 w 918"/>
              <a:gd name="T89" fmla="*/ 418 h 1499"/>
              <a:gd name="T90" fmla="*/ 324 w 918"/>
              <a:gd name="T91" fmla="*/ 490 h 1499"/>
              <a:gd name="T92" fmla="*/ 306 w 918"/>
              <a:gd name="T93" fmla="*/ 497 h 1499"/>
              <a:gd name="T94" fmla="*/ 332 w 918"/>
              <a:gd name="T95" fmla="*/ 425 h 1499"/>
              <a:gd name="T96" fmla="*/ 401 w 918"/>
              <a:gd name="T97" fmla="*/ 365 h 1499"/>
              <a:gd name="T98" fmla="*/ 416 w 918"/>
              <a:gd name="T99" fmla="*/ 330 h 1499"/>
              <a:gd name="T100" fmla="*/ 397 w 918"/>
              <a:gd name="T101" fmla="*/ 321 h 1499"/>
              <a:gd name="T102" fmla="*/ 368 w 918"/>
              <a:gd name="T103" fmla="*/ 315 h 1499"/>
              <a:gd name="T104" fmla="*/ 366 w 918"/>
              <a:gd name="T105" fmla="*/ 285 h 1499"/>
              <a:gd name="T106" fmla="*/ 398 w 918"/>
              <a:gd name="T107" fmla="*/ 241 h 1499"/>
              <a:gd name="T108" fmla="*/ 407 w 918"/>
              <a:gd name="T109" fmla="*/ 205 h 1499"/>
              <a:gd name="T110" fmla="*/ 405 w 918"/>
              <a:gd name="T111" fmla="*/ 167 h 1499"/>
              <a:gd name="T112" fmla="*/ 435 w 918"/>
              <a:gd name="T113" fmla="*/ 113 h 1499"/>
              <a:gd name="T114" fmla="*/ 462 w 918"/>
              <a:gd name="T115" fmla="*/ 89 h 1499"/>
              <a:gd name="T116" fmla="*/ 511 w 918"/>
              <a:gd name="T117" fmla="*/ 33 h 1499"/>
              <a:gd name="T118" fmla="*/ 571 w 918"/>
              <a:gd name="T119" fmla="*/ 41 h 1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18" h="1499">
                <a:moveTo>
                  <a:pt x="659" y="44"/>
                </a:moveTo>
                <a:lnTo>
                  <a:pt x="659" y="44"/>
                </a:lnTo>
                <a:cubicBezTo>
                  <a:pt x="660" y="45"/>
                  <a:pt x="660" y="46"/>
                  <a:pt x="661" y="46"/>
                </a:cubicBezTo>
                <a:cubicBezTo>
                  <a:pt x="664" y="46"/>
                  <a:pt x="668" y="46"/>
                  <a:pt x="675" y="46"/>
                </a:cubicBezTo>
                <a:cubicBezTo>
                  <a:pt x="675" y="44"/>
                  <a:pt x="675" y="42"/>
                  <a:pt x="675" y="41"/>
                </a:cubicBezTo>
                <a:lnTo>
                  <a:pt x="681" y="42"/>
                </a:lnTo>
                <a:cubicBezTo>
                  <a:pt x="684" y="43"/>
                  <a:pt x="689" y="45"/>
                  <a:pt x="695" y="48"/>
                </a:cubicBezTo>
                <a:cubicBezTo>
                  <a:pt x="701" y="51"/>
                  <a:pt x="706" y="53"/>
                  <a:pt x="709" y="54"/>
                </a:cubicBezTo>
                <a:lnTo>
                  <a:pt x="708" y="57"/>
                </a:lnTo>
                <a:cubicBezTo>
                  <a:pt x="706" y="60"/>
                  <a:pt x="700" y="65"/>
                  <a:pt x="692" y="70"/>
                </a:cubicBezTo>
                <a:cubicBezTo>
                  <a:pt x="692" y="72"/>
                  <a:pt x="693" y="74"/>
                  <a:pt x="695" y="76"/>
                </a:cubicBezTo>
                <a:cubicBezTo>
                  <a:pt x="697" y="79"/>
                  <a:pt x="698" y="81"/>
                  <a:pt x="698" y="82"/>
                </a:cubicBezTo>
                <a:cubicBezTo>
                  <a:pt x="698" y="85"/>
                  <a:pt x="694" y="89"/>
                  <a:pt x="687" y="96"/>
                </a:cubicBezTo>
                <a:cubicBezTo>
                  <a:pt x="680" y="101"/>
                  <a:pt x="675" y="105"/>
                  <a:pt x="673" y="105"/>
                </a:cubicBezTo>
                <a:cubicBezTo>
                  <a:pt x="657" y="110"/>
                  <a:pt x="646" y="115"/>
                  <a:pt x="642" y="119"/>
                </a:cubicBezTo>
                <a:cubicBezTo>
                  <a:pt x="637" y="123"/>
                  <a:pt x="633" y="126"/>
                  <a:pt x="627" y="129"/>
                </a:cubicBezTo>
                <a:cubicBezTo>
                  <a:pt x="624" y="130"/>
                  <a:pt x="619" y="132"/>
                  <a:pt x="612" y="135"/>
                </a:cubicBezTo>
                <a:cubicBezTo>
                  <a:pt x="611" y="135"/>
                  <a:pt x="609" y="137"/>
                  <a:pt x="605" y="139"/>
                </a:cubicBezTo>
                <a:cubicBezTo>
                  <a:pt x="603" y="141"/>
                  <a:pt x="600" y="141"/>
                  <a:pt x="598" y="142"/>
                </a:cubicBezTo>
                <a:cubicBezTo>
                  <a:pt x="593" y="142"/>
                  <a:pt x="587" y="142"/>
                  <a:pt x="579" y="141"/>
                </a:cubicBezTo>
                <a:cubicBezTo>
                  <a:pt x="580" y="145"/>
                  <a:pt x="582" y="149"/>
                  <a:pt x="584" y="154"/>
                </a:cubicBezTo>
                <a:cubicBezTo>
                  <a:pt x="584" y="154"/>
                  <a:pt x="582" y="156"/>
                  <a:pt x="580" y="157"/>
                </a:cubicBezTo>
                <a:cubicBezTo>
                  <a:pt x="577" y="159"/>
                  <a:pt x="575" y="160"/>
                  <a:pt x="574" y="159"/>
                </a:cubicBezTo>
                <a:cubicBezTo>
                  <a:pt x="572" y="159"/>
                  <a:pt x="570" y="158"/>
                  <a:pt x="567" y="156"/>
                </a:cubicBezTo>
                <a:cubicBezTo>
                  <a:pt x="564" y="154"/>
                  <a:pt x="562" y="153"/>
                  <a:pt x="560" y="153"/>
                </a:cubicBezTo>
                <a:cubicBezTo>
                  <a:pt x="557" y="153"/>
                  <a:pt x="555" y="151"/>
                  <a:pt x="553" y="148"/>
                </a:cubicBezTo>
                <a:cubicBezTo>
                  <a:pt x="552" y="146"/>
                  <a:pt x="550" y="144"/>
                  <a:pt x="548" y="144"/>
                </a:cubicBezTo>
                <a:lnTo>
                  <a:pt x="547" y="144"/>
                </a:lnTo>
                <a:lnTo>
                  <a:pt x="547" y="144"/>
                </a:lnTo>
                <a:cubicBezTo>
                  <a:pt x="546" y="144"/>
                  <a:pt x="547" y="144"/>
                  <a:pt x="547" y="145"/>
                </a:cubicBezTo>
                <a:cubicBezTo>
                  <a:pt x="547" y="146"/>
                  <a:pt x="548" y="147"/>
                  <a:pt x="549" y="150"/>
                </a:cubicBezTo>
                <a:cubicBezTo>
                  <a:pt x="551" y="152"/>
                  <a:pt x="552" y="153"/>
                  <a:pt x="555" y="154"/>
                </a:cubicBezTo>
                <a:cubicBezTo>
                  <a:pt x="562" y="158"/>
                  <a:pt x="566" y="160"/>
                  <a:pt x="568" y="161"/>
                </a:cubicBezTo>
                <a:cubicBezTo>
                  <a:pt x="569" y="162"/>
                  <a:pt x="571" y="162"/>
                  <a:pt x="572" y="163"/>
                </a:cubicBezTo>
                <a:cubicBezTo>
                  <a:pt x="574" y="164"/>
                  <a:pt x="575" y="165"/>
                  <a:pt x="576" y="165"/>
                </a:cubicBezTo>
                <a:cubicBezTo>
                  <a:pt x="578" y="166"/>
                  <a:pt x="580" y="167"/>
                  <a:pt x="581" y="167"/>
                </a:cubicBezTo>
                <a:cubicBezTo>
                  <a:pt x="582" y="168"/>
                  <a:pt x="585" y="168"/>
                  <a:pt x="589" y="169"/>
                </a:cubicBezTo>
                <a:cubicBezTo>
                  <a:pt x="592" y="169"/>
                  <a:pt x="594" y="171"/>
                  <a:pt x="594" y="173"/>
                </a:cubicBezTo>
                <a:cubicBezTo>
                  <a:pt x="593" y="174"/>
                  <a:pt x="590" y="177"/>
                  <a:pt x="585" y="182"/>
                </a:cubicBezTo>
                <a:cubicBezTo>
                  <a:pt x="579" y="186"/>
                  <a:pt x="575" y="188"/>
                  <a:pt x="573" y="188"/>
                </a:cubicBezTo>
                <a:cubicBezTo>
                  <a:pt x="572" y="188"/>
                  <a:pt x="570" y="187"/>
                  <a:pt x="567" y="185"/>
                </a:cubicBezTo>
                <a:cubicBezTo>
                  <a:pt x="565" y="184"/>
                  <a:pt x="564" y="183"/>
                  <a:pt x="563" y="182"/>
                </a:cubicBezTo>
                <a:cubicBezTo>
                  <a:pt x="562" y="182"/>
                  <a:pt x="560" y="183"/>
                  <a:pt x="558" y="185"/>
                </a:cubicBezTo>
                <a:cubicBezTo>
                  <a:pt x="558" y="185"/>
                  <a:pt x="558" y="185"/>
                  <a:pt x="558" y="185"/>
                </a:cubicBezTo>
                <a:cubicBezTo>
                  <a:pt x="557" y="186"/>
                  <a:pt x="556" y="186"/>
                  <a:pt x="555" y="186"/>
                </a:cubicBezTo>
                <a:cubicBezTo>
                  <a:pt x="554" y="187"/>
                  <a:pt x="553" y="187"/>
                  <a:pt x="552" y="186"/>
                </a:cubicBezTo>
                <a:cubicBezTo>
                  <a:pt x="550" y="186"/>
                  <a:pt x="548" y="186"/>
                  <a:pt x="547" y="185"/>
                </a:cubicBezTo>
                <a:cubicBezTo>
                  <a:pt x="545" y="184"/>
                  <a:pt x="540" y="188"/>
                  <a:pt x="533" y="196"/>
                </a:cubicBezTo>
                <a:cubicBezTo>
                  <a:pt x="538" y="193"/>
                  <a:pt x="542" y="192"/>
                  <a:pt x="545" y="191"/>
                </a:cubicBezTo>
                <a:cubicBezTo>
                  <a:pt x="549" y="190"/>
                  <a:pt x="552" y="189"/>
                  <a:pt x="555" y="189"/>
                </a:cubicBezTo>
                <a:cubicBezTo>
                  <a:pt x="556" y="189"/>
                  <a:pt x="557" y="189"/>
                  <a:pt x="558" y="189"/>
                </a:cubicBezTo>
                <a:cubicBezTo>
                  <a:pt x="558" y="189"/>
                  <a:pt x="560" y="190"/>
                  <a:pt x="562" y="191"/>
                </a:cubicBezTo>
                <a:cubicBezTo>
                  <a:pt x="563" y="191"/>
                  <a:pt x="563" y="192"/>
                  <a:pt x="564" y="192"/>
                </a:cubicBezTo>
                <a:cubicBezTo>
                  <a:pt x="565" y="193"/>
                  <a:pt x="565" y="193"/>
                  <a:pt x="566" y="193"/>
                </a:cubicBezTo>
                <a:cubicBezTo>
                  <a:pt x="564" y="194"/>
                  <a:pt x="563" y="195"/>
                  <a:pt x="562" y="198"/>
                </a:cubicBezTo>
                <a:cubicBezTo>
                  <a:pt x="560" y="201"/>
                  <a:pt x="558" y="202"/>
                  <a:pt x="557" y="203"/>
                </a:cubicBezTo>
                <a:cubicBezTo>
                  <a:pt x="553" y="205"/>
                  <a:pt x="550" y="207"/>
                  <a:pt x="546" y="210"/>
                </a:cubicBezTo>
                <a:cubicBezTo>
                  <a:pt x="544" y="212"/>
                  <a:pt x="541" y="215"/>
                  <a:pt x="538" y="220"/>
                </a:cubicBezTo>
                <a:cubicBezTo>
                  <a:pt x="534" y="225"/>
                  <a:pt x="532" y="228"/>
                  <a:pt x="530" y="230"/>
                </a:cubicBezTo>
                <a:cubicBezTo>
                  <a:pt x="530" y="230"/>
                  <a:pt x="529" y="231"/>
                  <a:pt x="529" y="231"/>
                </a:cubicBezTo>
                <a:lnTo>
                  <a:pt x="531" y="231"/>
                </a:lnTo>
                <a:cubicBezTo>
                  <a:pt x="534" y="228"/>
                  <a:pt x="537" y="225"/>
                  <a:pt x="538" y="224"/>
                </a:cubicBezTo>
                <a:cubicBezTo>
                  <a:pt x="541" y="222"/>
                  <a:pt x="544" y="221"/>
                  <a:pt x="547" y="220"/>
                </a:cubicBezTo>
                <a:cubicBezTo>
                  <a:pt x="550" y="219"/>
                  <a:pt x="554" y="216"/>
                  <a:pt x="559" y="213"/>
                </a:cubicBezTo>
                <a:cubicBezTo>
                  <a:pt x="561" y="212"/>
                  <a:pt x="562" y="211"/>
                  <a:pt x="563" y="211"/>
                </a:cubicBezTo>
                <a:lnTo>
                  <a:pt x="563" y="210"/>
                </a:lnTo>
                <a:cubicBezTo>
                  <a:pt x="565" y="208"/>
                  <a:pt x="567" y="207"/>
                  <a:pt x="567" y="207"/>
                </a:cubicBezTo>
                <a:lnTo>
                  <a:pt x="580" y="213"/>
                </a:lnTo>
                <a:cubicBezTo>
                  <a:pt x="581" y="213"/>
                  <a:pt x="584" y="212"/>
                  <a:pt x="589" y="209"/>
                </a:cubicBezTo>
                <a:cubicBezTo>
                  <a:pt x="593" y="206"/>
                  <a:pt x="597" y="205"/>
                  <a:pt x="598" y="205"/>
                </a:cubicBezTo>
                <a:cubicBezTo>
                  <a:pt x="600" y="205"/>
                  <a:pt x="602" y="207"/>
                  <a:pt x="605" y="209"/>
                </a:cubicBezTo>
                <a:cubicBezTo>
                  <a:pt x="606" y="209"/>
                  <a:pt x="610" y="208"/>
                  <a:pt x="616" y="204"/>
                </a:cubicBezTo>
                <a:cubicBezTo>
                  <a:pt x="622" y="201"/>
                  <a:pt x="626" y="200"/>
                  <a:pt x="628" y="200"/>
                </a:cubicBezTo>
                <a:cubicBezTo>
                  <a:pt x="630" y="200"/>
                  <a:pt x="636" y="203"/>
                  <a:pt x="644" y="209"/>
                </a:cubicBezTo>
                <a:cubicBezTo>
                  <a:pt x="652" y="215"/>
                  <a:pt x="657" y="218"/>
                  <a:pt x="658" y="218"/>
                </a:cubicBezTo>
                <a:cubicBezTo>
                  <a:pt x="661" y="219"/>
                  <a:pt x="667" y="218"/>
                  <a:pt x="675" y="217"/>
                </a:cubicBezTo>
                <a:cubicBezTo>
                  <a:pt x="679" y="217"/>
                  <a:pt x="687" y="221"/>
                  <a:pt x="697" y="226"/>
                </a:cubicBezTo>
                <a:cubicBezTo>
                  <a:pt x="708" y="233"/>
                  <a:pt x="714" y="236"/>
                  <a:pt x="717" y="236"/>
                </a:cubicBezTo>
                <a:cubicBezTo>
                  <a:pt x="719" y="236"/>
                  <a:pt x="720" y="236"/>
                  <a:pt x="722" y="235"/>
                </a:cubicBezTo>
                <a:cubicBezTo>
                  <a:pt x="724" y="234"/>
                  <a:pt x="726" y="234"/>
                  <a:pt x="727" y="234"/>
                </a:cubicBezTo>
                <a:cubicBezTo>
                  <a:pt x="728" y="234"/>
                  <a:pt x="730" y="235"/>
                  <a:pt x="732" y="236"/>
                </a:cubicBezTo>
                <a:cubicBezTo>
                  <a:pt x="733" y="237"/>
                  <a:pt x="735" y="238"/>
                  <a:pt x="738" y="238"/>
                </a:cubicBezTo>
                <a:cubicBezTo>
                  <a:pt x="742" y="239"/>
                  <a:pt x="746" y="238"/>
                  <a:pt x="750" y="238"/>
                </a:cubicBezTo>
                <a:cubicBezTo>
                  <a:pt x="750" y="238"/>
                  <a:pt x="753" y="240"/>
                  <a:pt x="758" y="245"/>
                </a:cubicBezTo>
                <a:cubicBezTo>
                  <a:pt x="763" y="250"/>
                  <a:pt x="766" y="254"/>
                  <a:pt x="766" y="255"/>
                </a:cubicBezTo>
                <a:cubicBezTo>
                  <a:pt x="769" y="271"/>
                  <a:pt x="770" y="280"/>
                  <a:pt x="770" y="283"/>
                </a:cubicBezTo>
                <a:cubicBezTo>
                  <a:pt x="770" y="285"/>
                  <a:pt x="767" y="288"/>
                  <a:pt x="763" y="292"/>
                </a:cubicBezTo>
                <a:cubicBezTo>
                  <a:pt x="762" y="292"/>
                  <a:pt x="757" y="296"/>
                  <a:pt x="749" y="302"/>
                </a:cubicBezTo>
                <a:cubicBezTo>
                  <a:pt x="736" y="311"/>
                  <a:pt x="728" y="319"/>
                  <a:pt x="728" y="327"/>
                </a:cubicBezTo>
                <a:cubicBezTo>
                  <a:pt x="727" y="332"/>
                  <a:pt x="726" y="335"/>
                  <a:pt x="726" y="336"/>
                </a:cubicBezTo>
                <a:cubicBezTo>
                  <a:pt x="726" y="336"/>
                  <a:pt x="724" y="339"/>
                  <a:pt x="718" y="346"/>
                </a:cubicBezTo>
                <a:cubicBezTo>
                  <a:pt x="718" y="346"/>
                  <a:pt x="715" y="349"/>
                  <a:pt x="711" y="353"/>
                </a:cubicBezTo>
                <a:cubicBezTo>
                  <a:pt x="706" y="357"/>
                  <a:pt x="704" y="360"/>
                  <a:pt x="704" y="362"/>
                </a:cubicBezTo>
                <a:cubicBezTo>
                  <a:pt x="704" y="363"/>
                  <a:pt x="704" y="366"/>
                  <a:pt x="705" y="370"/>
                </a:cubicBezTo>
                <a:cubicBezTo>
                  <a:pt x="704" y="373"/>
                  <a:pt x="699" y="378"/>
                  <a:pt x="688" y="383"/>
                </a:cubicBezTo>
                <a:cubicBezTo>
                  <a:pt x="683" y="387"/>
                  <a:pt x="677" y="392"/>
                  <a:pt x="669" y="400"/>
                </a:cubicBezTo>
                <a:cubicBezTo>
                  <a:pt x="668" y="400"/>
                  <a:pt x="668" y="400"/>
                  <a:pt x="668" y="401"/>
                </a:cubicBezTo>
                <a:cubicBezTo>
                  <a:pt x="668" y="401"/>
                  <a:pt x="668" y="401"/>
                  <a:pt x="668" y="401"/>
                </a:cubicBezTo>
                <a:cubicBezTo>
                  <a:pt x="665" y="405"/>
                  <a:pt x="664" y="409"/>
                  <a:pt x="663" y="413"/>
                </a:cubicBezTo>
                <a:cubicBezTo>
                  <a:pt x="650" y="425"/>
                  <a:pt x="637" y="431"/>
                  <a:pt x="624" y="430"/>
                </a:cubicBezTo>
                <a:cubicBezTo>
                  <a:pt x="618" y="429"/>
                  <a:pt x="614" y="429"/>
                  <a:pt x="610" y="429"/>
                </a:cubicBezTo>
                <a:lnTo>
                  <a:pt x="609" y="429"/>
                </a:lnTo>
                <a:cubicBezTo>
                  <a:pt x="602" y="429"/>
                  <a:pt x="597" y="429"/>
                  <a:pt x="595" y="430"/>
                </a:cubicBezTo>
                <a:cubicBezTo>
                  <a:pt x="584" y="434"/>
                  <a:pt x="575" y="437"/>
                  <a:pt x="566" y="438"/>
                </a:cubicBezTo>
                <a:lnTo>
                  <a:pt x="566" y="438"/>
                </a:lnTo>
                <a:cubicBezTo>
                  <a:pt x="570" y="440"/>
                  <a:pt x="572" y="440"/>
                  <a:pt x="573" y="440"/>
                </a:cubicBezTo>
                <a:cubicBezTo>
                  <a:pt x="579" y="441"/>
                  <a:pt x="585" y="440"/>
                  <a:pt x="592" y="436"/>
                </a:cubicBezTo>
                <a:cubicBezTo>
                  <a:pt x="599" y="433"/>
                  <a:pt x="605" y="431"/>
                  <a:pt x="609" y="432"/>
                </a:cubicBezTo>
                <a:cubicBezTo>
                  <a:pt x="611" y="432"/>
                  <a:pt x="614" y="434"/>
                  <a:pt x="617" y="437"/>
                </a:cubicBezTo>
                <a:cubicBezTo>
                  <a:pt x="621" y="441"/>
                  <a:pt x="622" y="444"/>
                  <a:pt x="622" y="446"/>
                </a:cubicBezTo>
                <a:cubicBezTo>
                  <a:pt x="622" y="448"/>
                  <a:pt x="621" y="449"/>
                  <a:pt x="620" y="452"/>
                </a:cubicBezTo>
                <a:cubicBezTo>
                  <a:pt x="631" y="464"/>
                  <a:pt x="637" y="470"/>
                  <a:pt x="637" y="470"/>
                </a:cubicBezTo>
                <a:cubicBezTo>
                  <a:pt x="637" y="472"/>
                  <a:pt x="629" y="475"/>
                  <a:pt x="614" y="479"/>
                </a:cubicBezTo>
                <a:cubicBezTo>
                  <a:pt x="607" y="478"/>
                  <a:pt x="603" y="477"/>
                  <a:pt x="601" y="477"/>
                </a:cubicBezTo>
                <a:cubicBezTo>
                  <a:pt x="600" y="477"/>
                  <a:pt x="592" y="480"/>
                  <a:pt x="580" y="486"/>
                </a:cubicBezTo>
                <a:cubicBezTo>
                  <a:pt x="568" y="491"/>
                  <a:pt x="557" y="494"/>
                  <a:pt x="548" y="493"/>
                </a:cubicBezTo>
                <a:cubicBezTo>
                  <a:pt x="546" y="493"/>
                  <a:pt x="544" y="492"/>
                  <a:pt x="542" y="491"/>
                </a:cubicBezTo>
                <a:cubicBezTo>
                  <a:pt x="541" y="490"/>
                  <a:pt x="539" y="489"/>
                  <a:pt x="537" y="487"/>
                </a:cubicBezTo>
                <a:cubicBezTo>
                  <a:pt x="534" y="484"/>
                  <a:pt x="530" y="482"/>
                  <a:pt x="526" y="482"/>
                </a:cubicBezTo>
                <a:cubicBezTo>
                  <a:pt x="523" y="482"/>
                  <a:pt x="519" y="479"/>
                  <a:pt x="513" y="475"/>
                </a:cubicBezTo>
                <a:cubicBezTo>
                  <a:pt x="512" y="474"/>
                  <a:pt x="511" y="473"/>
                  <a:pt x="509" y="472"/>
                </a:cubicBezTo>
                <a:cubicBezTo>
                  <a:pt x="508" y="470"/>
                  <a:pt x="507" y="469"/>
                  <a:pt x="506" y="468"/>
                </a:cubicBezTo>
                <a:lnTo>
                  <a:pt x="506" y="468"/>
                </a:lnTo>
                <a:cubicBezTo>
                  <a:pt x="507" y="469"/>
                  <a:pt x="508" y="470"/>
                  <a:pt x="509" y="472"/>
                </a:cubicBezTo>
                <a:cubicBezTo>
                  <a:pt x="510" y="473"/>
                  <a:pt x="511" y="474"/>
                  <a:pt x="511" y="476"/>
                </a:cubicBezTo>
                <a:cubicBezTo>
                  <a:pt x="512" y="476"/>
                  <a:pt x="512" y="476"/>
                  <a:pt x="512" y="476"/>
                </a:cubicBezTo>
                <a:cubicBezTo>
                  <a:pt x="514" y="481"/>
                  <a:pt x="515" y="484"/>
                  <a:pt x="515" y="485"/>
                </a:cubicBezTo>
                <a:cubicBezTo>
                  <a:pt x="517" y="487"/>
                  <a:pt x="520" y="489"/>
                  <a:pt x="525" y="490"/>
                </a:cubicBezTo>
                <a:cubicBezTo>
                  <a:pt x="531" y="491"/>
                  <a:pt x="535" y="492"/>
                  <a:pt x="536" y="493"/>
                </a:cubicBezTo>
                <a:cubicBezTo>
                  <a:pt x="537" y="493"/>
                  <a:pt x="538" y="494"/>
                  <a:pt x="540" y="495"/>
                </a:cubicBezTo>
                <a:lnTo>
                  <a:pt x="540" y="495"/>
                </a:lnTo>
                <a:cubicBezTo>
                  <a:pt x="544" y="497"/>
                  <a:pt x="548" y="500"/>
                  <a:pt x="555" y="503"/>
                </a:cubicBezTo>
                <a:cubicBezTo>
                  <a:pt x="565" y="509"/>
                  <a:pt x="571" y="512"/>
                  <a:pt x="574" y="512"/>
                </a:cubicBezTo>
                <a:cubicBezTo>
                  <a:pt x="581" y="513"/>
                  <a:pt x="587" y="511"/>
                  <a:pt x="592" y="507"/>
                </a:cubicBezTo>
                <a:cubicBezTo>
                  <a:pt x="597" y="503"/>
                  <a:pt x="602" y="501"/>
                  <a:pt x="607" y="502"/>
                </a:cubicBezTo>
                <a:cubicBezTo>
                  <a:pt x="614" y="503"/>
                  <a:pt x="624" y="511"/>
                  <a:pt x="639" y="527"/>
                </a:cubicBezTo>
                <a:cubicBezTo>
                  <a:pt x="639" y="527"/>
                  <a:pt x="641" y="529"/>
                  <a:pt x="644" y="534"/>
                </a:cubicBezTo>
                <a:cubicBezTo>
                  <a:pt x="646" y="537"/>
                  <a:pt x="649" y="539"/>
                  <a:pt x="653" y="542"/>
                </a:cubicBezTo>
                <a:cubicBezTo>
                  <a:pt x="655" y="543"/>
                  <a:pt x="656" y="546"/>
                  <a:pt x="657" y="550"/>
                </a:cubicBezTo>
                <a:cubicBezTo>
                  <a:pt x="659" y="557"/>
                  <a:pt x="660" y="560"/>
                  <a:pt x="660" y="561"/>
                </a:cubicBezTo>
                <a:cubicBezTo>
                  <a:pt x="663" y="568"/>
                  <a:pt x="668" y="580"/>
                  <a:pt x="675" y="596"/>
                </a:cubicBezTo>
                <a:cubicBezTo>
                  <a:pt x="676" y="598"/>
                  <a:pt x="678" y="600"/>
                  <a:pt x="681" y="603"/>
                </a:cubicBezTo>
                <a:cubicBezTo>
                  <a:pt x="684" y="606"/>
                  <a:pt x="686" y="608"/>
                  <a:pt x="687" y="610"/>
                </a:cubicBezTo>
                <a:cubicBezTo>
                  <a:pt x="687" y="611"/>
                  <a:pt x="688" y="614"/>
                  <a:pt x="689" y="619"/>
                </a:cubicBezTo>
                <a:cubicBezTo>
                  <a:pt x="690" y="624"/>
                  <a:pt x="690" y="628"/>
                  <a:pt x="690" y="631"/>
                </a:cubicBezTo>
                <a:cubicBezTo>
                  <a:pt x="688" y="646"/>
                  <a:pt x="688" y="656"/>
                  <a:pt x="687" y="660"/>
                </a:cubicBezTo>
                <a:cubicBezTo>
                  <a:pt x="687" y="672"/>
                  <a:pt x="687" y="681"/>
                  <a:pt x="689" y="688"/>
                </a:cubicBezTo>
                <a:lnTo>
                  <a:pt x="689" y="693"/>
                </a:lnTo>
                <a:cubicBezTo>
                  <a:pt x="688" y="694"/>
                  <a:pt x="687" y="694"/>
                  <a:pt x="687" y="695"/>
                </a:cubicBezTo>
                <a:cubicBezTo>
                  <a:pt x="687" y="699"/>
                  <a:pt x="687" y="704"/>
                  <a:pt x="689" y="711"/>
                </a:cubicBezTo>
                <a:cubicBezTo>
                  <a:pt x="689" y="712"/>
                  <a:pt x="688" y="714"/>
                  <a:pt x="687" y="718"/>
                </a:cubicBezTo>
                <a:cubicBezTo>
                  <a:pt x="686" y="721"/>
                  <a:pt x="687" y="724"/>
                  <a:pt x="688" y="726"/>
                </a:cubicBezTo>
                <a:cubicBezTo>
                  <a:pt x="690" y="730"/>
                  <a:pt x="691" y="732"/>
                  <a:pt x="691" y="734"/>
                </a:cubicBezTo>
                <a:cubicBezTo>
                  <a:pt x="692" y="737"/>
                  <a:pt x="691" y="743"/>
                  <a:pt x="690" y="752"/>
                </a:cubicBezTo>
                <a:cubicBezTo>
                  <a:pt x="690" y="766"/>
                  <a:pt x="694" y="777"/>
                  <a:pt x="700" y="786"/>
                </a:cubicBezTo>
                <a:cubicBezTo>
                  <a:pt x="700" y="786"/>
                  <a:pt x="699" y="788"/>
                  <a:pt x="695" y="792"/>
                </a:cubicBezTo>
                <a:cubicBezTo>
                  <a:pt x="695" y="794"/>
                  <a:pt x="705" y="801"/>
                  <a:pt x="724" y="812"/>
                </a:cubicBezTo>
                <a:cubicBezTo>
                  <a:pt x="727" y="814"/>
                  <a:pt x="732" y="818"/>
                  <a:pt x="739" y="822"/>
                </a:cubicBezTo>
                <a:cubicBezTo>
                  <a:pt x="745" y="827"/>
                  <a:pt x="749" y="831"/>
                  <a:pt x="750" y="836"/>
                </a:cubicBezTo>
                <a:lnTo>
                  <a:pt x="758" y="875"/>
                </a:lnTo>
                <a:cubicBezTo>
                  <a:pt x="759" y="880"/>
                  <a:pt x="767" y="890"/>
                  <a:pt x="781" y="904"/>
                </a:cubicBezTo>
                <a:cubicBezTo>
                  <a:pt x="781" y="906"/>
                  <a:pt x="779" y="909"/>
                  <a:pt x="775" y="914"/>
                </a:cubicBezTo>
                <a:cubicBezTo>
                  <a:pt x="771" y="919"/>
                  <a:pt x="768" y="922"/>
                  <a:pt x="768" y="925"/>
                </a:cubicBezTo>
                <a:cubicBezTo>
                  <a:pt x="767" y="939"/>
                  <a:pt x="769" y="952"/>
                  <a:pt x="775" y="965"/>
                </a:cubicBezTo>
                <a:cubicBezTo>
                  <a:pt x="779" y="973"/>
                  <a:pt x="781" y="978"/>
                  <a:pt x="782" y="979"/>
                </a:cubicBezTo>
                <a:cubicBezTo>
                  <a:pt x="784" y="984"/>
                  <a:pt x="785" y="989"/>
                  <a:pt x="784" y="994"/>
                </a:cubicBezTo>
                <a:cubicBezTo>
                  <a:pt x="784" y="995"/>
                  <a:pt x="784" y="996"/>
                  <a:pt x="783" y="997"/>
                </a:cubicBezTo>
                <a:cubicBezTo>
                  <a:pt x="780" y="997"/>
                  <a:pt x="777" y="997"/>
                  <a:pt x="775" y="998"/>
                </a:cubicBezTo>
                <a:lnTo>
                  <a:pt x="771" y="999"/>
                </a:lnTo>
                <a:cubicBezTo>
                  <a:pt x="769" y="999"/>
                  <a:pt x="767" y="997"/>
                  <a:pt x="765" y="995"/>
                </a:cubicBezTo>
                <a:cubicBezTo>
                  <a:pt x="763" y="992"/>
                  <a:pt x="761" y="988"/>
                  <a:pt x="758" y="983"/>
                </a:cubicBezTo>
                <a:cubicBezTo>
                  <a:pt x="753" y="973"/>
                  <a:pt x="748" y="968"/>
                  <a:pt x="744" y="967"/>
                </a:cubicBezTo>
                <a:cubicBezTo>
                  <a:pt x="742" y="967"/>
                  <a:pt x="741" y="967"/>
                  <a:pt x="739" y="967"/>
                </a:cubicBezTo>
                <a:cubicBezTo>
                  <a:pt x="738" y="968"/>
                  <a:pt x="736" y="968"/>
                  <a:pt x="735" y="968"/>
                </a:cubicBezTo>
                <a:cubicBezTo>
                  <a:pt x="733" y="969"/>
                  <a:pt x="731" y="970"/>
                  <a:pt x="729" y="970"/>
                </a:cubicBezTo>
                <a:lnTo>
                  <a:pt x="729" y="970"/>
                </a:lnTo>
                <a:cubicBezTo>
                  <a:pt x="728" y="970"/>
                  <a:pt x="728" y="970"/>
                  <a:pt x="727" y="970"/>
                </a:cubicBezTo>
                <a:cubicBezTo>
                  <a:pt x="727" y="970"/>
                  <a:pt x="726" y="969"/>
                  <a:pt x="726" y="969"/>
                </a:cubicBezTo>
                <a:cubicBezTo>
                  <a:pt x="717" y="967"/>
                  <a:pt x="711" y="966"/>
                  <a:pt x="707" y="965"/>
                </a:cubicBezTo>
                <a:lnTo>
                  <a:pt x="707" y="965"/>
                </a:lnTo>
                <a:lnTo>
                  <a:pt x="706" y="965"/>
                </a:lnTo>
                <a:cubicBezTo>
                  <a:pt x="707" y="965"/>
                  <a:pt x="707" y="965"/>
                  <a:pt x="707" y="965"/>
                </a:cubicBezTo>
                <a:cubicBezTo>
                  <a:pt x="712" y="967"/>
                  <a:pt x="715" y="968"/>
                  <a:pt x="717" y="969"/>
                </a:cubicBezTo>
                <a:cubicBezTo>
                  <a:pt x="718" y="969"/>
                  <a:pt x="720" y="970"/>
                  <a:pt x="726" y="970"/>
                </a:cubicBezTo>
                <a:cubicBezTo>
                  <a:pt x="726" y="970"/>
                  <a:pt x="727" y="970"/>
                  <a:pt x="727" y="970"/>
                </a:cubicBezTo>
                <a:cubicBezTo>
                  <a:pt x="728" y="970"/>
                  <a:pt x="728" y="970"/>
                  <a:pt x="729" y="970"/>
                </a:cubicBezTo>
                <a:lnTo>
                  <a:pt x="729" y="970"/>
                </a:lnTo>
                <a:cubicBezTo>
                  <a:pt x="731" y="970"/>
                  <a:pt x="732" y="970"/>
                  <a:pt x="735" y="970"/>
                </a:cubicBezTo>
                <a:cubicBezTo>
                  <a:pt x="736" y="970"/>
                  <a:pt x="737" y="970"/>
                  <a:pt x="739" y="970"/>
                </a:cubicBezTo>
                <a:cubicBezTo>
                  <a:pt x="739" y="970"/>
                  <a:pt x="739" y="970"/>
                  <a:pt x="739" y="970"/>
                </a:cubicBezTo>
                <a:cubicBezTo>
                  <a:pt x="740" y="970"/>
                  <a:pt x="746" y="979"/>
                  <a:pt x="756" y="995"/>
                </a:cubicBezTo>
                <a:cubicBezTo>
                  <a:pt x="757" y="996"/>
                  <a:pt x="758" y="997"/>
                  <a:pt x="759" y="999"/>
                </a:cubicBezTo>
                <a:cubicBezTo>
                  <a:pt x="760" y="999"/>
                  <a:pt x="760" y="999"/>
                  <a:pt x="760" y="1000"/>
                </a:cubicBezTo>
                <a:cubicBezTo>
                  <a:pt x="763" y="1003"/>
                  <a:pt x="767" y="1008"/>
                  <a:pt x="773" y="1015"/>
                </a:cubicBezTo>
                <a:cubicBezTo>
                  <a:pt x="778" y="1022"/>
                  <a:pt x="782" y="1030"/>
                  <a:pt x="786" y="1041"/>
                </a:cubicBezTo>
                <a:cubicBezTo>
                  <a:pt x="789" y="1051"/>
                  <a:pt x="791" y="1060"/>
                  <a:pt x="792" y="1067"/>
                </a:cubicBezTo>
                <a:cubicBezTo>
                  <a:pt x="792" y="1067"/>
                  <a:pt x="792" y="1067"/>
                  <a:pt x="792" y="1068"/>
                </a:cubicBezTo>
                <a:lnTo>
                  <a:pt x="792" y="1068"/>
                </a:lnTo>
                <a:cubicBezTo>
                  <a:pt x="792" y="1070"/>
                  <a:pt x="793" y="1073"/>
                  <a:pt x="793" y="1079"/>
                </a:cubicBezTo>
                <a:cubicBezTo>
                  <a:pt x="792" y="1084"/>
                  <a:pt x="790" y="1089"/>
                  <a:pt x="785" y="1093"/>
                </a:cubicBezTo>
                <a:cubicBezTo>
                  <a:pt x="783" y="1095"/>
                  <a:pt x="778" y="1098"/>
                  <a:pt x="771" y="1101"/>
                </a:cubicBezTo>
                <a:cubicBezTo>
                  <a:pt x="764" y="1105"/>
                  <a:pt x="760" y="1108"/>
                  <a:pt x="757" y="1110"/>
                </a:cubicBezTo>
                <a:cubicBezTo>
                  <a:pt x="753" y="1113"/>
                  <a:pt x="750" y="1117"/>
                  <a:pt x="750" y="1122"/>
                </a:cubicBezTo>
                <a:cubicBezTo>
                  <a:pt x="750" y="1124"/>
                  <a:pt x="751" y="1125"/>
                  <a:pt x="753" y="1127"/>
                </a:cubicBezTo>
                <a:cubicBezTo>
                  <a:pt x="754" y="1127"/>
                  <a:pt x="756" y="1128"/>
                  <a:pt x="758" y="1128"/>
                </a:cubicBezTo>
                <a:cubicBezTo>
                  <a:pt x="759" y="1129"/>
                  <a:pt x="761" y="1132"/>
                  <a:pt x="763" y="1137"/>
                </a:cubicBezTo>
                <a:cubicBezTo>
                  <a:pt x="764" y="1138"/>
                  <a:pt x="767" y="1140"/>
                  <a:pt x="771" y="1143"/>
                </a:cubicBezTo>
                <a:cubicBezTo>
                  <a:pt x="773" y="1144"/>
                  <a:pt x="776" y="1147"/>
                  <a:pt x="778" y="1153"/>
                </a:cubicBezTo>
                <a:cubicBezTo>
                  <a:pt x="785" y="1141"/>
                  <a:pt x="790" y="1133"/>
                  <a:pt x="793" y="1129"/>
                </a:cubicBezTo>
                <a:cubicBezTo>
                  <a:pt x="798" y="1123"/>
                  <a:pt x="805" y="1121"/>
                  <a:pt x="814" y="1122"/>
                </a:cubicBezTo>
                <a:cubicBezTo>
                  <a:pt x="820" y="1123"/>
                  <a:pt x="825" y="1124"/>
                  <a:pt x="830" y="1127"/>
                </a:cubicBezTo>
                <a:cubicBezTo>
                  <a:pt x="840" y="1132"/>
                  <a:pt x="846" y="1135"/>
                  <a:pt x="848" y="1136"/>
                </a:cubicBezTo>
                <a:cubicBezTo>
                  <a:pt x="850" y="1137"/>
                  <a:pt x="855" y="1139"/>
                  <a:pt x="865" y="1141"/>
                </a:cubicBezTo>
                <a:cubicBezTo>
                  <a:pt x="872" y="1144"/>
                  <a:pt x="877" y="1146"/>
                  <a:pt x="880" y="1148"/>
                </a:cubicBezTo>
                <a:cubicBezTo>
                  <a:pt x="892" y="1159"/>
                  <a:pt x="901" y="1169"/>
                  <a:pt x="907" y="1176"/>
                </a:cubicBezTo>
                <a:cubicBezTo>
                  <a:pt x="911" y="1181"/>
                  <a:pt x="913" y="1186"/>
                  <a:pt x="914" y="1189"/>
                </a:cubicBezTo>
                <a:cubicBezTo>
                  <a:pt x="914" y="1191"/>
                  <a:pt x="915" y="1193"/>
                  <a:pt x="916" y="1197"/>
                </a:cubicBezTo>
                <a:cubicBezTo>
                  <a:pt x="917" y="1201"/>
                  <a:pt x="918" y="1203"/>
                  <a:pt x="918" y="1205"/>
                </a:cubicBezTo>
                <a:cubicBezTo>
                  <a:pt x="918" y="1206"/>
                  <a:pt x="918" y="1206"/>
                  <a:pt x="918" y="1207"/>
                </a:cubicBezTo>
                <a:cubicBezTo>
                  <a:pt x="917" y="1208"/>
                  <a:pt x="917" y="1208"/>
                  <a:pt x="917" y="1208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08"/>
                  <a:pt x="917" y="1208"/>
                  <a:pt x="917" y="1209"/>
                </a:cubicBezTo>
                <a:cubicBezTo>
                  <a:pt x="917" y="1211"/>
                  <a:pt x="917" y="1213"/>
                  <a:pt x="915" y="1215"/>
                </a:cubicBezTo>
                <a:cubicBezTo>
                  <a:pt x="915" y="1217"/>
                  <a:pt x="915" y="1221"/>
                  <a:pt x="916" y="1227"/>
                </a:cubicBezTo>
                <a:cubicBezTo>
                  <a:pt x="915" y="1232"/>
                  <a:pt x="914" y="1236"/>
                  <a:pt x="911" y="1240"/>
                </a:cubicBezTo>
                <a:cubicBezTo>
                  <a:pt x="906" y="1246"/>
                  <a:pt x="903" y="1251"/>
                  <a:pt x="901" y="1254"/>
                </a:cubicBezTo>
                <a:cubicBezTo>
                  <a:pt x="894" y="1267"/>
                  <a:pt x="890" y="1276"/>
                  <a:pt x="889" y="1279"/>
                </a:cubicBezTo>
                <a:cubicBezTo>
                  <a:pt x="888" y="1283"/>
                  <a:pt x="885" y="1287"/>
                  <a:pt x="882" y="1292"/>
                </a:cubicBezTo>
                <a:cubicBezTo>
                  <a:pt x="878" y="1295"/>
                  <a:pt x="875" y="1298"/>
                  <a:pt x="872" y="1300"/>
                </a:cubicBezTo>
                <a:cubicBezTo>
                  <a:pt x="867" y="1302"/>
                  <a:pt x="863" y="1306"/>
                  <a:pt x="858" y="1311"/>
                </a:cubicBezTo>
                <a:cubicBezTo>
                  <a:pt x="855" y="1314"/>
                  <a:pt x="852" y="1315"/>
                  <a:pt x="847" y="1315"/>
                </a:cubicBezTo>
                <a:cubicBezTo>
                  <a:pt x="845" y="1315"/>
                  <a:pt x="843" y="1313"/>
                  <a:pt x="840" y="1309"/>
                </a:cubicBezTo>
                <a:cubicBezTo>
                  <a:pt x="840" y="1308"/>
                  <a:pt x="839" y="1307"/>
                  <a:pt x="839" y="1307"/>
                </a:cubicBezTo>
                <a:cubicBezTo>
                  <a:pt x="839" y="1306"/>
                  <a:pt x="839" y="1306"/>
                  <a:pt x="839" y="1306"/>
                </a:cubicBezTo>
                <a:lnTo>
                  <a:pt x="838" y="1307"/>
                </a:lnTo>
                <a:cubicBezTo>
                  <a:pt x="839" y="1309"/>
                  <a:pt x="839" y="1309"/>
                  <a:pt x="839" y="1310"/>
                </a:cubicBezTo>
                <a:cubicBezTo>
                  <a:pt x="839" y="1312"/>
                  <a:pt x="836" y="1313"/>
                  <a:pt x="832" y="1313"/>
                </a:cubicBezTo>
                <a:cubicBezTo>
                  <a:pt x="832" y="1313"/>
                  <a:pt x="831" y="1313"/>
                  <a:pt x="831" y="1313"/>
                </a:cubicBezTo>
                <a:cubicBezTo>
                  <a:pt x="830" y="1313"/>
                  <a:pt x="829" y="1313"/>
                  <a:pt x="829" y="1313"/>
                </a:cubicBezTo>
                <a:cubicBezTo>
                  <a:pt x="825" y="1313"/>
                  <a:pt x="823" y="1313"/>
                  <a:pt x="822" y="1313"/>
                </a:cubicBezTo>
                <a:cubicBezTo>
                  <a:pt x="824" y="1314"/>
                  <a:pt x="826" y="1314"/>
                  <a:pt x="829" y="1315"/>
                </a:cubicBezTo>
                <a:cubicBezTo>
                  <a:pt x="829" y="1316"/>
                  <a:pt x="830" y="1316"/>
                  <a:pt x="830" y="1316"/>
                </a:cubicBezTo>
                <a:cubicBezTo>
                  <a:pt x="832" y="1317"/>
                  <a:pt x="833" y="1318"/>
                  <a:pt x="833" y="1320"/>
                </a:cubicBezTo>
                <a:cubicBezTo>
                  <a:pt x="833" y="1323"/>
                  <a:pt x="834" y="1325"/>
                  <a:pt x="834" y="1326"/>
                </a:cubicBezTo>
                <a:cubicBezTo>
                  <a:pt x="835" y="1326"/>
                  <a:pt x="835" y="1327"/>
                  <a:pt x="837" y="1327"/>
                </a:cubicBezTo>
                <a:cubicBezTo>
                  <a:pt x="838" y="1328"/>
                  <a:pt x="838" y="1329"/>
                  <a:pt x="838" y="1330"/>
                </a:cubicBezTo>
                <a:cubicBezTo>
                  <a:pt x="838" y="1332"/>
                  <a:pt x="835" y="1335"/>
                  <a:pt x="828" y="1340"/>
                </a:cubicBezTo>
                <a:cubicBezTo>
                  <a:pt x="828" y="1340"/>
                  <a:pt x="828" y="1340"/>
                  <a:pt x="828" y="1340"/>
                </a:cubicBezTo>
                <a:lnTo>
                  <a:pt x="828" y="1340"/>
                </a:lnTo>
                <a:cubicBezTo>
                  <a:pt x="828" y="1340"/>
                  <a:pt x="828" y="1340"/>
                  <a:pt x="828" y="1340"/>
                </a:cubicBezTo>
                <a:cubicBezTo>
                  <a:pt x="826" y="1341"/>
                  <a:pt x="824" y="1341"/>
                  <a:pt x="823" y="1341"/>
                </a:cubicBezTo>
                <a:cubicBezTo>
                  <a:pt x="820" y="1341"/>
                  <a:pt x="817" y="1339"/>
                  <a:pt x="813" y="1335"/>
                </a:cubicBezTo>
                <a:cubicBezTo>
                  <a:pt x="809" y="1331"/>
                  <a:pt x="807" y="1329"/>
                  <a:pt x="806" y="1328"/>
                </a:cubicBezTo>
                <a:cubicBezTo>
                  <a:pt x="799" y="1334"/>
                  <a:pt x="793" y="1337"/>
                  <a:pt x="787" y="1339"/>
                </a:cubicBezTo>
                <a:cubicBezTo>
                  <a:pt x="782" y="1341"/>
                  <a:pt x="777" y="1342"/>
                  <a:pt x="771" y="1341"/>
                </a:cubicBezTo>
                <a:lnTo>
                  <a:pt x="771" y="1343"/>
                </a:lnTo>
                <a:cubicBezTo>
                  <a:pt x="774" y="1346"/>
                  <a:pt x="777" y="1348"/>
                  <a:pt x="780" y="1348"/>
                </a:cubicBezTo>
                <a:cubicBezTo>
                  <a:pt x="781" y="1348"/>
                  <a:pt x="783" y="1347"/>
                  <a:pt x="786" y="1346"/>
                </a:cubicBezTo>
                <a:cubicBezTo>
                  <a:pt x="787" y="1345"/>
                  <a:pt x="788" y="1344"/>
                  <a:pt x="789" y="1344"/>
                </a:cubicBezTo>
                <a:cubicBezTo>
                  <a:pt x="790" y="1343"/>
                  <a:pt x="791" y="1343"/>
                  <a:pt x="792" y="1343"/>
                </a:cubicBezTo>
                <a:cubicBezTo>
                  <a:pt x="793" y="1343"/>
                  <a:pt x="794" y="1345"/>
                  <a:pt x="796" y="1348"/>
                </a:cubicBezTo>
                <a:cubicBezTo>
                  <a:pt x="797" y="1352"/>
                  <a:pt x="797" y="1354"/>
                  <a:pt x="797" y="1356"/>
                </a:cubicBezTo>
                <a:cubicBezTo>
                  <a:pt x="797" y="1357"/>
                  <a:pt x="795" y="1361"/>
                  <a:pt x="791" y="1365"/>
                </a:cubicBezTo>
                <a:cubicBezTo>
                  <a:pt x="788" y="1370"/>
                  <a:pt x="786" y="1373"/>
                  <a:pt x="785" y="1374"/>
                </a:cubicBezTo>
                <a:cubicBezTo>
                  <a:pt x="781" y="1377"/>
                  <a:pt x="775" y="1378"/>
                  <a:pt x="764" y="1377"/>
                </a:cubicBezTo>
                <a:cubicBezTo>
                  <a:pt x="762" y="1377"/>
                  <a:pt x="761" y="1376"/>
                  <a:pt x="760" y="1376"/>
                </a:cubicBezTo>
                <a:cubicBezTo>
                  <a:pt x="755" y="1375"/>
                  <a:pt x="751" y="1374"/>
                  <a:pt x="749" y="1374"/>
                </a:cubicBezTo>
                <a:cubicBezTo>
                  <a:pt x="747" y="1374"/>
                  <a:pt x="745" y="1374"/>
                  <a:pt x="743" y="1374"/>
                </a:cubicBezTo>
                <a:cubicBezTo>
                  <a:pt x="741" y="1374"/>
                  <a:pt x="739" y="1374"/>
                  <a:pt x="737" y="1375"/>
                </a:cubicBezTo>
                <a:cubicBezTo>
                  <a:pt x="736" y="1375"/>
                  <a:pt x="735" y="1376"/>
                  <a:pt x="733" y="1376"/>
                </a:cubicBezTo>
                <a:cubicBezTo>
                  <a:pt x="733" y="1376"/>
                  <a:pt x="733" y="1376"/>
                  <a:pt x="732" y="1376"/>
                </a:cubicBezTo>
                <a:cubicBezTo>
                  <a:pt x="729" y="1378"/>
                  <a:pt x="727" y="1380"/>
                  <a:pt x="725" y="1383"/>
                </a:cubicBezTo>
                <a:cubicBezTo>
                  <a:pt x="727" y="1383"/>
                  <a:pt x="730" y="1381"/>
                  <a:pt x="734" y="1380"/>
                </a:cubicBezTo>
                <a:cubicBezTo>
                  <a:pt x="736" y="1379"/>
                  <a:pt x="737" y="1379"/>
                  <a:pt x="738" y="1378"/>
                </a:cubicBezTo>
                <a:cubicBezTo>
                  <a:pt x="740" y="1378"/>
                  <a:pt x="741" y="1378"/>
                  <a:pt x="743" y="1378"/>
                </a:cubicBezTo>
                <a:cubicBezTo>
                  <a:pt x="744" y="1378"/>
                  <a:pt x="747" y="1379"/>
                  <a:pt x="750" y="1380"/>
                </a:cubicBezTo>
                <a:cubicBezTo>
                  <a:pt x="752" y="1381"/>
                  <a:pt x="754" y="1382"/>
                  <a:pt x="756" y="1383"/>
                </a:cubicBezTo>
                <a:cubicBezTo>
                  <a:pt x="757" y="1383"/>
                  <a:pt x="757" y="1384"/>
                  <a:pt x="758" y="1384"/>
                </a:cubicBezTo>
                <a:cubicBezTo>
                  <a:pt x="757" y="1387"/>
                  <a:pt x="755" y="1389"/>
                  <a:pt x="752" y="1390"/>
                </a:cubicBezTo>
                <a:cubicBezTo>
                  <a:pt x="747" y="1392"/>
                  <a:pt x="744" y="1393"/>
                  <a:pt x="743" y="1395"/>
                </a:cubicBezTo>
                <a:cubicBezTo>
                  <a:pt x="746" y="1397"/>
                  <a:pt x="752" y="1400"/>
                  <a:pt x="761" y="1404"/>
                </a:cubicBezTo>
                <a:cubicBezTo>
                  <a:pt x="766" y="1406"/>
                  <a:pt x="770" y="1408"/>
                  <a:pt x="774" y="1410"/>
                </a:cubicBezTo>
                <a:lnTo>
                  <a:pt x="774" y="1410"/>
                </a:lnTo>
                <a:cubicBezTo>
                  <a:pt x="775" y="1410"/>
                  <a:pt x="777" y="1411"/>
                  <a:pt x="778" y="1411"/>
                </a:cubicBezTo>
                <a:cubicBezTo>
                  <a:pt x="781" y="1412"/>
                  <a:pt x="783" y="1413"/>
                  <a:pt x="785" y="1413"/>
                </a:cubicBezTo>
                <a:cubicBezTo>
                  <a:pt x="787" y="1413"/>
                  <a:pt x="793" y="1413"/>
                  <a:pt x="804" y="1413"/>
                </a:cubicBezTo>
                <a:lnTo>
                  <a:pt x="816" y="1415"/>
                </a:lnTo>
                <a:lnTo>
                  <a:pt x="826" y="1415"/>
                </a:lnTo>
                <a:cubicBezTo>
                  <a:pt x="829" y="1415"/>
                  <a:pt x="831" y="1416"/>
                  <a:pt x="833" y="1418"/>
                </a:cubicBezTo>
                <a:cubicBezTo>
                  <a:pt x="836" y="1420"/>
                  <a:pt x="837" y="1422"/>
                  <a:pt x="837" y="1424"/>
                </a:cubicBezTo>
                <a:cubicBezTo>
                  <a:pt x="836" y="1426"/>
                  <a:pt x="835" y="1428"/>
                  <a:pt x="831" y="1430"/>
                </a:cubicBezTo>
                <a:cubicBezTo>
                  <a:pt x="828" y="1432"/>
                  <a:pt x="826" y="1433"/>
                  <a:pt x="826" y="1434"/>
                </a:cubicBezTo>
                <a:cubicBezTo>
                  <a:pt x="826" y="1434"/>
                  <a:pt x="827" y="1438"/>
                  <a:pt x="828" y="1445"/>
                </a:cubicBezTo>
                <a:cubicBezTo>
                  <a:pt x="828" y="1451"/>
                  <a:pt x="824" y="1455"/>
                  <a:pt x="819" y="1459"/>
                </a:cubicBezTo>
                <a:cubicBezTo>
                  <a:pt x="813" y="1462"/>
                  <a:pt x="808" y="1463"/>
                  <a:pt x="802" y="1463"/>
                </a:cubicBezTo>
                <a:cubicBezTo>
                  <a:pt x="797" y="1463"/>
                  <a:pt x="791" y="1463"/>
                  <a:pt x="785" y="1465"/>
                </a:cubicBezTo>
                <a:cubicBezTo>
                  <a:pt x="776" y="1467"/>
                  <a:pt x="772" y="1471"/>
                  <a:pt x="772" y="1476"/>
                </a:cubicBezTo>
                <a:lnTo>
                  <a:pt x="771" y="1485"/>
                </a:lnTo>
                <a:cubicBezTo>
                  <a:pt x="771" y="1487"/>
                  <a:pt x="770" y="1488"/>
                  <a:pt x="766" y="1487"/>
                </a:cubicBezTo>
                <a:cubicBezTo>
                  <a:pt x="764" y="1487"/>
                  <a:pt x="761" y="1486"/>
                  <a:pt x="759" y="1484"/>
                </a:cubicBezTo>
                <a:cubicBezTo>
                  <a:pt x="756" y="1482"/>
                  <a:pt x="753" y="1481"/>
                  <a:pt x="749" y="1481"/>
                </a:cubicBezTo>
                <a:cubicBezTo>
                  <a:pt x="748" y="1480"/>
                  <a:pt x="747" y="1481"/>
                  <a:pt x="746" y="1481"/>
                </a:cubicBezTo>
                <a:cubicBezTo>
                  <a:pt x="745" y="1482"/>
                  <a:pt x="744" y="1483"/>
                  <a:pt x="743" y="1484"/>
                </a:cubicBezTo>
                <a:cubicBezTo>
                  <a:pt x="738" y="1487"/>
                  <a:pt x="734" y="1489"/>
                  <a:pt x="731" y="1490"/>
                </a:cubicBezTo>
                <a:cubicBezTo>
                  <a:pt x="722" y="1490"/>
                  <a:pt x="716" y="1490"/>
                  <a:pt x="714" y="1491"/>
                </a:cubicBezTo>
                <a:cubicBezTo>
                  <a:pt x="710" y="1491"/>
                  <a:pt x="704" y="1493"/>
                  <a:pt x="696" y="1495"/>
                </a:cubicBezTo>
                <a:cubicBezTo>
                  <a:pt x="688" y="1498"/>
                  <a:pt x="685" y="1499"/>
                  <a:pt x="684" y="1499"/>
                </a:cubicBezTo>
                <a:cubicBezTo>
                  <a:pt x="677" y="1495"/>
                  <a:pt x="670" y="1491"/>
                  <a:pt x="663" y="1487"/>
                </a:cubicBezTo>
                <a:cubicBezTo>
                  <a:pt x="650" y="1479"/>
                  <a:pt x="639" y="1474"/>
                  <a:pt x="632" y="1473"/>
                </a:cubicBezTo>
                <a:cubicBezTo>
                  <a:pt x="613" y="1471"/>
                  <a:pt x="602" y="1469"/>
                  <a:pt x="597" y="1469"/>
                </a:cubicBezTo>
                <a:cubicBezTo>
                  <a:pt x="592" y="1468"/>
                  <a:pt x="586" y="1469"/>
                  <a:pt x="581" y="1470"/>
                </a:cubicBezTo>
                <a:cubicBezTo>
                  <a:pt x="576" y="1471"/>
                  <a:pt x="573" y="1471"/>
                  <a:pt x="572" y="1471"/>
                </a:cubicBezTo>
                <a:cubicBezTo>
                  <a:pt x="568" y="1471"/>
                  <a:pt x="565" y="1469"/>
                  <a:pt x="564" y="1466"/>
                </a:cubicBezTo>
                <a:cubicBezTo>
                  <a:pt x="562" y="1463"/>
                  <a:pt x="561" y="1461"/>
                  <a:pt x="560" y="1461"/>
                </a:cubicBezTo>
                <a:cubicBezTo>
                  <a:pt x="559" y="1461"/>
                  <a:pt x="558" y="1461"/>
                  <a:pt x="557" y="1461"/>
                </a:cubicBezTo>
                <a:cubicBezTo>
                  <a:pt x="556" y="1460"/>
                  <a:pt x="555" y="1460"/>
                  <a:pt x="555" y="1458"/>
                </a:cubicBezTo>
                <a:cubicBezTo>
                  <a:pt x="556" y="1457"/>
                  <a:pt x="556" y="1456"/>
                  <a:pt x="556" y="1455"/>
                </a:cubicBezTo>
                <a:cubicBezTo>
                  <a:pt x="557" y="1453"/>
                  <a:pt x="555" y="1452"/>
                  <a:pt x="553" y="1452"/>
                </a:cubicBezTo>
                <a:cubicBezTo>
                  <a:pt x="552" y="1452"/>
                  <a:pt x="551" y="1452"/>
                  <a:pt x="550" y="1455"/>
                </a:cubicBezTo>
                <a:cubicBezTo>
                  <a:pt x="548" y="1456"/>
                  <a:pt x="547" y="1457"/>
                  <a:pt x="545" y="1457"/>
                </a:cubicBezTo>
                <a:cubicBezTo>
                  <a:pt x="544" y="1457"/>
                  <a:pt x="543" y="1455"/>
                  <a:pt x="543" y="1452"/>
                </a:cubicBezTo>
                <a:cubicBezTo>
                  <a:pt x="543" y="1448"/>
                  <a:pt x="542" y="1446"/>
                  <a:pt x="541" y="1446"/>
                </a:cubicBezTo>
                <a:cubicBezTo>
                  <a:pt x="539" y="1446"/>
                  <a:pt x="538" y="1447"/>
                  <a:pt x="537" y="1450"/>
                </a:cubicBezTo>
                <a:cubicBezTo>
                  <a:pt x="537" y="1452"/>
                  <a:pt x="535" y="1453"/>
                  <a:pt x="533" y="1453"/>
                </a:cubicBezTo>
                <a:cubicBezTo>
                  <a:pt x="532" y="1453"/>
                  <a:pt x="528" y="1449"/>
                  <a:pt x="522" y="1442"/>
                </a:cubicBezTo>
                <a:cubicBezTo>
                  <a:pt x="516" y="1434"/>
                  <a:pt x="512" y="1430"/>
                  <a:pt x="509" y="1430"/>
                </a:cubicBezTo>
                <a:cubicBezTo>
                  <a:pt x="508" y="1431"/>
                  <a:pt x="508" y="1431"/>
                  <a:pt x="507" y="1431"/>
                </a:cubicBezTo>
                <a:lnTo>
                  <a:pt x="509" y="1437"/>
                </a:lnTo>
                <a:cubicBezTo>
                  <a:pt x="511" y="1441"/>
                  <a:pt x="513" y="1443"/>
                  <a:pt x="513" y="1443"/>
                </a:cubicBezTo>
                <a:cubicBezTo>
                  <a:pt x="513" y="1445"/>
                  <a:pt x="510" y="1447"/>
                  <a:pt x="506" y="1448"/>
                </a:cubicBezTo>
                <a:cubicBezTo>
                  <a:pt x="504" y="1448"/>
                  <a:pt x="503" y="1448"/>
                  <a:pt x="500" y="1449"/>
                </a:cubicBezTo>
                <a:cubicBezTo>
                  <a:pt x="491" y="1451"/>
                  <a:pt x="487" y="1453"/>
                  <a:pt x="487" y="1453"/>
                </a:cubicBezTo>
                <a:cubicBezTo>
                  <a:pt x="481" y="1451"/>
                  <a:pt x="477" y="1450"/>
                  <a:pt x="477" y="1450"/>
                </a:cubicBezTo>
                <a:cubicBezTo>
                  <a:pt x="473" y="1451"/>
                  <a:pt x="469" y="1451"/>
                  <a:pt x="464" y="1450"/>
                </a:cubicBezTo>
                <a:cubicBezTo>
                  <a:pt x="447" y="1445"/>
                  <a:pt x="436" y="1442"/>
                  <a:pt x="433" y="1442"/>
                </a:cubicBezTo>
                <a:cubicBezTo>
                  <a:pt x="430" y="1442"/>
                  <a:pt x="429" y="1442"/>
                  <a:pt x="428" y="1443"/>
                </a:cubicBezTo>
                <a:lnTo>
                  <a:pt x="428" y="1443"/>
                </a:lnTo>
                <a:cubicBezTo>
                  <a:pt x="429" y="1443"/>
                  <a:pt x="430" y="1443"/>
                  <a:pt x="430" y="1443"/>
                </a:cubicBezTo>
                <a:cubicBezTo>
                  <a:pt x="430" y="1444"/>
                  <a:pt x="431" y="1444"/>
                  <a:pt x="431" y="1445"/>
                </a:cubicBezTo>
                <a:cubicBezTo>
                  <a:pt x="431" y="1448"/>
                  <a:pt x="432" y="1450"/>
                  <a:pt x="432" y="1450"/>
                </a:cubicBezTo>
                <a:cubicBezTo>
                  <a:pt x="433" y="1450"/>
                  <a:pt x="434" y="1452"/>
                  <a:pt x="437" y="1454"/>
                </a:cubicBezTo>
                <a:cubicBezTo>
                  <a:pt x="439" y="1455"/>
                  <a:pt x="439" y="1456"/>
                  <a:pt x="439" y="1457"/>
                </a:cubicBezTo>
                <a:cubicBezTo>
                  <a:pt x="439" y="1459"/>
                  <a:pt x="436" y="1460"/>
                  <a:pt x="430" y="1459"/>
                </a:cubicBezTo>
                <a:cubicBezTo>
                  <a:pt x="424" y="1459"/>
                  <a:pt x="416" y="1456"/>
                  <a:pt x="407" y="1451"/>
                </a:cubicBezTo>
                <a:cubicBezTo>
                  <a:pt x="397" y="1446"/>
                  <a:pt x="391" y="1443"/>
                  <a:pt x="388" y="1443"/>
                </a:cubicBezTo>
                <a:lnTo>
                  <a:pt x="383" y="1443"/>
                </a:lnTo>
                <a:cubicBezTo>
                  <a:pt x="383" y="1445"/>
                  <a:pt x="382" y="1450"/>
                  <a:pt x="380" y="1456"/>
                </a:cubicBezTo>
                <a:cubicBezTo>
                  <a:pt x="377" y="1454"/>
                  <a:pt x="375" y="1451"/>
                  <a:pt x="373" y="1447"/>
                </a:cubicBezTo>
                <a:cubicBezTo>
                  <a:pt x="370" y="1442"/>
                  <a:pt x="369" y="1439"/>
                  <a:pt x="368" y="1438"/>
                </a:cubicBezTo>
                <a:cubicBezTo>
                  <a:pt x="366" y="1435"/>
                  <a:pt x="361" y="1431"/>
                  <a:pt x="353" y="1425"/>
                </a:cubicBezTo>
                <a:cubicBezTo>
                  <a:pt x="352" y="1425"/>
                  <a:pt x="352" y="1425"/>
                  <a:pt x="352" y="1425"/>
                </a:cubicBezTo>
                <a:cubicBezTo>
                  <a:pt x="346" y="1420"/>
                  <a:pt x="340" y="1417"/>
                  <a:pt x="335" y="1416"/>
                </a:cubicBezTo>
                <a:lnTo>
                  <a:pt x="329" y="1416"/>
                </a:lnTo>
                <a:cubicBezTo>
                  <a:pt x="324" y="1416"/>
                  <a:pt x="318" y="1414"/>
                  <a:pt x="310" y="1412"/>
                </a:cubicBezTo>
                <a:cubicBezTo>
                  <a:pt x="308" y="1412"/>
                  <a:pt x="303" y="1412"/>
                  <a:pt x="297" y="1414"/>
                </a:cubicBezTo>
                <a:cubicBezTo>
                  <a:pt x="291" y="1416"/>
                  <a:pt x="287" y="1417"/>
                  <a:pt x="285" y="1417"/>
                </a:cubicBezTo>
                <a:cubicBezTo>
                  <a:pt x="283" y="1417"/>
                  <a:pt x="281" y="1416"/>
                  <a:pt x="279" y="1413"/>
                </a:cubicBezTo>
                <a:cubicBezTo>
                  <a:pt x="278" y="1411"/>
                  <a:pt x="277" y="1410"/>
                  <a:pt x="276" y="1410"/>
                </a:cubicBezTo>
                <a:cubicBezTo>
                  <a:pt x="275" y="1410"/>
                  <a:pt x="275" y="1410"/>
                  <a:pt x="275" y="1410"/>
                </a:cubicBezTo>
                <a:cubicBezTo>
                  <a:pt x="275" y="1412"/>
                  <a:pt x="276" y="1414"/>
                  <a:pt x="276" y="1416"/>
                </a:cubicBezTo>
                <a:cubicBezTo>
                  <a:pt x="276" y="1416"/>
                  <a:pt x="274" y="1418"/>
                  <a:pt x="270" y="1422"/>
                </a:cubicBezTo>
                <a:cubicBezTo>
                  <a:pt x="267" y="1425"/>
                  <a:pt x="265" y="1427"/>
                  <a:pt x="264" y="1428"/>
                </a:cubicBezTo>
                <a:cubicBezTo>
                  <a:pt x="262" y="1429"/>
                  <a:pt x="260" y="1433"/>
                  <a:pt x="260" y="1438"/>
                </a:cubicBezTo>
                <a:cubicBezTo>
                  <a:pt x="259" y="1440"/>
                  <a:pt x="258" y="1442"/>
                  <a:pt x="258" y="1442"/>
                </a:cubicBezTo>
                <a:cubicBezTo>
                  <a:pt x="256" y="1443"/>
                  <a:pt x="254" y="1444"/>
                  <a:pt x="254" y="1444"/>
                </a:cubicBezTo>
                <a:cubicBezTo>
                  <a:pt x="254" y="1445"/>
                  <a:pt x="254" y="1447"/>
                  <a:pt x="254" y="1450"/>
                </a:cubicBezTo>
                <a:cubicBezTo>
                  <a:pt x="254" y="1456"/>
                  <a:pt x="252" y="1458"/>
                  <a:pt x="247" y="1456"/>
                </a:cubicBezTo>
                <a:cubicBezTo>
                  <a:pt x="246" y="1458"/>
                  <a:pt x="242" y="1462"/>
                  <a:pt x="236" y="1468"/>
                </a:cubicBezTo>
                <a:cubicBezTo>
                  <a:pt x="230" y="1474"/>
                  <a:pt x="226" y="1477"/>
                  <a:pt x="225" y="1477"/>
                </a:cubicBezTo>
                <a:cubicBezTo>
                  <a:pt x="222" y="1477"/>
                  <a:pt x="218" y="1473"/>
                  <a:pt x="214" y="1466"/>
                </a:cubicBezTo>
                <a:cubicBezTo>
                  <a:pt x="209" y="1458"/>
                  <a:pt x="206" y="1453"/>
                  <a:pt x="205" y="1453"/>
                </a:cubicBezTo>
                <a:cubicBezTo>
                  <a:pt x="203" y="1452"/>
                  <a:pt x="200" y="1450"/>
                  <a:pt x="196" y="1449"/>
                </a:cubicBezTo>
                <a:cubicBezTo>
                  <a:pt x="195" y="1448"/>
                  <a:pt x="194" y="1448"/>
                  <a:pt x="194" y="1446"/>
                </a:cubicBezTo>
                <a:cubicBezTo>
                  <a:pt x="193" y="1444"/>
                  <a:pt x="193" y="1442"/>
                  <a:pt x="193" y="1442"/>
                </a:cubicBezTo>
                <a:cubicBezTo>
                  <a:pt x="192" y="1441"/>
                  <a:pt x="191" y="1439"/>
                  <a:pt x="188" y="1436"/>
                </a:cubicBezTo>
                <a:cubicBezTo>
                  <a:pt x="186" y="1435"/>
                  <a:pt x="186" y="1432"/>
                  <a:pt x="186" y="1429"/>
                </a:cubicBezTo>
                <a:cubicBezTo>
                  <a:pt x="188" y="1426"/>
                  <a:pt x="189" y="1424"/>
                  <a:pt x="189" y="1422"/>
                </a:cubicBezTo>
                <a:cubicBezTo>
                  <a:pt x="189" y="1422"/>
                  <a:pt x="188" y="1421"/>
                  <a:pt x="187" y="1420"/>
                </a:cubicBezTo>
                <a:cubicBezTo>
                  <a:pt x="186" y="1420"/>
                  <a:pt x="186" y="1419"/>
                  <a:pt x="185" y="1419"/>
                </a:cubicBezTo>
                <a:cubicBezTo>
                  <a:pt x="184" y="1419"/>
                  <a:pt x="183" y="1422"/>
                  <a:pt x="182" y="1428"/>
                </a:cubicBezTo>
                <a:cubicBezTo>
                  <a:pt x="181" y="1435"/>
                  <a:pt x="179" y="1438"/>
                  <a:pt x="177" y="1438"/>
                </a:cubicBezTo>
                <a:cubicBezTo>
                  <a:pt x="176" y="1438"/>
                  <a:pt x="171" y="1435"/>
                  <a:pt x="162" y="1429"/>
                </a:cubicBezTo>
                <a:cubicBezTo>
                  <a:pt x="160" y="1428"/>
                  <a:pt x="158" y="1429"/>
                  <a:pt x="155" y="1430"/>
                </a:cubicBezTo>
                <a:cubicBezTo>
                  <a:pt x="153" y="1432"/>
                  <a:pt x="151" y="1433"/>
                  <a:pt x="150" y="1432"/>
                </a:cubicBezTo>
                <a:cubicBezTo>
                  <a:pt x="148" y="1432"/>
                  <a:pt x="146" y="1431"/>
                  <a:pt x="143" y="1430"/>
                </a:cubicBezTo>
                <a:lnTo>
                  <a:pt x="131" y="1429"/>
                </a:lnTo>
                <a:cubicBezTo>
                  <a:pt x="129" y="1429"/>
                  <a:pt x="126" y="1427"/>
                  <a:pt x="123" y="1423"/>
                </a:cubicBezTo>
                <a:cubicBezTo>
                  <a:pt x="120" y="1423"/>
                  <a:pt x="117" y="1425"/>
                  <a:pt x="114" y="1430"/>
                </a:cubicBezTo>
                <a:cubicBezTo>
                  <a:pt x="112" y="1435"/>
                  <a:pt x="110" y="1438"/>
                  <a:pt x="108" y="1437"/>
                </a:cubicBezTo>
                <a:cubicBezTo>
                  <a:pt x="107" y="1437"/>
                  <a:pt x="104" y="1437"/>
                  <a:pt x="101" y="1436"/>
                </a:cubicBezTo>
                <a:cubicBezTo>
                  <a:pt x="101" y="1436"/>
                  <a:pt x="97" y="1437"/>
                  <a:pt x="89" y="1439"/>
                </a:cubicBezTo>
                <a:cubicBezTo>
                  <a:pt x="88" y="1439"/>
                  <a:pt x="86" y="1440"/>
                  <a:pt x="84" y="1443"/>
                </a:cubicBezTo>
                <a:cubicBezTo>
                  <a:pt x="83" y="1445"/>
                  <a:pt x="82" y="1446"/>
                  <a:pt x="81" y="1446"/>
                </a:cubicBezTo>
                <a:cubicBezTo>
                  <a:pt x="80" y="1445"/>
                  <a:pt x="78" y="1443"/>
                  <a:pt x="77" y="1438"/>
                </a:cubicBezTo>
                <a:lnTo>
                  <a:pt x="77" y="1438"/>
                </a:lnTo>
                <a:lnTo>
                  <a:pt x="77" y="1438"/>
                </a:lnTo>
                <a:cubicBezTo>
                  <a:pt x="77" y="1439"/>
                  <a:pt x="77" y="1439"/>
                  <a:pt x="77" y="1439"/>
                </a:cubicBezTo>
                <a:cubicBezTo>
                  <a:pt x="75" y="1442"/>
                  <a:pt x="71" y="1445"/>
                  <a:pt x="65" y="1450"/>
                </a:cubicBezTo>
                <a:cubicBezTo>
                  <a:pt x="65" y="1450"/>
                  <a:pt x="66" y="1452"/>
                  <a:pt x="67" y="1453"/>
                </a:cubicBezTo>
                <a:cubicBezTo>
                  <a:pt x="69" y="1455"/>
                  <a:pt x="69" y="1457"/>
                  <a:pt x="69" y="1458"/>
                </a:cubicBezTo>
                <a:cubicBezTo>
                  <a:pt x="69" y="1462"/>
                  <a:pt x="66" y="1464"/>
                  <a:pt x="61" y="1465"/>
                </a:cubicBezTo>
                <a:cubicBezTo>
                  <a:pt x="57" y="1465"/>
                  <a:pt x="55" y="1465"/>
                  <a:pt x="55" y="1465"/>
                </a:cubicBezTo>
                <a:cubicBezTo>
                  <a:pt x="54" y="1466"/>
                  <a:pt x="53" y="1466"/>
                  <a:pt x="52" y="1468"/>
                </a:cubicBezTo>
                <a:cubicBezTo>
                  <a:pt x="51" y="1468"/>
                  <a:pt x="50" y="1469"/>
                  <a:pt x="49" y="1469"/>
                </a:cubicBezTo>
                <a:cubicBezTo>
                  <a:pt x="46" y="1468"/>
                  <a:pt x="45" y="1463"/>
                  <a:pt x="46" y="1454"/>
                </a:cubicBezTo>
                <a:cubicBezTo>
                  <a:pt x="47" y="1450"/>
                  <a:pt x="47" y="1448"/>
                  <a:pt x="47" y="1447"/>
                </a:cubicBezTo>
                <a:cubicBezTo>
                  <a:pt x="47" y="1446"/>
                  <a:pt x="45" y="1444"/>
                  <a:pt x="43" y="1442"/>
                </a:cubicBezTo>
                <a:cubicBezTo>
                  <a:pt x="43" y="1441"/>
                  <a:pt x="40" y="1439"/>
                  <a:pt x="36" y="1437"/>
                </a:cubicBezTo>
                <a:cubicBezTo>
                  <a:pt x="32" y="1435"/>
                  <a:pt x="29" y="1434"/>
                  <a:pt x="28" y="1434"/>
                </a:cubicBezTo>
                <a:cubicBezTo>
                  <a:pt x="27" y="1434"/>
                  <a:pt x="23" y="1436"/>
                  <a:pt x="17" y="1439"/>
                </a:cubicBezTo>
                <a:cubicBezTo>
                  <a:pt x="12" y="1443"/>
                  <a:pt x="8" y="1445"/>
                  <a:pt x="7" y="1444"/>
                </a:cubicBezTo>
                <a:cubicBezTo>
                  <a:pt x="5" y="1444"/>
                  <a:pt x="4" y="1442"/>
                  <a:pt x="2" y="1438"/>
                </a:cubicBezTo>
                <a:cubicBezTo>
                  <a:pt x="1" y="1434"/>
                  <a:pt x="0" y="1431"/>
                  <a:pt x="0" y="1428"/>
                </a:cubicBezTo>
                <a:cubicBezTo>
                  <a:pt x="1" y="1427"/>
                  <a:pt x="4" y="1424"/>
                  <a:pt x="10" y="1421"/>
                </a:cubicBezTo>
                <a:cubicBezTo>
                  <a:pt x="17" y="1418"/>
                  <a:pt x="21" y="1416"/>
                  <a:pt x="24" y="1416"/>
                </a:cubicBezTo>
                <a:cubicBezTo>
                  <a:pt x="26" y="1417"/>
                  <a:pt x="28" y="1418"/>
                  <a:pt x="31" y="1420"/>
                </a:cubicBezTo>
                <a:cubicBezTo>
                  <a:pt x="33" y="1422"/>
                  <a:pt x="35" y="1423"/>
                  <a:pt x="35" y="1423"/>
                </a:cubicBezTo>
                <a:cubicBezTo>
                  <a:pt x="38" y="1423"/>
                  <a:pt x="44" y="1421"/>
                  <a:pt x="55" y="1417"/>
                </a:cubicBezTo>
                <a:cubicBezTo>
                  <a:pt x="65" y="1412"/>
                  <a:pt x="71" y="1409"/>
                  <a:pt x="72" y="1407"/>
                </a:cubicBezTo>
                <a:cubicBezTo>
                  <a:pt x="73" y="1404"/>
                  <a:pt x="76" y="1402"/>
                  <a:pt x="80" y="1400"/>
                </a:cubicBezTo>
                <a:cubicBezTo>
                  <a:pt x="84" y="1399"/>
                  <a:pt x="87" y="1397"/>
                  <a:pt x="89" y="1396"/>
                </a:cubicBezTo>
                <a:cubicBezTo>
                  <a:pt x="92" y="1395"/>
                  <a:pt x="94" y="1392"/>
                  <a:pt x="98" y="1387"/>
                </a:cubicBezTo>
                <a:cubicBezTo>
                  <a:pt x="100" y="1382"/>
                  <a:pt x="102" y="1380"/>
                  <a:pt x="102" y="1380"/>
                </a:cubicBezTo>
                <a:cubicBezTo>
                  <a:pt x="103" y="1380"/>
                  <a:pt x="104" y="1381"/>
                  <a:pt x="106" y="1383"/>
                </a:cubicBezTo>
                <a:cubicBezTo>
                  <a:pt x="108" y="1385"/>
                  <a:pt x="109" y="1386"/>
                  <a:pt x="110" y="1386"/>
                </a:cubicBezTo>
                <a:cubicBezTo>
                  <a:pt x="111" y="1385"/>
                  <a:pt x="111" y="1384"/>
                  <a:pt x="111" y="1383"/>
                </a:cubicBezTo>
                <a:cubicBezTo>
                  <a:pt x="111" y="1382"/>
                  <a:pt x="111" y="1381"/>
                  <a:pt x="111" y="1381"/>
                </a:cubicBezTo>
                <a:cubicBezTo>
                  <a:pt x="111" y="1378"/>
                  <a:pt x="113" y="1376"/>
                  <a:pt x="115" y="1377"/>
                </a:cubicBezTo>
                <a:cubicBezTo>
                  <a:pt x="120" y="1378"/>
                  <a:pt x="123" y="1379"/>
                  <a:pt x="124" y="1379"/>
                </a:cubicBezTo>
                <a:cubicBezTo>
                  <a:pt x="129" y="1380"/>
                  <a:pt x="132" y="1378"/>
                  <a:pt x="133" y="1376"/>
                </a:cubicBezTo>
                <a:cubicBezTo>
                  <a:pt x="135" y="1371"/>
                  <a:pt x="137" y="1368"/>
                  <a:pt x="140" y="1366"/>
                </a:cubicBezTo>
                <a:cubicBezTo>
                  <a:pt x="149" y="1362"/>
                  <a:pt x="156" y="1358"/>
                  <a:pt x="160" y="1355"/>
                </a:cubicBezTo>
                <a:cubicBezTo>
                  <a:pt x="162" y="1354"/>
                  <a:pt x="163" y="1350"/>
                  <a:pt x="165" y="1345"/>
                </a:cubicBezTo>
                <a:cubicBezTo>
                  <a:pt x="166" y="1339"/>
                  <a:pt x="167" y="1335"/>
                  <a:pt x="168" y="1334"/>
                </a:cubicBezTo>
                <a:cubicBezTo>
                  <a:pt x="173" y="1322"/>
                  <a:pt x="178" y="1316"/>
                  <a:pt x="183" y="1317"/>
                </a:cubicBezTo>
                <a:cubicBezTo>
                  <a:pt x="191" y="1322"/>
                  <a:pt x="197" y="1324"/>
                  <a:pt x="200" y="1325"/>
                </a:cubicBezTo>
                <a:cubicBezTo>
                  <a:pt x="201" y="1325"/>
                  <a:pt x="201" y="1325"/>
                  <a:pt x="201" y="1324"/>
                </a:cubicBezTo>
                <a:lnTo>
                  <a:pt x="201" y="1323"/>
                </a:lnTo>
                <a:cubicBezTo>
                  <a:pt x="201" y="1323"/>
                  <a:pt x="202" y="1323"/>
                  <a:pt x="202" y="1323"/>
                </a:cubicBezTo>
                <a:cubicBezTo>
                  <a:pt x="209" y="1323"/>
                  <a:pt x="214" y="1318"/>
                  <a:pt x="214" y="1309"/>
                </a:cubicBezTo>
                <a:cubicBezTo>
                  <a:pt x="215" y="1304"/>
                  <a:pt x="216" y="1301"/>
                  <a:pt x="218" y="1299"/>
                </a:cubicBezTo>
                <a:cubicBezTo>
                  <a:pt x="223" y="1295"/>
                  <a:pt x="226" y="1294"/>
                  <a:pt x="228" y="1294"/>
                </a:cubicBezTo>
                <a:cubicBezTo>
                  <a:pt x="231" y="1296"/>
                  <a:pt x="234" y="1297"/>
                  <a:pt x="238" y="1297"/>
                </a:cubicBezTo>
                <a:cubicBezTo>
                  <a:pt x="248" y="1297"/>
                  <a:pt x="253" y="1297"/>
                  <a:pt x="255" y="1297"/>
                </a:cubicBezTo>
                <a:cubicBezTo>
                  <a:pt x="259" y="1298"/>
                  <a:pt x="263" y="1300"/>
                  <a:pt x="269" y="1303"/>
                </a:cubicBezTo>
                <a:cubicBezTo>
                  <a:pt x="275" y="1307"/>
                  <a:pt x="279" y="1309"/>
                  <a:pt x="282" y="1309"/>
                </a:cubicBezTo>
                <a:cubicBezTo>
                  <a:pt x="286" y="1310"/>
                  <a:pt x="291" y="1312"/>
                  <a:pt x="297" y="1315"/>
                </a:cubicBezTo>
                <a:cubicBezTo>
                  <a:pt x="303" y="1320"/>
                  <a:pt x="306" y="1323"/>
                  <a:pt x="309" y="1323"/>
                </a:cubicBezTo>
                <a:cubicBezTo>
                  <a:pt x="310" y="1324"/>
                  <a:pt x="314" y="1323"/>
                  <a:pt x="318" y="1323"/>
                </a:cubicBezTo>
                <a:cubicBezTo>
                  <a:pt x="322" y="1322"/>
                  <a:pt x="326" y="1322"/>
                  <a:pt x="329" y="1323"/>
                </a:cubicBezTo>
                <a:cubicBezTo>
                  <a:pt x="334" y="1323"/>
                  <a:pt x="338" y="1324"/>
                  <a:pt x="342" y="1325"/>
                </a:cubicBezTo>
                <a:cubicBezTo>
                  <a:pt x="345" y="1326"/>
                  <a:pt x="348" y="1327"/>
                  <a:pt x="349" y="1327"/>
                </a:cubicBezTo>
                <a:cubicBezTo>
                  <a:pt x="350" y="1327"/>
                  <a:pt x="351" y="1327"/>
                  <a:pt x="351" y="1326"/>
                </a:cubicBezTo>
                <a:cubicBezTo>
                  <a:pt x="352" y="1319"/>
                  <a:pt x="353" y="1315"/>
                  <a:pt x="355" y="1313"/>
                </a:cubicBezTo>
                <a:cubicBezTo>
                  <a:pt x="356" y="1310"/>
                  <a:pt x="360" y="1306"/>
                  <a:pt x="367" y="1301"/>
                </a:cubicBezTo>
                <a:cubicBezTo>
                  <a:pt x="371" y="1298"/>
                  <a:pt x="376" y="1295"/>
                  <a:pt x="381" y="1292"/>
                </a:cubicBezTo>
                <a:cubicBezTo>
                  <a:pt x="384" y="1291"/>
                  <a:pt x="386" y="1289"/>
                  <a:pt x="388" y="1288"/>
                </a:cubicBezTo>
                <a:lnTo>
                  <a:pt x="395" y="1288"/>
                </a:lnTo>
                <a:cubicBezTo>
                  <a:pt x="400" y="1283"/>
                  <a:pt x="407" y="1277"/>
                  <a:pt x="417" y="1269"/>
                </a:cubicBezTo>
                <a:cubicBezTo>
                  <a:pt x="417" y="1269"/>
                  <a:pt x="417" y="1269"/>
                  <a:pt x="418" y="1269"/>
                </a:cubicBezTo>
                <a:cubicBezTo>
                  <a:pt x="418" y="1268"/>
                  <a:pt x="419" y="1268"/>
                  <a:pt x="420" y="1267"/>
                </a:cubicBezTo>
                <a:cubicBezTo>
                  <a:pt x="429" y="1260"/>
                  <a:pt x="435" y="1255"/>
                  <a:pt x="439" y="1252"/>
                </a:cubicBezTo>
                <a:cubicBezTo>
                  <a:pt x="439" y="1252"/>
                  <a:pt x="439" y="1251"/>
                  <a:pt x="439" y="1251"/>
                </a:cubicBezTo>
                <a:cubicBezTo>
                  <a:pt x="433" y="1252"/>
                  <a:pt x="426" y="1256"/>
                  <a:pt x="417" y="1263"/>
                </a:cubicBezTo>
                <a:cubicBezTo>
                  <a:pt x="416" y="1264"/>
                  <a:pt x="415" y="1264"/>
                  <a:pt x="414" y="1265"/>
                </a:cubicBezTo>
                <a:cubicBezTo>
                  <a:pt x="407" y="1270"/>
                  <a:pt x="400" y="1273"/>
                  <a:pt x="395" y="1273"/>
                </a:cubicBezTo>
                <a:cubicBezTo>
                  <a:pt x="390" y="1273"/>
                  <a:pt x="381" y="1273"/>
                  <a:pt x="369" y="1273"/>
                </a:cubicBezTo>
                <a:cubicBezTo>
                  <a:pt x="359" y="1274"/>
                  <a:pt x="352" y="1277"/>
                  <a:pt x="348" y="1282"/>
                </a:cubicBezTo>
                <a:cubicBezTo>
                  <a:pt x="348" y="1282"/>
                  <a:pt x="348" y="1283"/>
                  <a:pt x="348" y="1283"/>
                </a:cubicBezTo>
                <a:cubicBezTo>
                  <a:pt x="348" y="1283"/>
                  <a:pt x="347" y="1283"/>
                  <a:pt x="347" y="1283"/>
                </a:cubicBezTo>
                <a:cubicBezTo>
                  <a:pt x="347" y="1284"/>
                  <a:pt x="346" y="1286"/>
                  <a:pt x="344" y="1287"/>
                </a:cubicBezTo>
                <a:cubicBezTo>
                  <a:pt x="343" y="1289"/>
                  <a:pt x="341" y="1290"/>
                  <a:pt x="339" y="1289"/>
                </a:cubicBezTo>
                <a:cubicBezTo>
                  <a:pt x="335" y="1289"/>
                  <a:pt x="331" y="1289"/>
                  <a:pt x="324" y="1289"/>
                </a:cubicBezTo>
                <a:cubicBezTo>
                  <a:pt x="317" y="1289"/>
                  <a:pt x="310" y="1285"/>
                  <a:pt x="305" y="1280"/>
                </a:cubicBezTo>
                <a:cubicBezTo>
                  <a:pt x="300" y="1273"/>
                  <a:pt x="295" y="1268"/>
                  <a:pt x="292" y="1264"/>
                </a:cubicBezTo>
                <a:cubicBezTo>
                  <a:pt x="290" y="1262"/>
                  <a:pt x="288" y="1259"/>
                  <a:pt x="288" y="1254"/>
                </a:cubicBezTo>
                <a:cubicBezTo>
                  <a:pt x="286" y="1248"/>
                  <a:pt x="286" y="1244"/>
                  <a:pt x="285" y="1243"/>
                </a:cubicBezTo>
                <a:cubicBezTo>
                  <a:pt x="284" y="1238"/>
                  <a:pt x="282" y="1235"/>
                  <a:pt x="280" y="1233"/>
                </a:cubicBezTo>
                <a:cubicBezTo>
                  <a:pt x="279" y="1232"/>
                  <a:pt x="276" y="1231"/>
                  <a:pt x="271" y="1231"/>
                </a:cubicBezTo>
                <a:cubicBezTo>
                  <a:pt x="269" y="1231"/>
                  <a:pt x="266" y="1231"/>
                  <a:pt x="263" y="1233"/>
                </a:cubicBezTo>
                <a:cubicBezTo>
                  <a:pt x="260" y="1235"/>
                  <a:pt x="258" y="1236"/>
                  <a:pt x="258" y="1235"/>
                </a:cubicBezTo>
                <a:cubicBezTo>
                  <a:pt x="248" y="1236"/>
                  <a:pt x="242" y="1237"/>
                  <a:pt x="242" y="1237"/>
                </a:cubicBezTo>
                <a:cubicBezTo>
                  <a:pt x="240" y="1237"/>
                  <a:pt x="238" y="1235"/>
                  <a:pt x="237" y="1233"/>
                </a:cubicBezTo>
                <a:cubicBezTo>
                  <a:pt x="235" y="1231"/>
                  <a:pt x="235" y="1229"/>
                  <a:pt x="235" y="1227"/>
                </a:cubicBezTo>
                <a:cubicBezTo>
                  <a:pt x="235" y="1223"/>
                  <a:pt x="237" y="1220"/>
                  <a:pt x="239" y="1220"/>
                </a:cubicBezTo>
                <a:cubicBezTo>
                  <a:pt x="240" y="1220"/>
                  <a:pt x="243" y="1220"/>
                  <a:pt x="249" y="1220"/>
                </a:cubicBezTo>
                <a:lnTo>
                  <a:pt x="254" y="1222"/>
                </a:lnTo>
                <a:cubicBezTo>
                  <a:pt x="254" y="1222"/>
                  <a:pt x="255" y="1220"/>
                  <a:pt x="257" y="1218"/>
                </a:cubicBezTo>
                <a:cubicBezTo>
                  <a:pt x="258" y="1216"/>
                  <a:pt x="255" y="1215"/>
                  <a:pt x="250" y="1212"/>
                </a:cubicBezTo>
                <a:cubicBezTo>
                  <a:pt x="247" y="1212"/>
                  <a:pt x="244" y="1210"/>
                  <a:pt x="242" y="1210"/>
                </a:cubicBezTo>
                <a:cubicBezTo>
                  <a:pt x="238" y="1208"/>
                  <a:pt x="235" y="1207"/>
                  <a:pt x="234" y="1206"/>
                </a:cubicBezTo>
                <a:cubicBezTo>
                  <a:pt x="232" y="1203"/>
                  <a:pt x="231" y="1200"/>
                  <a:pt x="231" y="1196"/>
                </a:cubicBezTo>
                <a:cubicBezTo>
                  <a:pt x="234" y="1192"/>
                  <a:pt x="235" y="1190"/>
                  <a:pt x="235" y="1190"/>
                </a:cubicBezTo>
                <a:cubicBezTo>
                  <a:pt x="235" y="1189"/>
                  <a:pt x="235" y="1189"/>
                  <a:pt x="235" y="1189"/>
                </a:cubicBezTo>
                <a:cubicBezTo>
                  <a:pt x="234" y="1189"/>
                  <a:pt x="233" y="1188"/>
                  <a:pt x="229" y="1187"/>
                </a:cubicBezTo>
                <a:cubicBezTo>
                  <a:pt x="228" y="1187"/>
                  <a:pt x="225" y="1188"/>
                  <a:pt x="222" y="1190"/>
                </a:cubicBezTo>
                <a:cubicBezTo>
                  <a:pt x="220" y="1192"/>
                  <a:pt x="217" y="1193"/>
                  <a:pt x="215" y="1193"/>
                </a:cubicBezTo>
                <a:cubicBezTo>
                  <a:pt x="214" y="1193"/>
                  <a:pt x="212" y="1192"/>
                  <a:pt x="208" y="1190"/>
                </a:cubicBezTo>
                <a:cubicBezTo>
                  <a:pt x="203" y="1190"/>
                  <a:pt x="199" y="1191"/>
                  <a:pt x="197" y="1195"/>
                </a:cubicBezTo>
                <a:cubicBezTo>
                  <a:pt x="196" y="1199"/>
                  <a:pt x="193" y="1200"/>
                  <a:pt x="190" y="1200"/>
                </a:cubicBezTo>
                <a:cubicBezTo>
                  <a:pt x="187" y="1200"/>
                  <a:pt x="183" y="1199"/>
                  <a:pt x="177" y="1197"/>
                </a:cubicBezTo>
                <a:cubicBezTo>
                  <a:pt x="176" y="1196"/>
                  <a:pt x="171" y="1198"/>
                  <a:pt x="164" y="1200"/>
                </a:cubicBezTo>
                <a:cubicBezTo>
                  <a:pt x="163" y="1199"/>
                  <a:pt x="161" y="1198"/>
                  <a:pt x="159" y="1196"/>
                </a:cubicBezTo>
                <a:cubicBezTo>
                  <a:pt x="157" y="1193"/>
                  <a:pt x="156" y="1191"/>
                  <a:pt x="157" y="1189"/>
                </a:cubicBezTo>
                <a:cubicBezTo>
                  <a:pt x="157" y="1186"/>
                  <a:pt x="161" y="1184"/>
                  <a:pt x="168" y="1184"/>
                </a:cubicBezTo>
                <a:cubicBezTo>
                  <a:pt x="175" y="1184"/>
                  <a:pt x="179" y="1185"/>
                  <a:pt x="180" y="1184"/>
                </a:cubicBezTo>
                <a:cubicBezTo>
                  <a:pt x="180" y="1183"/>
                  <a:pt x="180" y="1182"/>
                  <a:pt x="180" y="1181"/>
                </a:cubicBezTo>
                <a:cubicBezTo>
                  <a:pt x="181" y="1179"/>
                  <a:pt x="180" y="1176"/>
                  <a:pt x="179" y="1173"/>
                </a:cubicBezTo>
                <a:cubicBezTo>
                  <a:pt x="179" y="1173"/>
                  <a:pt x="178" y="1175"/>
                  <a:pt x="176" y="1178"/>
                </a:cubicBezTo>
                <a:cubicBezTo>
                  <a:pt x="175" y="1180"/>
                  <a:pt x="174" y="1181"/>
                  <a:pt x="173" y="1181"/>
                </a:cubicBezTo>
                <a:cubicBezTo>
                  <a:pt x="171" y="1181"/>
                  <a:pt x="170" y="1182"/>
                  <a:pt x="168" y="1182"/>
                </a:cubicBezTo>
                <a:cubicBezTo>
                  <a:pt x="166" y="1182"/>
                  <a:pt x="163" y="1181"/>
                  <a:pt x="160" y="1181"/>
                </a:cubicBezTo>
                <a:cubicBezTo>
                  <a:pt x="159" y="1181"/>
                  <a:pt x="158" y="1181"/>
                  <a:pt x="157" y="1181"/>
                </a:cubicBezTo>
                <a:cubicBezTo>
                  <a:pt x="146" y="1179"/>
                  <a:pt x="141" y="1177"/>
                  <a:pt x="141" y="1173"/>
                </a:cubicBezTo>
                <a:cubicBezTo>
                  <a:pt x="142" y="1170"/>
                  <a:pt x="145" y="1168"/>
                  <a:pt x="151" y="1167"/>
                </a:cubicBezTo>
                <a:cubicBezTo>
                  <a:pt x="157" y="1166"/>
                  <a:pt x="160" y="1164"/>
                  <a:pt x="160" y="1162"/>
                </a:cubicBezTo>
                <a:cubicBezTo>
                  <a:pt x="160" y="1160"/>
                  <a:pt x="160" y="1158"/>
                  <a:pt x="159" y="1155"/>
                </a:cubicBezTo>
                <a:cubicBezTo>
                  <a:pt x="159" y="1153"/>
                  <a:pt x="158" y="1152"/>
                  <a:pt x="158" y="1151"/>
                </a:cubicBezTo>
                <a:cubicBezTo>
                  <a:pt x="157" y="1150"/>
                  <a:pt x="157" y="1150"/>
                  <a:pt x="156" y="1149"/>
                </a:cubicBezTo>
                <a:cubicBezTo>
                  <a:pt x="154" y="1148"/>
                  <a:pt x="153" y="1147"/>
                  <a:pt x="152" y="1146"/>
                </a:cubicBezTo>
                <a:cubicBezTo>
                  <a:pt x="147" y="1146"/>
                  <a:pt x="145" y="1144"/>
                  <a:pt x="145" y="1140"/>
                </a:cubicBezTo>
                <a:cubicBezTo>
                  <a:pt x="145" y="1138"/>
                  <a:pt x="148" y="1137"/>
                  <a:pt x="151" y="1136"/>
                </a:cubicBezTo>
                <a:cubicBezTo>
                  <a:pt x="155" y="1135"/>
                  <a:pt x="157" y="1134"/>
                  <a:pt x="158" y="1134"/>
                </a:cubicBezTo>
                <a:cubicBezTo>
                  <a:pt x="165" y="1135"/>
                  <a:pt x="169" y="1133"/>
                  <a:pt x="171" y="1128"/>
                </a:cubicBezTo>
                <a:lnTo>
                  <a:pt x="173" y="1129"/>
                </a:lnTo>
                <a:cubicBezTo>
                  <a:pt x="176" y="1131"/>
                  <a:pt x="181" y="1132"/>
                  <a:pt x="187" y="1133"/>
                </a:cubicBezTo>
                <a:cubicBezTo>
                  <a:pt x="192" y="1133"/>
                  <a:pt x="197" y="1132"/>
                  <a:pt x="201" y="1128"/>
                </a:cubicBezTo>
                <a:cubicBezTo>
                  <a:pt x="204" y="1124"/>
                  <a:pt x="207" y="1122"/>
                  <a:pt x="209" y="1123"/>
                </a:cubicBezTo>
                <a:cubicBezTo>
                  <a:pt x="213" y="1126"/>
                  <a:pt x="215" y="1127"/>
                  <a:pt x="217" y="1127"/>
                </a:cubicBezTo>
                <a:cubicBezTo>
                  <a:pt x="220" y="1128"/>
                  <a:pt x="221" y="1127"/>
                  <a:pt x="222" y="1125"/>
                </a:cubicBezTo>
                <a:cubicBezTo>
                  <a:pt x="223" y="1122"/>
                  <a:pt x="224" y="1121"/>
                  <a:pt x="225" y="1122"/>
                </a:cubicBezTo>
                <a:cubicBezTo>
                  <a:pt x="229" y="1123"/>
                  <a:pt x="231" y="1124"/>
                  <a:pt x="234" y="1124"/>
                </a:cubicBezTo>
                <a:cubicBezTo>
                  <a:pt x="236" y="1124"/>
                  <a:pt x="240" y="1123"/>
                  <a:pt x="247" y="1122"/>
                </a:cubicBezTo>
                <a:cubicBezTo>
                  <a:pt x="253" y="1120"/>
                  <a:pt x="256" y="1119"/>
                  <a:pt x="257" y="1118"/>
                </a:cubicBezTo>
                <a:cubicBezTo>
                  <a:pt x="267" y="1117"/>
                  <a:pt x="275" y="1113"/>
                  <a:pt x="282" y="1107"/>
                </a:cubicBezTo>
                <a:lnTo>
                  <a:pt x="293" y="1098"/>
                </a:lnTo>
                <a:cubicBezTo>
                  <a:pt x="295" y="1093"/>
                  <a:pt x="298" y="1089"/>
                  <a:pt x="299" y="1087"/>
                </a:cubicBezTo>
                <a:cubicBezTo>
                  <a:pt x="303" y="1082"/>
                  <a:pt x="306" y="1079"/>
                  <a:pt x="306" y="1078"/>
                </a:cubicBezTo>
                <a:cubicBezTo>
                  <a:pt x="312" y="1075"/>
                  <a:pt x="315" y="1073"/>
                  <a:pt x="315" y="1072"/>
                </a:cubicBezTo>
                <a:cubicBezTo>
                  <a:pt x="316" y="1072"/>
                  <a:pt x="314" y="1071"/>
                  <a:pt x="312" y="1069"/>
                </a:cubicBezTo>
                <a:cubicBezTo>
                  <a:pt x="309" y="1068"/>
                  <a:pt x="308" y="1066"/>
                  <a:pt x="308" y="1064"/>
                </a:cubicBezTo>
                <a:cubicBezTo>
                  <a:pt x="307" y="1059"/>
                  <a:pt x="306" y="1054"/>
                  <a:pt x="307" y="1051"/>
                </a:cubicBezTo>
                <a:cubicBezTo>
                  <a:pt x="307" y="1049"/>
                  <a:pt x="308" y="1047"/>
                  <a:pt x="312" y="1044"/>
                </a:cubicBezTo>
                <a:cubicBezTo>
                  <a:pt x="315" y="1040"/>
                  <a:pt x="316" y="1038"/>
                  <a:pt x="316" y="1037"/>
                </a:cubicBezTo>
                <a:cubicBezTo>
                  <a:pt x="317" y="1035"/>
                  <a:pt x="315" y="1033"/>
                  <a:pt x="313" y="1030"/>
                </a:cubicBezTo>
                <a:cubicBezTo>
                  <a:pt x="310" y="1027"/>
                  <a:pt x="309" y="1023"/>
                  <a:pt x="309" y="1020"/>
                </a:cubicBezTo>
                <a:cubicBezTo>
                  <a:pt x="309" y="1019"/>
                  <a:pt x="311" y="1018"/>
                  <a:pt x="313" y="1016"/>
                </a:cubicBezTo>
                <a:cubicBezTo>
                  <a:pt x="316" y="1014"/>
                  <a:pt x="317" y="1012"/>
                  <a:pt x="317" y="1011"/>
                </a:cubicBezTo>
                <a:cubicBezTo>
                  <a:pt x="317" y="1006"/>
                  <a:pt x="315" y="1003"/>
                  <a:pt x="311" y="1001"/>
                </a:cubicBezTo>
                <a:cubicBezTo>
                  <a:pt x="309" y="1001"/>
                  <a:pt x="305" y="1000"/>
                  <a:pt x="298" y="999"/>
                </a:cubicBezTo>
                <a:cubicBezTo>
                  <a:pt x="296" y="999"/>
                  <a:pt x="294" y="999"/>
                  <a:pt x="293" y="1000"/>
                </a:cubicBezTo>
                <a:cubicBezTo>
                  <a:pt x="292" y="1001"/>
                  <a:pt x="289" y="1001"/>
                  <a:pt x="286" y="1000"/>
                </a:cubicBezTo>
                <a:cubicBezTo>
                  <a:pt x="284" y="1000"/>
                  <a:pt x="283" y="1000"/>
                  <a:pt x="281" y="1002"/>
                </a:cubicBezTo>
                <a:cubicBezTo>
                  <a:pt x="280" y="1002"/>
                  <a:pt x="279" y="1003"/>
                  <a:pt x="278" y="1005"/>
                </a:cubicBezTo>
                <a:cubicBezTo>
                  <a:pt x="277" y="1005"/>
                  <a:pt x="273" y="1006"/>
                  <a:pt x="267" y="1007"/>
                </a:cubicBezTo>
                <a:cubicBezTo>
                  <a:pt x="261" y="1008"/>
                  <a:pt x="256" y="1009"/>
                  <a:pt x="254" y="1008"/>
                </a:cubicBezTo>
                <a:cubicBezTo>
                  <a:pt x="249" y="1008"/>
                  <a:pt x="246" y="1006"/>
                  <a:pt x="246" y="1004"/>
                </a:cubicBezTo>
                <a:cubicBezTo>
                  <a:pt x="247" y="1001"/>
                  <a:pt x="251" y="997"/>
                  <a:pt x="260" y="993"/>
                </a:cubicBezTo>
                <a:cubicBezTo>
                  <a:pt x="267" y="990"/>
                  <a:pt x="271" y="988"/>
                  <a:pt x="275" y="987"/>
                </a:cubicBezTo>
                <a:cubicBezTo>
                  <a:pt x="278" y="987"/>
                  <a:pt x="283" y="985"/>
                  <a:pt x="288" y="982"/>
                </a:cubicBezTo>
                <a:cubicBezTo>
                  <a:pt x="293" y="979"/>
                  <a:pt x="297" y="977"/>
                  <a:pt x="299" y="976"/>
                </a:cubicBezTo>
                <a:cubicBezTo>
                  <a:pt x="299" y="976"/>
                  <a:pt x="300" y="975"/>
                  <a:pt x="300" y="975"/>
                </a:cubicBezTo>
                <a:cubicBezTo>
                  <a:pt x="300" y="975"/>
                  <a:pt x="300" y="975"/>
                  <a:pt x="301" y="975"/>
                </a:cubicBezTo>
                <a:cubicBezTo>
                  <a:pt x="301" y="975"/>
                  <a:pt x="301" y="975"/>
                  <a:pt x="301" y="974"/>
                </a:cubicBezTo>
                <a:cubicBezTo>
                  <a:pt x="307" y="969"/>
                  <a:pt x="311" y="964"/>
                  <a:pt x="314" y="960"/>
                </a:cubicBezTo>
                <a:cubicBezTo>
                  <a:pt x="315" y="959"/>
                  <a:pt x="316" y="957"/>
                  <a:pt x="318" y="956"/>
                </a:cubicBezTo>
                <a:cubicBezTo>
                  <a:pt x="319" y="954"/>
                  <a:pt x="320" y="953"/>
                  <a:pt x="321" y="952"/>
                </a:cubicBezTo>
                <a:cubicBezTo>
                  <a:pt x="324" y="950"/>
                  <a:pt x="326" y="949"/>
                  <a:pt x="329" y="948"/>
                </a:cubicBezTo>
                <a:cubicBezTo>
                  <a:pt x="331" y="948"/>
                  <a:pt x="335" y="948"/>
                  <a:pt x="340" y="948"/>
                </a:cubicBezTo>
                <a:cubicBezTo>
                  <a:pt x="346" y="949"/>
                  <a:pt x="350" y="950"/>
                  <a:pt x="351" y="950"/>
                </a:cubicBezTo>
                <a:cubicBezTo>
                  <a:pt x="360" y="950"/>
                  <a:pt x="364" y="947"/>
                  <a:pt x="364" y="939"/>
                </a:cubicBezTo>
                <a:cubicBezTo>
                  <a:pt x="368" y="941"/>
                  <a:pt x="373" y="944"/>
                  <a:pt x="380" y="949"/>
                </a:cubicBezTo>
                <a:cubicBezTo>
                  <a:pt x="386" y="953"/>
                  <a:pt x="389" y="955"/>
                  <a:pt x="389" y="955"/>
                </a:cubicBezTo>
                <a:cubicBezTo>
                  <a:pt x="390" y="955"/>
                  <a:pt x="394" y="955"/>
                  <a:pt x="401" y="953"/>
                </a:cubicBezTo>
                <a:cubicBezTo>
                  <a:pt x="408" y="951"/>
                  <a:pt x="412" y="950"/>
                  <a:pt x="413" y="950"/>
                </a:cubicBezTo>
                <a:cubicBezTo>
                  <a:pt x="419" y="951"/>
                  <a:pt x="424" y="954"/>
                  <a:pt x="428" y="960"/>
                </a:cubicBezTo>
                <a:cubicBezTo>
                  <a:pt x="430" y="963"/>
                  <a:pt x="433" y="968"/>
                  <a:pt x="437" y="975"/>
                </a:cubicBezTo>
                <a:cubicBezTo>
                  <a:pt x="437" y="976"/>
                  <a:pt x="438" y="977"/>
                  <a:pt x="438" y="978"/>
                </a:cubicBezTo>
                <a:lnTo>
                  <a:pt x="439" y="974"/>
                </a:lnTo>
                <a:cubicBezTo>
                  <a:pt x="439" y="969"/>
                  <a:pt x="439" y="966"/>
                  <a:pt x="439" y="964"/>
                </a:cubicBezTo>
                <a:cubicBezTo>
                  <a:pt x="437" y="958"/>
                  <a:pt x="436" y="955"/>
                  <a:pt x="436" y="953"/>
                </a:cubicBezTo>
                <a:cubicBezTo>
                  <a:pt x="437" y="952"/>
                  <a:pt x="438" y="951"/>
                  <a:pt x="441" y="950"/>
                </a:cubicBezTo>
                <a:cubicBezTo>
                  <a:pt x="443" y="949"/>
                  <a:pt x="445" y="948"/>
                  <a:pt x="446" y="949"/>
                </a:cubicBezTo>
                <a:cubicBezTo>
                  <a:pt x="450" y="949"/>
                  <a:pt x="453" y="951"/>
                  <a:pt x="454" y="954"/>
                </a:cubicBezTo>
                <a:cubicBezTo>
                  <a:pt x="455" y="955"/>
                  <a:pt x="455" y="956"/>
                  <a:pt x="456" y="959"/>
                </a:cubicBezTo>
                <a:cubicBezTo>
                  <a:pt x="456" y="960"/>
                  <a:pt x="456" y="961"/>
                  <a:pt x="456" y="963"/>
                </a:cubicBezTo>
                <a:cubicBezTo>
                  <a:pt x="458" y="972"/>
                  <a:pt x="462" y="976"/>
                  <a:pt x="470" y="977"/>
                </a:cubicBezTo>
                <a:cubicBezTo>
                  <a:pt x="471" y="977"/>
                  <a:pt x="474" y="977"/>
                  <a:pt x="477" y="976"/>
                </a:cubicBezTo>
                <a:cubicBezTo>
                  <a:pt x="480" y="975"/>
                  <a:pt x="482" y="974"/>
                  <a:pt x="482" y="972"/>
                </a:cubicBezTo>
                <a:cubicBezTo>
                  <a:pt x="482" y="971"/>
                  <a:pt x="482" y="971"/>
                  <a:pt x="481" y="971"/>
                </a:cubicBezTo>
                <a:cubicBezTo>
                  <a:pt x="480" y="971"/>
                  <a:pt x="479" y="971"/>
                  <a:pt x="477" y="971"/>
                </a:cubicBezTo>
                <a:cubicBezTo>
                  <a:pt x="475" y="971"/>
                  <a:pt x="471" y="970"/>
                  <a:pt x="465" y="968"/>
                </a:cubicBezTo>
                <a:cubicBezTo>
                  <a:pt x="463" y="967"/>
                  <a:pt x="462" y="964"/>
                  <a:pt x="460" y="958"/>
                </a:cubicBezTo>
                <a:cubicBezTo>
                  <a:pt x="460" y="956"/>
                  <a:pt x="460" y="955"/>
                  <a:pt x="460" y="952"/>
                </a:cubicBezTo>
                <a:cubicBezTo>
                  <a:pt x="460" y="950"/>
                  <a:pt x="460" y="948"/>
                  <a:pt x="459" y="946"/>
                </a:cubicBezTo>
                <a:cubicBezTo>
                  <a:pt x="457" y="942"/>
                  <a:pt x="455" y="939"/>
                  <a:pt x="456" y="936"/>
                </a:cubicBezTo>
                <a:cubicBezTo>
                  <a:pt x="456" y="930"/>
                  <a:pt x="457" y="926"/>
                  <a:pt x="457" y="923"/>
                </a:cubicBezTo>
                <a:cubicBezTo>
                  <a:pt x="458" y="921"/>
                  <a:pt x="460" y="918"/>
                  <a:pt x="464" y="914"/>
                </a:cubicBezTo>
                <a:cubicBezTo>
                  <a:pt x="469" y="909"/>
                  <a:pt x="472" y="905"/>
                  <a:pt x="474" y="904"/>
                </a:cubicBezTo>
                <a:cubicBezTo>
                  <a:pt x="477" y="902"/>
                  <a:pt x="481" y="901"/>
                  <a:pt x="485" y="901"/>
                </a:cubicBezTo>
                <a:lnTo>
                  <a:pt x="485" y="901"/>
                </a:lnTo>
                <a:lnTo>
                  <a:pt x="485" y="901"/>
                </a:lnTo>
                <a:lnTo>
                  <a:pt x="485" y="900"/>
                </a:lnTo>
                <a:cubicBezTo>
                  <a:pt x="482" y="899"/>
                  <a:pt x="479" y="897"/>
                  <a:pt x="477" y="895"/>
                </a:cubicBezTo>
                <a:cubicBezTo>
                  <a:pt x="472" y="891"/>
                  <a:pt x="470" y="888"/>
                  <a:pt x="471" y="885"/>
                </a:cubicBezTo>
                <a:cubicBezTo>
                  <a:pt x="471" y="879"/>
                  <a:pt x="473" y="876"/>
                  <a:pt x="474" y="873"/>
                </a:cubicBezTo>
                <a:lnTo>
                  <a:pt x="475" y="873"/>
                </a:lnTo>
                <a:cubicBezTo>
                  <a:pt x="475" y="873"/>
                  <a:pt x="475" y="873"/>
                  <a:pt x="475" y="872"/>
                </a:cubicBezTo>
                <a:cubicBezTo>
                  <a:pt x="476" y="869"/>
                  <a:pt x="476" y="866"/>
                  <a:pt x="477" y="865"/>
                </a:cubicBezTo>
                <a:cubicBezTo>
                  <a:pt x="478" y="861"/>
                  <a:pt x="481" y="861"/>
                  <a:pt x="486" y="863"/>
                </a:cubicBezTo>
                <a:cubicBezTo>
                  <a:pt x="488" y="863"/>
                  <a:pt x="491" y="863"/>
                  <a:pt x="494" y="861"/>
                </a:cubicBezTo>
                <a:cubicBezTo>
                  <a:pt x="498" y="859"/>
                  <a:pt x="500" y="857"/>
                  <a:pt x="500" y="855"/>
                </a:cubicBezTo>
                <a:cubicBezTo>
                  <a:pt x="500" y="853"/>
                  <a:pt x="500" y="851"/>
                  <a:pt x="499" y="849"/>
                </a:cubicBezTo>
                <a:cubicBezTo>
                  <a:pt x="497" y="848"/>
                  <a:pt x="497" y="846"/>
                  <a:pt x="497" y="845"/>
                </a:cubicBezTo>
                <a:cubicBezTo>
                  <a:pt x="497" y="844"/>
                  <a:pt x="500" y="842"/>
                  <a:pt x="505" y="839"/>
                </a:cubicBezTo>
                <a:cubicBezTo>
                  <a:pt x="509" y="836"/>
                  <a:pt x="512" y="834"/>
                  <a:pt x="512" y="831"/>
                </a:cubicBezTo>
                <a:cubicBezTo>
                  <a:pt x="512" y="830"/>
                  <a:pt x="512" y="829"/>
                  <a:pt x="511" y="828"/>
                </a:cubicBezTo>
                <a:cubicBezTo>
                  <a:pt x="511" y="827"/>
                  <a:pt x="511" y="826"/>
                  <a:pt x="511" y="825"/>
                </a:cubicBezTo>
                <a:cubicBezTo>
                  <a:pt x="511" y="824"/>
                  <a:pt x="511" y="822"/>
                  <a:pt x="512" y="822"/>
                </a:cubicBezTo>
                <a:lnTo>
                  <a:pt x="508" y="821"/>
                </a:lnTo>
                <a:cubicBezTo>
                  <a:pt x="507" y="822"/>
                  <a:pt x="505" y="823"/>
                  <a:pt x="501" y="825"/>
                </a:cubicBezTo>
                <a:cubicBezTo>
                  <a:pt x="499" y="825"/>
                  <a:pt x="496" y="823"/>
                  <a:pt x="495" y="817"/>
                </a:cubicBezTo>
                <a:cubicBezTo>
                  <a:pt x="493" y="813"/>
                  <a:pt x="492" y="810"/>
                  <a:pt x="492" y="810"/>
                </a:cubicBezTo>
                <a:cubicBezTo>
                  <a:pt x="480" y="826"/>
                  <a:pt x="474" y="834"/>
                  <a:pt x="474" y="834"/>
                </a:cubicBezTo>
                <a:cubicBezTo>
                  <a:pt x="471" y="833"/>
                  <a:pt x="470" y="830"/>
                  <a:pt x="471" y="824"/>
                </a:cubicBezTo>
                <a:cubicBezTo>
                  <a:pt x="471" y="821"/>
                  <a:pt x="472" y="819"/>
                  <a:pt x="472" y="818"/>
                </a:cubicBezTo>
                <a:cubicBezTo>
                  <a:pt x="473" y="816"/>
                  <a:pt x="474" y="813"/>
                  <a:pt x="475" y="808"/>
                </a:cubicBezTo>
                <a:lnTo>
                  <a:pt x="476" y="804"/>
                </a:lnTo>
                <a:cubicBezTo>
                  <a:pt x="475" y="804"/>
                  <a:pt x="474" y="805"/>
                  <a:pt x="472" y="807"/>
                </a:cubicBezTo>
                <a:cubicBezTo>
                  <a:pt x="471" y="808"/>
                  <a:pt x="469" y="809"/>
                  <a:pt x="467" y="809"/>
                </a:cubicBezTo>
                <a:cubicBezTo>
                  <a:pt x="465" y="808"/>
                  <a:pt x="462" y="806"/>
                  <a:pt x="461" y="801"/>
                </a:cubicBezTo>
                <a:cubicBezTo>
                  <a:pt x="459" y="797"/>
                  <a:pt x="459" y="793"/>
                  <a:pt x="459" y="789"/>
                </a:cubicBezTo>
                <a:cubicBezTo>
                  <a:pt x="460" y="785"/>
                  <a:pt x="460" y="782"/>
                  <a:pt x="459" y="780"/>
                </a:cubicBezTo>
                <a:cubicBezTo>
                  <a:pt x="459" y="775"/>
                  <a:pt x="458" y="771"/>
                  <a:pt x="458" y="768"/>
                </a:cubicBezTo>
                <a:cubicBezTo>
                  <a:pt x="457" y="764"/>
                  <a:pt x="456" y="761"/>
                  <a:pt x="454" y="758"/>
                </a:cubicBezTo>
                <a:cubicBezTo>
                  <a:pt x="451" y="754"/>
                  <a:pt x="449" y="751"/>
                  <a:pt x="450" y="748"/>
                </a:cubicBezTo>
                <a:cubicBezTo>
                  <a:pt x="450" y="745"/>
                  <a:pt x="453" y="739"/>
                  <a:pt x="459" y="731"/>
                </a:cubicBezTo>
                <a:cubicBezTo>
                  <a:pt x="463" y="725"/>
                  <a:pt x="467" y="721"/>
                  <a:pt x="469" y="717"/>
                </a:cubicBezTo>
                <a:cubicBezTo>
                  <a:pt x="469" y="717"/>
                  <a:pt x="469" y="716"/>
                  <a:pt x="470" y="716"/>
                </a:cubicBezTo>
                <a:cubicBezTo>
                  <a:pt x="471" y="714"/>
                  <a:pt x="472" y="712"/>
                  <a:pt x="474" y="710"/>
                </a:cubicBezTo>
                <a:cubicBezTo>
                  <a:pt x="477" y="706"/>
                  <a:pt x="479" y="703"/>
                  <a:pt x="480" y="701"/>
                </a:cubicBezTo>
                <a:cubicBezTo>
                  <a:pt x="481" y="699"/>
                  <a:pt x="483" y="697"/>
                  <a:pt x="487" y="694"/>
                </a:cubicBezTo>
                <a:cubicBezTo>
                  <a:pt x="490" y="691"/>
                  <a:pt x="493" y="690"/>
                  <a:pt x="495" y="690"/>
                </a:cubicBezTo>
                <a:lnTo>
                  <a:pt x="498" y="692"/>
                </a:lnTo>
                <a:cubicBezTo>
                  <a:pt x="500" y="693"/>
                  <a:pt x="501" y="691"/>
                  <a:pt x="502" y="688"/>
                </a:cubicBezTo>
                <a:cubicBezTo>
                  <a:pt x="503" y="686"/>
                  <a:pt x="504" y="683"/>
                  <a:pt x="504" y="682"/>
                </a:cubicBezTo>
                <a:cubicBezTo>
                  <a:pt x="505" y="682"/>
                  <a:pt x="507" y="682"/>
                  <a:pt x="508" y="682"/>
                </a:cubicBezTo>
                <a:cubicBezTo>
                  <a:pt x="511" y="682"/>
                  <a:pt x="514" y="683"/>
                  <a:pt x="515" y="686"/>
                </a:cubicBezTo>
                <a:cubicBezTo>
                  <a:pt x="517" y="688"/>
                  <a:pt x="519" y="690"/>
                  <a:pt x="521" y="690"/>
                </a:cubicBezTo>
                <a:cubicBezTo>
                  <a:pt x="521" y="690"/>
                  <a:pt x="524" y="689"/>
                  <a:pt x="529" y="687"/>
                </a:cubicBezTo>
                <a:lnTo>
                  <a:pt x="529" y="684"/>
                </a:lnTo>
                <a:cubicBezTo>
                  <a:pt x="528" y="684"/>
                  <a:pt x="528" y="684"/>
                  <a:pt x="527" y="683"/>
                </a:cubicBezTo>
                <a:cubicBezTo>
                  <a:pt x="522" y="683"/>
                  <a:pt x="518" y="682"/>
                  <a:pt x="514" y="679"/>
                </a:cubicBezTo>
                <a:cubicBezTo>
                  <a:pt x="512" y="679"/>
                  <a:pt x="510" y="678"/>
                  <a:pt x="509" y="678"/>
                </a:cubicBezTo>
                <a:cubicBezTo>
                  <a:pt x="506" y="677"/>
                  <a:pt x="504" y="677"/>
                  <a:pt x="503" y="676"/>
                </a:cubicBezTo>
                <a:cubicBezTo>
                  <a:pt x="498" y="673"/>
                  <a:pt x="494" y="672"/>
                  <a:pt x="492" y="670"/>
                </a:cubicBezTo>
                <a:cubicBezTo>
                  <a:pt x="486" y="667"/>
                  <a:pt x="482" y="665"/>
                  <a:pt x="480" y="665"/>
                </a:cubicBezTo>
                <a:cubicBezTo>
                  <a:pt x="478" y="664"/>
                  <a:pt x="476" y="665"/>
                  <a:pt x="476" y="667"/>
                </a:cubicBezTo>
                <a:cubicBezTo>
                  <a:pt x="475" y="667"/>
                  <a:pt x="475" y="669"/>
                  <a:pt x="474" y="673"/>
                </a:cubicBezTo>
                <a:cubicBezTo>
                  <a:pt x="473" y="678"/>
                  <a:pt x="468" y="681"/>
                  <a:pt x="461" y="680"/>
                </a:cubicBezTo>
                <a:lnTo>
                  <a:pt x="449" y="678"/>
                </a:lnTo>
                <a:cubicBezTo>
                  <a:pt x="447" y="678"/>
                  <a:pt x="444" y="679"/>
                  <a:pt x="441" y="682"/>
                </a:cubicBezTo>
                <a:cubicBezTo>
                  <a:pt x="437" y="686"/>
                  <a:pt x="434" y="688"/>
                  <a:pt x="431" y="687"/>
                </a:cubicBezTo>
                <a:cubicBezTo>
                  <a:pt x="428" y="687"/>
                  <a:pt x="426" y="686"/>
                  <a:pt x="425" y="684"/>
                </a:cubicBezTo>
                <a:cubicBezTo>
                  <a:pt x="422" y="681"/>
                  <a:pt x="420" y="679"/>
                  <a:pt x="420" y="679"/>
                </a:cubicBezTo>
                <a:cubicBezTo>
                  <a:pt x="420" y="680"/>
                  <a:pt x="419" y="680"/>
                  <a:pt x="418" y="682"/>
                </a:cubicBezTo>
                <a:cubicBezTo>
                  <a:pt x="418" y="683"/>
                  <a:pt x="417" y="683"/>
                  <a:pt x="416" y="683"/>
                </a:cubicBezTo>
                <a:cubicBezTo>
                  <a:pt x="414" y="683"/>
                  <a:pt x="412" y="682"/>
                  <a:pt x="410" y="680"/>
                </a:cubicBezTo>
                <a:cubicBezTo>
                  <a:pt x="408" y="679"/>
                  <a:pt x="407" y="676"/>
                  <a:pt x="407" y="674"/>
                </a:cubicBezTo>
                <a:cubicBezTo>
                  <a:pt x="408" y="673"/>
                  <a:pt x="408" y="672"/>
                  <a:pt x="408" y="672"/>
                </a:cubicBezTo>
                <a:cubicBezTo>
                  <a:pt x="402" y="667"/>
                  <a:pt x="399" y="665"/>
                  <a:pt x="399" y="664"/>
                </a:cubicBezTo>
                <a:cubicBezTo>
                  <a:pt x="397" y="661"/>
                  <a:pt x="396" y="657"/>
                  <a:pt x="394" y="652"/>
                </a:cubicBezTo>
                <a:cubicBezTo>
                  <a:pt x="393" y="653"/>
                  <a:pt x="391" y="654"/>
                  <a:pt x="390" y="656"/>
                </a:cubicBezTo>
                <a:cubicBezTo>
                  <a:pt x="388" y="658"/>
                  <a:pt x="386" y="660"/>
                  <a:pt x="386" y="661"/>
                </a:cubicBezTo>
                <a:cubicBezTo>
                  <a:pt x="386" y="662"/>
                  <a:pt x="387" y="664"/>
                  <a:pt x="388" y="666"/>
                </a:cubicBezTo>
                <a:cubicBezTo>
                  <a:pt x="389" y="667"/>
                  <a:pt x="389" y="670"/>
                  <a:pt x="389" y="672"/>
                </a:cubicBezTo>
                <a:cubicBezTo>
                  <a:pt x="389" y="675"/>
                  <a:pt x="387" y="682"/>
                  <a:pt x="385" y="691"/>
                </a:cubicBezTo>
                <a:lnTo>
                  <a:pt x="383" y="691"/>
                </a:lnTo>
                <a:cubicBezTo>
                  <a:pt x="380" y="689"/>
                  <a:pt x="376" y="686"/>
                  <a:pt x="372" y="680"/>
                </a:cubicBezTo>
                <a:cubicBezTo>
                  <a:pt x="368" y="673"/>
                  <a:pt x="365" y="669"/>
                  <a:pt x="363" y="667"/>
                </a:cubicBezTo>
                <a:cubicBezTo>
                  <a:pt x="361" y="665"/>
                  <a:pt x="357" y="662"/>
                  <a:pt x="353" y="657"/>
                </a:cubicBezTo>
                <a:cubicBezTo>
                  <a:pt x="348" y="650"/>
                  <a:pt x="344" y="647"/>
                  <a:pt x="342" y="647"/>
                </a:cubicBezTo>
                <a:cubicBezTo>
                  <a:pt x="342" y="647"/>
                  <a:pt x="339" y="647"/>
                  <a:pt x="336" y="649"/>
                </a:cubicBezTo>
                <a:cubicBezTo>
                  <a:pt x="333" y="650"/>
                  <a:pt x="332" y="652"/>
                  <a:pt x="331" y="653"/>
                </a:cubicBezTo>
                <a:cubicBezTo>
                  <a:pt x="331" y="653"/>
                  <a:pt x="332" y="655"/>
                  <a:pt x="332" y="657"/>
                </a:cubicBezTo>
                <a:lnTo>
                  <a:pt x="332" y="663"/>
                </a:lnTo>
                <a:cubicBezTo>
                  <a:pt x="332" y="664"/>
                  <a:pt x="331" y="665"/>
                  <a:pt x="331" y="668"/>
                </a:cubicBezTo>
                <a:cubicBezTo>
                  <a:pt x="330" y="672"/>
                  <a:pt x="331" y="675"/>
                  <a:pt x="333" y="677"/>
                </a:cubicBezTo>
                <a:cubicBezTo>
                  <a:pt x="335" y="680"/>
                  <a:pt x="335" y="681"/>
                  <a:pt x="335" y="683"/>
                </a:cubicBezTo>
                <a:cubicBezTo>
                  <a:pt x="335" y="685"/>
                  <a:pt x="334" y="686"/>
                  <a:pt x="333" y="686"/>
                </a:cubicBezTo>
                <a:cubicBezTo>
                  <a:pt x="328" y="686"/>
                  <a:pt x="326" y="681"/>
                  <a:pt x="327" y="672"/>
                </a:cubicBezTo>
                <a:cubicBezTo>
                  <a:pt x="327" y="671"/>
                  <a:pt x="327" y="669"/>
                  <a:pt x="327" y="668"/>
                </a:cubicBezTo>
                <a:cubicBezTo>
                  <a:pt x="327" y="665"/>
                  <a:pt x="326" y="661"/>
                  <a:pt x="324" y="658"/>
                </a:cubicBezTo>
                <a:cubicBezTo>
                  <a:pt x="322" y="656"/>
                  <a:pt x="320" y="654"/>
                  <a:pt x="319" y="652"/>
                </a:cubicBezTo>
                <a:cubicBezTo>
                  <a:pt x="317" y="649"/>
                  <a:pt x="316" y="647"/>
                  <a:pt x="316" y="645"/>
                </a:cubicBezTo>
                <a:cubicBezTo>
                  <a:pt x="316" y="636"/>
                  <a:pt x="316" y="630"/>
                  <a:pt x="316" y="629"/>
                </a:cubicBezTo>
                <a:cubicBezTo>
                  <a:pt x="320" y="618"/>
                  <a:pt x="323" y="613"/>
                  <a:pt x="325" y="613"/>
                </a:cubicBezTo>
                <a:lnTo>
                  <a:pt x="326" y="614"/>
                </a:lnTo>
                <a:lnTo>
                  <a:pt x="326" y="614"/>
                </a:lnTo>
                <a:cubicBezTo>
                  <a:pt x="327" y="614"/>
                  <a:pt x="328" y="617"/>
                  <a:pt x="329" y="622"/>
                </a:cubicBezTo>
                <a:cubicBezTo>
                  <a:pt x="329" y="623"/>
                  <a:pt x="329" y="624"/>
                  <a:pt x="329" y="626"/>
                </a:cubicBezTo>
                <a:cubicBezTo>
                  <a:pt x="329" y="634"/>
                  <a:pt x="331" y="639"/>
                  <a:pt x="334" y="639"/>
                </a:cubicBezTo>
                <a:cubicBezTo>
                  <a:pt x="336" y="639"/>
                  <a:pt x="336" y="638"/>
                  <a:pt x="337" y="635"/>
                </a:cubicBezTo>
                <a:cubicBezTo>
                  <a:pt x="337" y="634"/>
                  <a:pt x="336" y="631"/>
                  <a:pt x="335" y="627"/>
                </a:cubicBezTo>
                <a:cubicBezTo>
                  <a:pt x="335" y="625"/>
                  <a:pt x="334" y="623"/>
                  <a:pt x="334" y="621"/>
                </a:cubicBezTo>
                <a:cubicBezTo>
                  <a:pt x="334" y="620"/>
                  <a:pt x="334" y="619"/>
                  <a:pt x="334" y="618"/>
                </a:cubicBezTo>
                <a:cubicBezTo>
                  <a:pt x="334" y="617"/>
                  <a:pt x="334" y="616"/>
                  <a:pt x="334" y="615"/>
                </a:cubicBezTo>
                <a:cubicBezTo>
                  <a:pt x="336" y="608"/>
                  <a:pt x="340" y="602"/>
                  <a:pt x="347" y="597"/>
                </a:cubicBezTo>
                <a:cubicBezTo>
                  <a:pt x="352" y="595"/>
                  <a:pt x="355" y="593"/>
                  <a:pt x="357" y="591"/>
                </a:cubicBezTo>
                <a:cubicBezTo>
                  <a:pt x="362" y="589"/>
                  <a:pt x="365" y="586"/>
                  <a:pt x="367" y="583"/>
                </a:cubicBezTo>
                <a:cubicBezTo>
                  <a:pt x="368" y="582"/>
                  <a:pt x="369" y="580"/>
                  <a:pt x="369" y="577"/>
                </a:cubicBezTo>
                <a:cubicBezTo>
                  <a:pt x="370" y="575"/>
                  <a:pt x="371" y="572"/>
                  <a:pt x="372" y="571"/>
                </a:cubicBezTo>
                <a:cubicBezTo>
                  <a:pt x="377" y="566"/>
                  <a:pt x="380" y="563"/>
                  <a:pt x="381" y="562"/>
                </a:cubicBezTo>
                <a:cubicBezTo>
                  <a:pt x="383" y="560"/>
                  <a:pt x="385" y="559"/>
                  <a:pt x="386" y="559"/>
                </a:cubicBezTo>
                <a:cubicBezTo>
                  <a:pt x="388" y="558"/>
                  <a:pt x="390" y="557"/>
                  <a:pt x="392" y="558"/>
                </a:cubicBezTo>
                <a:cubicBezTo>
                  <a:pt x="393" y="558"/>
                  <a:pt x="395" y="557"/>
                  <a:pt x="397" y="554"/>
                </a:cubicBezTo>
                <a:cubicBezTo>
                  <a:pt x="398" y="553"/>
                  <a:pt x="399" y="552"/>
                  <a:pt x="400" y="551"/>
                </a:cubicBezTo>
                <a:lnTo>
                  <a:pt x="402" y="552"/>
                </a:lnTo>
                <a:cubicBezTo>
                  <a:pt x="402" y="552"/>
                  <a:pt x="402" y="551"/>
                  <a:pt x="402" y="551"/>
                </a:cubicBezTo>
                <a:cubicBezTo>
                  <a:pt x="401" y="538"/>
                  <a:pt x="400" y="529"/>
                  <a:pt x="398" y="525"/>
                </a:cubicBezTo>
                <a:cubicBezTo>
                  <a:pt x="396" y="522"/>
                  <a:pt x="393" y="518"/>
                  <a:pt x="389" y="513"/>
                </a:cubicBezTo>
                <a:cubicBezTo>
                  <a:pt x="386" y="510"/>
                  <a:pt x="384" y="507"/>
                  <a:pt x="384" y="504"/>
                </a:cubicBezTo>
                <a:cubicBezTo>
                  <a:pt x="384" y="503"/>
                  <a:pt x="385" y="502"/>
                  <a:pt x="385" y="502"/>
                </a:cubicBezTo>
                <a:cubicBezTo>
                  <a:pt x="386" y="501"/>
                  <a:pt x="386" y="501"/>
                  <a:pt x="387" y="500"/>
                </a:cubicBezTo>
                <a:cubicBezTo>
                  <a:pt x="389" y="500"/>
                  <a:pt x="390" y="498"/>
                  <a:pt x="391" y="495"/>
                </a:cubicBezTo>
                <a:cubicBezTo>
                  <a:pt x="392" y="493"/>
                  <a:pt x="393" y="489"/>
                  <a:pt x="394" y="483"/>
                </a:cubicBezTo>
                <a:cubicBezTo>
                  <a:pt x="395" y="477"/>
                  <a:pt x="396" y="474"/>
                  <a:pt x="398" y="472"/>
                </a:cubicBezTo>
                <a:cubicBezTo>
                  <a:pt x="399" y="471"/>
                  <a:pt x="399" y="470"/>
                  <a:pt x="400" y="468"/>
                </a:cubicBezTo>
                <a:cubicBezTo>
                  <a:pt x="402" y="466"/>
                  <a:pt x="404" y="464"/>
                  <a:pt x="407" y="465"/>
                </a:cubicBezTo>
                <a:cubicBezTo>
                  <a:pt x="409" y="465"/>
                  <a:pt x="417" y="469"/>
                  <a:pt x="431" y="477"/>
                </a:cubicBezTo>
                <a:lnTo>
                  <a:pt x="431" y="477"/>
                </a:lnTo>
                <a:cubicBezTo>
                  <a:pt x="430" y="474"/>
                  <a:pt x="426" y="469"/>
                  <a:pt x="422" y="462"/>
                </a:cubicBezTo>
                <a:cubicBezTo>
                  <a:pt x="421" y="461"/>
                  <a:pt x="419" y="459"/>
                  <a:pt x="415" y="454"/>
                </a:cubicBezTo>
                <a:cubicBezTo>
                  <a:pt x="412" y="451"/>
                  <a:pt x="410" y="449"/>
                  <a:pt x="411" y="446"/>
                </a:cubicBezTo>
                <a:cubicBezTo>
                  <a:pt x="411" y="444"/>
                  <a:pt x="411" y="442"/>
                  <a:pt x="413" y="441"/>
                </a:cubicBezTo>
                <a:cubicBezTo>
                  <a:pt x="414" y="439"/>
                  <a:pt x="416" y="437"/>
                  <a:pt x="417" y="435"/>
                </a:cubicBezTo>
                <a:cubicBezTo>
                  <a:pt x="417" y="435"/>
                  <a:pt x="417" y="435"/>
                  <a:pt x="417" y="434"/>
                </a:cubicBezTo>
                <a:cubicBezTo>
                  <a:pt x="416" y="434"/>
                  <a:pt x="415" y="435"/>
                  <a:pt x="413" y="435"/>
                </a:cubicBezTo>
                <a:cubicBezTo>
                  <a:pt x="413" y="435"/>
                  <a:pt x="413" y="435"/>
                  <a:pt x="413" y="434"/>
                </a:cubicBezTo>
                <a:cubicBezTo>
                  <a:pt x="414" y="434"/>
                  <a:pt x="414" y="433"/>
                  <a:pt x="414" y="432"/>
                </a:cubicBezTo>
                <a:cubicBezTo>
                  <a:pt x="414" y="431"/>
                  <a:pt x="414" y="429"/>
                  <a:pt x="415" y="428"/>
                </a:cubicBezTo>
                <a:cubicBezTo>
                  <a:pt x="414" y="428"/>
                  <a:pt x="414" y="428"/>
                  <a:pt x="414" y="427"/>
                </a:cubicBezTo>
                <a:cubicBezTo>
                  <a:pt x="408" y="428"/>
                  <a:pt x="405" y="431"/>
                  <a:pt x="404" y="435"/>
                </a:cubicBezTo>
                <a:cubicBezTo>
                  <a:pt x="403" y="437"/>
                  <a:pt x="402" y="442"/>
                  <a:pt x="400" y="448"/>
                </a:cubicBezTo>
                <a:cubicBezTo>
                  <a:pt x="400" y="450"/>
                  <a:pt x="398" y="454"/>
                  <a:pt x="395" y="459"/>
                </a:cubicBezTo>
                <a:cubicBezTo>
                  <a:pt x="394" y="461"/>
                  <a:pt x="393" y="462"/>
                  <a:pt x="392" y="463"/>
                </a:cubicBezTo>
                <a:lnTo>
                  <a:pt x="392" y="463"/>
                </a:lnTo>
                <a:cubicBezTo>
                  <a:pt x="389" y="467"/>
                  <a:pt x="386" y="469"/>
                  <a:pt x="385" y="469"/>
                </a:cubicBezTo>
                <a:cubicBezTo>
                  <a:pt x="383" y="467"/>
                  <a:pt x="382" y="463"/>
                  <a:pt x="382" y="458"/>
                </a:cubicBezTo>
                <a:cubicBezTo>
                  <a:pt x="383" y="453"/>
                  <a:pt x="382" y="449"/>
                  <a:pt x="380" y="447"/>
                </a:cubicBezTo>
                <a:cubicBezTo>
                  <a:pt x="380" y="448"/>
                  <a:pt x="379" y="450"/>
                  <a:pt x="377" y="454"/>
                </a:cubicBezTo>
                <a:cubicBezTo>
                  <a:pt x="376" y="457"/>
                  <a:pt x="375" y="459"/>
                  <a:pt x="374" y="460"/>
                </a:cubicBezTo>
                <a:lnTo>
                  <a:pt x="372" y="460"/>
                </a:lnTo>
                <a:cubicBezTo>
                  <a:pt x="371" y="457"/>
                  <a:pt x="371" y="455"/>
                  <a:pt x="371" y="454"/>
                </a:cubicBezTo>
                <a:cubicBezTo>
                  <a:pt x="371" y="453"/>
                  <a:pt x="371" y="452"/>
                  <a:pt x="372" y="451"/>
                </a:cubicBezTo>
                <a:cubicBezTo>
                  <a:pt x="371" y="450"/>
                  <a:pt x="371" y="449"/>
                  <a:pt x="370" y="449"/>
                </a:cubicBezTo>
                <a:cubicBezTo>
                  <a:pt x="368" y="448"/>
                  <a:pt x="366" y="451"/>
                  <a:pt x="364" y="457"/>
                </a:cubicBezTo>
                <a:cubicBezTo>
                  <a:pt x="362" y="463"/>
                  <a:pt x="360" y="466"/>
                  <a:pt x="358" y="466"/>
                </a:cubicBezTo>
                <a:cubicBezTo>
                  <a:pt x="357" y="466"/>
                  <a:pt x="356" y="466"/>
                  <a:pt x="355" y="465"/>
                </a:cubicBezTo>
                <a:cubicBezTo>
                  <a:pt x="355" y="464"/>
                  <a:pt x="355" y="463"/>
                  <a:pt x="355" y="461"/>
                </a:cubicBezTo>
                <a:cubicBezTo>
                  <a:pt x="355" y="459"/>
                  <a:pt x="356" y="456"/>
                  <a:pt x="357" y="453"/>
                </a:cubicBezTo>
                <a:cubicBezTo>
                  <a:pt x="358" y="451"/>
                  <a:pt x="359" y="449"/>
                  <a:pt x="359" y="449"/>
                </a:cubicBezTo>
                <a:cubicBezTo>
                  <a:pt x="360" y="442"/>
                  <a:pt x="367" y="435"/>
                  <a:pt x="382" y="426"/>
                </a:cubicBezTo>
                <a:cubicBezTo>
                  <a:pt x="382" y="426"/>
                  <a:pt x="382" y="426"/>
                  <a:pt x="382" y="426"/>
                </a:cubicBezTo>
                <a:cubicBezTo>
                  <a:pt x="387" y="423"/>
                  <a:pt x="392" y="420"/>
                  <a:pt x="395" y="418"/>
                </a:cubicBezTo>
                <a:cubicBezTo>
                  <a:pt x="403" y="413"/>
                  <a:pt x="408" y="408"/>
                  <a:pt x="410" y="406"/>
                </a:cubicBezTo>
                <a:cubicBezTo>
                  <a:pt x="410" y="406"/>
                  <a:pt x="410" y="405"/>
                  <a:pt x="410" y="405"/>
                </a:cubicBezTo>
                <a:lnTo>
                  <a:pt x="410" y="405"/>
                </a:lnTo>
                <a:cubicBezTo>
                  <a:pt x="406" y="407"/>
                  <a:pt x="400" y="409"/>
                  <a:pt x="392" y="413"/>
                </a:cubicBezTo>
                <a:cubicBezTo>
                  <a:pt x="387" y="416"/>
                  <a:pt x="383" y="418"/>
                  <a:pt x="380" y="419"/>
                </a:cubicBezTo>
                <a:cubicBezTo>
                  <a:pt x="379" y="419"/>
                  <a:pt x="379" y="420"/>
                  <a:pt x="379" y="420"/>
                </a:cubicBezTo>
                <a:cubicBezTo>
                  <a:pt x="377" y="420"/>
                  <a:pt x="375" y="421"/>
                  <a:pt x="374" y="421"/>
                </a:cubicBezTo>
                <a:cubicBezTo>
                  <a:pt x="370" y="423"/>
                  <a:pt x="364" y="427"/>
                  <a:pt x="358" y="433"/>
                </a:cubicBezTo>
                <a:cubicBezTo>
                  <a:pt x="356" y="434"/>
                  <a:pt x="353" y="436"/>
                  <a:pt x="349" y="438"/>
                </a:cubicBezTo>
                <a:cubicBezTo>
                  <a:pt x="346" y="440"/>
                  <a:pt x="344" y="443"/>
                  <a:pt x="344" y="446"/>
                </a:cubicBezTo>
                <a:cubicBezTo>
                  <a:pt x="344" y="447"/>
                  <a:pt x="344" y="450"/>
                  <a:pt x="344" y="453"/>
                </a:cubicBezTo>
                <a:cubicBezTo>
                  <a:pt x="344" y="454"/>
                  <a:pt x="343" y="455"/>
                  <a:pt x="343" y="458"/>
                </a:cubicBezTo>
                <a:cubicBezTo>
                  <a:pt x="342" y="460"/>
                  <a:pt x="344" y="463"/>
                  <a:pt x="346" y="466"/>
                </a:cubicBezTo>
                <a:cubicBezTo>
                  <a:pt x="347" y="467"/>
                  <a:pt x="348" y="469"/>
                  <a:pt x="348" y="470"/>
                </a:cubicBezTo>
                <a:cubicBezTo>
                  <a:pt x="349" y="471"/>
                  <a:pt x="349" y="472"/>
                  <a:pt x="349" y="473"/>
                </a:cubicBezTo>
                <a:cubicBezTo>
                  <a:pt x="349" y="474"/>
                  <a:pt x="345" y="476"/>
                  <a:pt x="337" y="480"/>
                </a:cubicBezTo>
                <a:cubicBezTo>
                  <a:pt x="329" y="485"/>
                  <a:pt x="324" y="488"/>
                  <a:pt x="324" y="490"/>
                </a:cubicBezTo>
                <a:cubicBezTo>
                  <a:pt x="324" y="491"/>
                  <a:pt x="324" y="493"/>
                  <a:pt x="325" y="497"/>
                </a:cubicBezTo>
                <a:cubicBezTo>
                  <a:pt x="325" y="498"/>
                  <a:pt x="325" y="499"/>
                  <a:pt x="324" y="500"/>
                </a:cubicBezTo>
                <a:cubicBezTo>
                  <a:pt x="323" y="505"/>
                  <a:pt x="320" y="510"/>
                  <a:pt x="315" y="517"/>
                </a:cubicBezTo>
                <a:cubicBezTo>
                  <a:pt x="308" y="525"/>
                  <a:pt x="305" y="530"/>
                  <a:pt x="305" y="532"/>
                </a:cubicBezTo>
                <a:lnTo>
                  <a:pt x="305" y="540"/>
                </a:lnTo>
                <a:cubicBezTo>
                  <a:pt x="305" y="542"/>
                  <a:pt x="303" y="544"/>
                  <a:pt x="301" y="545"/>
                </a:cubicBezTo>
                <a:cubicBezTo>
                  <a:pt x="299" y="547"/>
                  <a:pt x="296" y="547"/>
                  <a:pt x="294" y="547"/>
                </a:cubicBezTo>
                <a:cubicBezTo>
                  <a:pt x="286" y="546"/>
                  <a:pt x="282" y="544"/>
                  <a:pt x="283" y="541"/>
                </a:cubicBezTo>
                <a:cubicBezTo>
                  <a:pt x="283" y="539"/>
                  <a:pt x="284" y="538"/>
                  <a:pt x="284" y="538"/>
                </a:cubicBezTo>
                <a:cubicBezTo>
                  <a:pt x="284" y="535"/>
                  <a:pt x="284" y="533"/>
                  <a:pt x="284" y="532"/>
                </a:cubicBezTo>
                <a:cubicBezTo>
                  <a:pt x="284" y="531"/>
                  <a:pt x="285" y="530"/>
                  <a:pt x="287" y="529"/>
                </a:cubicBezTo>
                <a:cubicBezTo>
                  <a:pt x="290" y="527"/>
                  <a:pt x="291" y="527"/>
                  <a:pt x="292" y="526"/>
                </a:cubicBezTo>
                <a:cubicBezTo>
                  <a:pt x="294" y="525"/>
                  <a:pt x="295" y="524"/>
                  <a:pt x="296" y="523"/>
                </a:cubicBezTo>
                <a:cubicBezTo>
                  <a:pt x="296" y="520"/>
                  <a:pt x="297" y="519"/>
                  <a:pt x="298" y="518"/>
                </a:cubicBezTo>
                <a:cubicBezTo>
                  <a:pt x="299" y="516"/>
                  <a:pt x="300" y="512"/>
                  <a:pt x="301" y="506"/>
                </a:cubicBezTo>
                <a:cubicBezTo>
                  <a:pt x="301" y="505"/>
                  <a:pt x="301" y="503"/>
                  <a:pt x="303" y="501"/>
                </a:cubicBezTo>
                <a:cubicBezTo>
                  <a:pt x="305" y="499"/>
                  <a:pt x="306" y="497"/>
                  <a:pt x="306" y="497"/>
                </a:cubicBezTo>
                <a:cubicBezTo>
                  <a:pt x="309" y="490"/>
                  <a:pt x="315" y="484"/>
                  <a:pt x="324" y="477"/>
                </a:cubicBezTo>
                <a:cubicBezTo>
                  <a:pt x="333" y="472"/>
                  <a:pt x="337" y="470"/>
                  <a:pt x="337" y="470"/>
                </a:cubicBezTo>
                <a:cubicBezTo>
                  <a:pt x="337" y="469"/>
                  <a:pt x="337" y="468"/>
                  <a:pt x="336" y="467"/>
                </a:cubicBezTo>
                <a:cubicBezTo>
                  <a:pt x="334" y="466"/>
                  <a:pt x="334" y="466"/>
                  <a:pt x="333" y="466"/>
                </a:cubicBezTo>
                <a:cubicBezTo>
                  <a:pt x="332" y="466"/>
                  <a:pt x="330" y="466"/>
                  <a:pt x="329" y="467"/>
                </a:cubicBezTo>
                <a:cubicBezTo>
                  <a:pt x="327" y="468"/>
                  <a:pt x="325" y="468"/>
                  <a:pt x="324" y="468"/>
                </a:cubicBezTo>
                <a:cubicBezTo>
                  <a:pt x="321" y="468"/>
                  <a:pt x="320" y="466"/>
                  <a:pt x="321" y="462"/>
                </a:cubicBezTo>
                <a:cubicBezTo>
                  <a:pt x="321" y="459"/>
                  <a:pt x="323" y="456"/>
                  <a:pt x="326" y="453"/>
                </a:cubicBezTo>
                <a:cubicBezTo>
                  <a:pt x="330" y="450"/>
                  <a:pt x="333" y="447"/>
                  <a:pt x="333" y="447"/>
                </a:cubicBezTo>
                <a:lnTo>
                  <a:pt x="333" y="445"/>
                </a:lnTo>
                <a:cubicBezTo>
                  <a:pt x="333" y="444"/>
                  <a:pt x="331" y="444"/>
                  <a:pt x="329" y="444"/>
                </a:cubicBezTo>
                <a:cubicBezTo>
                  <a:pt x="327" y="444"/>
                  <a:pt x="326" y="443"/>
                  <a:pt x="326" y="441"/>
                </a:cubicBezTo>
                <a:cubicBezTo>
                  <a:pt x="326" y="440"/>
                  <a:pt x="328" y="438"/>
                  <a:pt x="330" y="437"/>
                </a:cubicBezTo>
                <a:cubicBezTo>
                  <a:pt x="333" y="435"/>
                  <a:pt x="334" y="434"/>
                  <a:pt x="334" y="433"/>
                </a:cubicBezTo>
                <a:cubicBezTo>
                  <a:pt x="334" y="431"/>
                  <a:pt x="334" y="431"/>
                  <a:pt x="332" y="431"/>
                </a:cubicBezTo>
                <a:cubicBezTo>
                  <a:pt x="331" y="431"/>
                  <a:pt x="330" y="430"/>
                  <a:pt x="329" y="430"/>
                </a:cubicBezTo>
                <a:cubicBezTo>
                  <a:pt x="330" y="428"/>
                  <a:pt x="331" y="426"/>
                  <a:pt x="332" y="425"/>
                </a:cubicBezTo>
                <a:cubicBezTo>
                  <a:pt x="333" y="424"/>
                  <a:pt x="333" y="423"/>
                  <a:pt x="334" y="423"/>
                </a:cubicBezTo>
                <a:cubicBezTo>
                  <a:pt x="334" y="422"/>
                  <a:pt x="335" y="422"/>
                  <a:pt x="335" y="422"/>
                </a:cubicBezTo>
                <a:cubicBezTo>
                  <a:pt x="343" y="422"/>
                  <a:pt x="347" y="421"/>
                  <a:pt x="347" y="419"/>
                </a:cubicBezTo>
                <a:cubicBezTo>
                  <a:pt x="348" y="418"/>
                  <a:pt x="347" y="416"/>
                  <a:pt x="347" y="414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347" y="413"/>
                  <a:pt x="347" y="413"/>
                  <a:pt x="346" y="413"/>
                </a:cubicBezTo>
                <a:cubicBezTo>
                  <a:pt x="346" y="411"/>
                  <a:pt x="346" y="409"/>
                  <a:pt x="346" y="407"/>
                </a:cubicBezTo>
                <a:cubicBezTo>
                  <a:pt x="347" y="405"/>
                  <a:pt x="349" y="403"/>
                  <a:pt x="350" y="401"/>
                </a:cubicBezTo>
                <a:cubicBezTo>
                  <a:pt x="353" y="396"/>
                  <a:pt x="355" y="394"/>
                  <a:pt x="355" y="394"/>
                </a:cubicBezTo>
                <a:cubicBezTo>
                  <a:pt x="351" y="388"/>
                  <a:pt x="349" y="384"/>
                  <a:pt x="349" y="381"/>
                </a:cubicBezTo>
                <a:cubicBezTo>
                  <a:pt x="349" y="380"/>
                  <a:pt x="351" y="379"/>
                  <a:pt x="356" y="377"/>
                </a:cubicBezTo>
                <a:cubicBezTo>
                  <a:pt x="361" y="376"/>
                  <a:pt x="363" y="375"/>
                  <a:pt x="364" y="374"/>
                </a:cubicBezTo>
                <a:cubicBezTo>
                  <a:pt x="366" y="367"/>
                  <a:pt x="370" y="363"/>
                  <a:pt x="374" y="364"/>
                </a:cubicBezTo>
                <a:cubicBezTo>
                  <a:pt x="376" y="364"/>
                  <a:pt x="378" y="365"/>
                  <a:pt x="381" y="366"/>
                </a:cubicBezTo>
                <a:cubicBezTo>
                  <a:pt x="381" y="366"/>
                  <a:pt x="381" y="366"/>
                  <a:pt x="381" y="366"/>
                </a:cubicBezTo>
                <a:cubicBezTo>
                  <a:pt x="383" y="368"/>
                  <a:pt x="386" y="369"/>
                  <a:pt x="389" y="369"/>
                </a:cubicBezTo>
                <a:cubicBezTo>
                  <a:pt x="393" y="369"/>
                  <a:pt x="397" y="368"/>
                  <a:pt x="401" y="365"/>
                </a:cubicBezTo>
                <a:lnTo>
                  <a:pt x="401" y="365"/>
                </a:lnTo>
                <a:cubicBezTo>
                  <a:pt x="401" y="365"/>
                  <a:pt x="401" y="365"/>
                  <a:pt x="402" y="365"/>
                </a:cubicBezTo>
                <a:cubicBezTo>
                  <a:pt x="403" y="364"/>
                  <a:pt x="404" y="363"/>
                  <a:pt x="406" y="361"/>
                </a:cubicBezTo>
                <a:lnTo>
                  <a:pt x="406" y="359"/>
                </a:lnTo>
                <a:cubicBezTo>
                  <a:pt x="406" y="359"/>
                  <a:pt x="404" y="360"/>
                  <a:pt x="400" y="362"/>
                </a:cubicBezTo>
                <a:cubicBezTo>
                  <a:pt x="396" y="364"/>
                  <a:pt x="393" y="366"/>
                  <a:pt x="392" y="365"/>
                </a:cubicBezTo>
                <a:cubicBezTo>
                  <a:pt x="391" y="365"/>
                  <a:pt x="391" y="365"/>
                  <a:pt x="390" y="365"/>
                </a:cubicBezTo>
                <a:cubicBezTo>
                  <a:pt x="388" y="365"/>
                  <a:pt x="385" y="364"/>
                  <a:pt x="382" y="362"/>
                </a:cubicBezTo>
                <a:cubicBezTo>
                  <a:pt x="378" y="360"/>
                  <a:pt x="376" y="358"/>
                  <a:pt x="376" y="356"/>
                </a:cubicBezTo>
                <a:cubicBezTo>
                  <a:pt x="377" y="354"/>
                  <a:pt x="378" y="352"/>
                  <a:pt x="380" y="352"/>
                </a:cubicBezTo>
                <a:cubicBezTo>
                  <a:pt x="382" y="352"/>
                  <a:pt x="384" y="353"/>
                  <a:pt x="385" y="352"/>
                </a:cubicBezTo>
                <a:cubicBezTo>
                  <a:pt x="389" y="352"/>
                  <a:pt x="392" y="351"/>
                  <a:pt x="393" y="350"/>
                </a:cubicBezTo>
                <a:cubicBezTo>
                  <a:pt x="386" y="347"/>
                  <a:pt x="383" y="344"/>
                  <a:pt x="383" y="342"/>
                </a:cubicBezTo>
                <a:cubicBezTo>
                  <a:pt x="383" y="341"/>
                  <a:pt x="386" y="339"/>
                  <a:pt x="393" y="334"/>
                </a:cubicBezTo>
                <a:cubicBezTo>
                  <a:pt x="397" y="332"/>
                  <a:pt x="399" y="331"/>
                  <a:pt x="401" y="329"/>
                </a:cubicBezTo>
                <a:cubicBezTo>
                  <a:pt x="403" y="329"/>
                  <a:pt x="405" y="328"/>
                  <a:pt x="406" y="328"/>
                </a:cubicBezTo>
                <a:cubicBezTo>
                  <a:pt x="411" y="329"/>
                  <a:pt x="415" y="330"/>
                  <a:pt x="416" y="330"/>
                </a:cubicBezTo>
                <a:lnTo>
                  <a:pt x="416" y="330"/>
                </a:lnTo>
                <a:lnTo>
                  <a:pt x="416" y="330"/>
                </a:lnTo>
                <a:cubicBezTo>
                  <a:pt x="421" y="331"/>
                  <a:pt x="425" y="331"/>
                  <a:pt x="426" y="330"/>
                </a:cubicBezTo>
                <a:cubicBezTo>
                  <a:pt x="426" y="330"/>
                  <a:pt x="426" y="330"/>
                  <a:pt x="426" y="330"/>
                </a:cubicBezTo>
                <a:cubicBezTo>
                  <a:pt x="422" y="329"/>
                  <a:pt x="419" y="329"/>
                  <a:pt x="417" y="328"/>
                </a:cubicBezTo>
                <a:cubicBezTo>
                  <a:pt x="417" y="328"/>
                  <a:pt x="417" y="328"/>
                  <a:pt x="416" y="328"/>
                </a:cubicBezTo>
                <a:cubicBezTo>
                  <a:pt x="413" y="327"/>
                  <a:pt x="410" y="326"/>
                  <a:pt x="409" y="325"/>
                </a:cubicBezTo>
                <a:cubicBezTo>
                  <a:pt x="408" y="324"/>
                  <a:pt x="407" y="323"/>
                  <a:pt x="407" y="322"/>
                </a:cubicBezTo>
                <a:cubicBezTo>
                  <a:pt x="408" y="320"/>
                  <a:pt x="410" y="317"/>
                  <a:pt x="416" y="313"/>
                </a:cubicBezTo>
                <a:cubicBezTo>
                  <a:pt x="418" y="311"/>
                  <a:pt x="419" y="310"/>
                  <a:pt x="420" y="309"/>
                </a:cubicBezTo>
                <a:lnTo>
                  <a:pt x="420" y="309"/>
                </a:lnTo>
                <a:cubicBezTo>
                  <a:pt x="422" y="307"/>
                  <a:pt x="424" y="306"/>
                  <a:pt x="424" y="305"/>
                </a:cubicBezTo>
                <a:cubicBezTo>
                  <a:pt x="423" y="306"/>
                  <a:pt x="421" y="307"/>
                  <a:pt x="420" y="308"/>
                </a:cubicBezTo>
                <a:cubicBezTo>
                  <a:pt x="420" y="308"/>
                  <a:pt x="420" y="308"/>
                  <a:pt x="419" y="308"/>
                </a:cubicBezTo>
                <a:cubicBezTo>
                  <a:pt x="417" y="310"/>
                  <a:pt x="412" y="313"/>
                  <a:pt x="405" y="317"/>
                </a:cubicBezTo>
                <a:cubicBezTo>
                  <a:pt x="403" y="318"/>
                  <a:pt x="401" y="319"/>
                  <a:pt x="398" y="320"/>
                </a:cubicBezTo>
                <a:cubicBezTo>
                  <a:pt x="398" y="320"/>
                  <a:pt x="397" y="320"/>
                  <a:pt x="397" y="321"/>
                </a:cubicBezTo>
                <a:cubicBezTo>
                  <a:pt x="391" y="324"/>
                  <a:pt x="384" y="328"/>
                  <a:pt x="376" y="333"/>
                </a:cubicBezTo>
                <a:cubicBezTo>
                  <a:pt x="372" y="335"/>
                  <a:pt x="364" y="340"/>
                  <a:pt x="354" y="346"/>
                </a:cubicBezTo>
                <a:cubicBezTo>
                  <a:pt x="353" y="346"/>
                  <a:pt x="352" y="346"/>
                  <a:pt x="351" y="344"/>
                </a:cubicBezTo>
                <a:cubicBezTo>
                  <a:pt x="349" y="342"/>
                  <a:pt x="346" y="337"/>
                  <a:pt x="344" y="331"/>
                </a:cubicBezTo>
                <a:cubicBezTo>
                  <a:pt x="342" y="328"/>
                  <a:pt x="340" y="326"/>
                  <a:pt x="338" y="324"/>
                </a:cubicBezTo>
                <a:cubicBezTo>
                  <a:pt x="335" y="320"/>
                  <a:pt x="334" y="317"/>
                  <a:pt x="334" y="315"/>
                </a:cubicBezTo>
                <a:cubicBezTo>
                  <a:pt x="334" y="315"/>
                  <a:pt x="334" y="314"/>
                  <a:pt x="335" y="314"/>
                </a:cubicBezTo>
                <a:cubicBezTo>
                  <a:pt x="335" y="313"/>
                  <a:pt x="336" y="313"/>
                  <a:pt x="337" y="313"/>
                </a:cubicBezTo>
                <a:cubicBezTo>
                  <a:pt x="337" y="314"/>
                  <a:pt x="338" y="314"/>
                  <a:pt x="338" y="314"/>
                </a:cubicBezTo>
                <a:cubicBezTo>
                  <a:pt x="342" y="316"/>
                  <a:pt x="344" y="316"/>
                  <a:pt x="346" y="317"/>
                </a:cubicBezTo>
                <a:cubicBezTo>
                  <a:pt x="349" y="317"/>
                  <a:pt x="351" y="316"/>
                  <a:pt x="352" y="315"/>
                </a:cubicBezTo>
                <a:cubicBezTo>
                  <a:pt x="352" y="313"/>
                  <a:pt x="354" y="312"/>
                  <a:pt x="355" y="312"/>
                </a:cubicBezTo>
                <a:cubicBezTo>
                  <a:pt x="357" y="313"/>
                  <a:pt x="359" y="314"/>
                  <a:pt x="361" y="314"/>
                </a:cubicBezTo>
                <a:cubicBezTo>
                  <a:pt x="364" y="315"/>
                  <a:pt x="366" y="316"/>
                  <a:pt x="367" y="316"/>
                </a:cubicBezTo>
                <a:cubicBezTo>
                  <a:pt x="368" y="316"/>
                  <a:pt x="369" y="315"/>
                  <a:pt x="369" y="316"/>
                </a:cubicBezTo>
                <a:cubicBezTo>
                  <a:pt x="369" y="315"/>
                  <a:pt x="369" y="315"/>
                  <a:pt x="369" y="315"/>
                </a:cubicBezTo>
                <a:cubicBezTo>
                  <a:pt x="369" y="315"/>
                  <a:pt x="368" y="315"/>
                  <a:pt x="368" y="315"/>
                </a:cubicBezTo>
                <a:cubicBezTo>
                  <a:pt x="366" y="314"/>
                  <a:pt x="364" y="312"/>
                  <a:pt x="362" y="311"/>
                </a:cubicBezTo>
                <a:cubicBezTo>
                  <a:pt x="360" y="310"/>
                  <a:pt x="357" y="309"/>
                  <a:pt x="354" y="309"/>
                </a:cubicBezTo>
                <a:cubicBezTo>
                  <a:pt x="350" y="309"/>
                  <a:pt x="347" y="309"/>
                  <a:pt x="345" y="310"/>
                </a:cubicBezTo>
                <a:cubicBezTo>
                  <a:pt x="344" y="310"/>
                  <a:pt x="342" y="309"/>
                  <a:pt x="341" y="308"/>
                </a:cubicBezTo>
                <a:cubicBezTo>
                  <a:pt x="340" y="307"/>
                  <a:pt x="339" y="307"/>
                  <a:pt x="338" y="306"/>
                </a:cubicBezTo>
                <a:cubicBezTo>
                  <a:pt x="336" y="305"/>
                  <a:pt x="333" y="304"/>
                  <a:pt x="330" y="304"/>
                </a:cubicBezTo>
                <a:cubicBezTo>
                  <a:pt x="325" y="303"/>
                  <a:pt x="322" y="302"/>
                  <a:pt x="320" y="300"/>
                </a:cubicBezTo>
                <a:cubicBezTo>
                  <a:pt x="317" y="298"/>
                  <a:pt x="315" y="296"/>
                  <a:pt x="315" y="294"/>
                </a:cubicBezTo>
                <a:cubicBezTo>
                  <a:pt x="316" y="289"/>
                  <a:pt x="320" y="288"/>
                  <a:pt x="327" y="289"/>
                </a:cubicBezTo>
                <a:cubicBezTo>
                  <a:pt x="330" y="289"/>
                  <a:pt x="333" y="289"/>
                  <a:pt x="336" y="288"/>
                </a:cubicBezTo>
                <a:cubicBezTo>
                  <a:pt x="339" y="288"/>
                  <a:pt x="342" y="288"/>
                  <a:pt x="342" y="288"/>
                </a:cubicBezTo>
                <a:cubicBezTo>
                  <a:pt x="344" y="288"/>
                  <a:pt x="346" y="289"/>
                  <a:pt x="347" y="292"/>
                </a:cubicBezTo>
                <a:cubicBezTo>
                  <a:pt x="349" y="295"/>
                  <a:pt x="351" y="297"/>
                  <a:pt x="353" y="297"/>
                </a:cubicBezTo>
                <a:cubicBezTo>
                  <a:pt x="355" y="297"/>
                  <a:pt x="356" y="296"/>
                  <a:pt x="356" y="292"/>
                </a:cubicBezTo>
                <a:cubicBezTo>
                  <a:pt x="356" y="289"/>
                  <a:pt x="356" y="287"/>
                  <a:pt x="356" y="285"/>
                </a:cubicBezTo>
                <a:cubicBezTo>
                  <a:pt x="356" y="284"/>
                  <a:pt x="358" y="283"/>
                  <a:pt x="361" y="284"/>
                </a:cubicBezTo>
                <a:cubicBezTo>
                  <a:pt x="364" y="284"/>
                  <a:pt x="366" y="284"/>
                  <a:pt x="366" y="285"/>
                </a:cubicBezTo>
                <a:lnTo>
                  <a:pt x="366" y="284"/>
                </a:lnTo>
                <a:cubicBezTo>
                  <a:pt x="365" y="283"/>
                  <a:pt x="363" y="281"/>
                  <a:pt x="360" y="278"/>
                </a:cubicBezTo>
                <a:cubicBezTo>
                  <a:pt x="356" y="274"/>
                  <a:pt x="355" y="272"/>
                  <a:pt x="355" y="271"/>
                </a:cubicBezTo>
                <a:cubicBezTo>
                  <a:pt x="355" y="270"/>
                  <a:pt x="358" y="267"/>
                  <a:pt x="362" y="262"/>
                </a:cubicBezTo>
                <a:cubicBezTo>
                  <a:pt x="367" y="258"/>
                  <a:pt x="370" y="256"/>
                  <a:pt x="371" y="256"/>
                </a:cubicBezTo>
                <a:cubicBezTo>
                  <a:pt x="372" y="256"/>
                  <a:pt x="374" y="257"/>
                  <a:pt x="377" y="260"/>
                </a:cubicBezTo>
                <a:cubicBezTo>
                  <a:pt x="380" y="262"/>
                  <a:pt x="382" y="263"/>
                  <a:pt x="384" y="264"/>
                </a:cubicBezTo>
                <a:cubicBezTo>
                  <a:pt x="385" y="263"/>
                  <a:pt x="385" y="263"/>
                  <a:pt x="386" y="264"/>
                </a:cubicBezTo>
                <a:cubicBezTo>
                  <a:pt x="386" y="263"/>
                  <a:pt x="386" y="263"/>
                  <a:pt x="386" y="263"/>
                </a:cubicBezTo>
                <a:cubicBezTo>
                  <a:pt x="385" y="263"/>
                  <a:pt x="385" y="263"/>
                  <a:pt x="385" y="263"/>
                </a:cubicBezTo>
                <a:cubicBezTo>
                  <a:pt x="379" y="254"/>
                  <a:pt x="376" y="250"/>
                  <a:pt x="376" y="250"/>
                </a:cubicBezTo>
                <a:cubicBezTo>
                  <a:pt x="376" y="248"/>
                  <a:pt x="377" y="246"/>
                  <a:pt x="380" y="244"/>
                </a:cubicBezTo>
                <a:cubicBezTo>
                  <a:pt x="383" y="242"/>
                  <a:pt x="386" y="241"/>
                  <a:pt x="388" y="241"/>
                </a:cubicBezTo>
                <a:cubicBezTo>
                  <a:pt x="390" y="241"/>
                  <a:pt x="395" y="243"/>
                  <a:pt x="403" y="248"/>
                </a:cubicBezTo>
                <a:lnTo>
                  <a:pt x="407" y="248"/>
                </a:lnTo>
                <a:cubicBezTo>
                  <a:pt x="407" y="247"/>
                  <a:pt x="407" y="247"/>
                  <a:pt x="407" y="247"/>
                </a:cubicBezTo>
                <a:cubicBezTo>
                  <a:pt x="403" y="244"/>
                  <a:pt x="400" y="242"/>
                  <a:pt x="398" y="241"/>
                </a:cubicBezTo>
                <a:cubicBezTo>
                  <a:pt x="395" y="238"/>
                  <a:pt x="393" y="234"/>
                  <a:pt x="393" y="231"/>
                </a:cubicBezTo>
                <a:cubicBezTo>
                  <a:pt x="395" y="229"/>
                  <a:pt x="396" y="228"/>
                  <a:pt x="397" y="226"/>
                </a:cubicBezTo>
                <a:cubicBezTo>
                  <a:pt x="398" y="224"/>
                  <a:pt x="398" y="222"/>
                  <a:pt x="399" y="222"/>
                </a:cubicBezTo>
                <a:cubicBezTo>
                  <a:pt x="399" y="221"/>
                  <a:pt x="399" y="220"/>
                  <a:pt x="399" y="220"/>
                </a:cubicBezTo>
                <a:cubicBezTo>
                  <a:pt x="399" y="219"/>
                  <a:pt x="399" y="219"/>
                  <a:pt x="399" y="219"/>
                </a:cubicBezTo>
                <a:cubicBezTo>
                  <a:pt x="400" y="219"/>
                  <a:pt x="401" y="218"/>
                  <a:pt x="401" y="219"/>
                </a:cubicBezTo>
                <a:cubicBezTo>
                  <a:pt x="402" y="219"/>
                  <a:pt x="402" y="219"/>
                  <a:pt x="403" y="219"/>
                </a:cubicBezTo>
                <a:cubicBezTo>
                  <a:pt x="405" y="220"/>
                  <a:pt x="408" y="221"/>
                  <a:pt x="412" y="224"/>
                </a:cubicBezTo>
                <a:cubicBezTo>
                  <a:pt x="416" y="227"/>
                  <a:pt x="418" y="229"/>
                  <a:pt x="418" y="229"/>
                </a:cubicBezTo>
                <a:cubicBezTo>
                  <a:pt x="419" y="229"/>
                  <a:pt x="420" y="229"/>
                  <a:pt x="420" y="228"/>
                </a:cubicBezTo>
                <a:lnTo>
                  <a:pt x="419" y="228"/>
                </a:lnTo>
                <a:cubicBezTo>
                  <a:pt x="414" y="220"/>
                  <a:pt x="409" y="216"/>
                  <a:pt x="404" y="216"/>
                </a:cubicBezTo>
                <a:cubicBezTo>
                  <a:pt x="403" y="215"/>
                  <a:pt x="401" y="215"/>
                  <a:pt x="401" y="215"/>
                </a:cubicBezTo>
                <a:cubicBezTo>
                  <a:pt x="399" y="214"/>
                  <a:pt x="399" y="213"/>
                  <a:pt x="398" y="213"/>
                </a:cubicBezTo>
                <a:cubicBezTo>
                  <a:pt x="397" y="211"/>
                  <a:pt x="397" y="209"/>
                  <a:pt x="397" y="207"/>
                </a:cubicBezTo>
                <a:cubicBezTo>
                  <a:pt x="397" y="206"/>
                  <a:pt x="398" y="205"/>
                  <a:pt x="401" y="205"/>
                </a:cubicBezTo>
                <a:cubicBezTo>
                  <a:pt x="403" y="205"/>
                  <a:pt x="405" y="205"/>
                  <a:pt x="407" y="205"/>
                </a:cubicBezTo>
                <a:cubicBezTo>
                  <a:pt x="413" y="204"/>
                  <a:pt x="417" y="203"/>
                  <a:pt x="420" y="204"/>
                </a:cubicBezTo>
                <a:lnTo>
                  <a:pt x="420" y="203"/>
                </a:lnTo>
                <a:cubicBezTo>
                  <a:pt x="419" y="203"/>
                  <a:pt x="416" y="201"/>
                  <a:pt x="411" y="200"/>
                </a:cubicBezTo>
                <a:cubicBezTo>
                  <a:pt x="409" y="199"/>
                  <a:pt x="408" y="198"/>
                  <a:pt x="407" y="196"/>
                </a:cubicBezTo>
                <a:cubicBezTo>
                  <a:pt x="407" y="194"/>
                  <a:pt x="406" y="192"/>
                  <a:pt x="404" y="192"/>
                </a:cubicBezTo>
                <a:cubicBezTo>
                  <a:pt x="403" y="193"/>
                  <a:pt x="402" y="195"/>
                  <a:pt x="402" y="196"/>
                </a:cubicBezTo>
                <a:cubicBezTo>
                  <a:pt x="402" y="197"/>
                  <a:pt x="402" y="198"/>
                  <a:pt x="402" y="200"/>
                </a:cubicBezTo>
                <a:cubicBezTo>
                  <a:pt x="402" y="200"/>
                  <a:pt x="402" y="201"/>
                  <a:pt x="401" y="201"/>
                </a:cubicBezTo>
                <a:cubicBezTo>
                  <a:pt x="401" y="201"/>
                  <a:pt x="400" y="201"/>
                  <a:pt x="399" y="201"/>
                </a:cubicBezTo>
                <a:cubicBezTo>
                  <a:pt x="397" y="201"/>
                  <a:pt x="395" y="199"/>
                  <a:pt x="394" y="194"/>
                </a:cubicBezTo>
                <a:cubicBezTo>
                  <a:pt x="393" y="191"/>
                  <a:pt x="393" y="188"/>
                  <a:pt x="393" y="184"/>
                </a:cubicBezTo>
                <a:cubicBezTo>
                  <a:pt x="394" y="179"/>
                  <a:pt x="395" y="175"/>
                  <a:pt x="395" y="173"/>
                </a:cubicBezTo>
                <a:cubicBezTo>
                  <a:pt x="395" y="170"/>
                  <a:pt x="395" y="168"/>
                  <a:pt x="395" y="166"/>
                </a:cubicBezTo>
                <a:lnTo>
                  <a:pt x="395" y="165"/>
                </a:lnTo>
                <a:cubicBezTo>
                  <a:pt x="395" y="165"/>
                  <a:pt x="395" y="165"/>
                  <a:pt x="395" y="164"/>
                </a:cubicBezTo>
                <a:cubicBezTo>
                  <a:pt x="395" y="163"/>
                  <a:pt x="396" y="162"/>
                  <a:pt x="396" y="161"/>
                </a:cubicBezTo>
                <a:cubicBezTo>
                  <a:pt x="399" y="163"/>
                  <a:pt x="402" y="165"/>
                  <a:pt x="405" y="167"/>
                </a:cubicBezTo>
                <a:cubicBezTo>
                  <a:pt x="409" y="170"/>
                  <a:pt x="413" y="171"/>
                  <a:pt x="416" y="171"/>
                </a:cubicBezTo>
                <a:cubicBezTo>
                  <a:pt x="418" y="172"/>
                  <a:pt x="419" y="171"/>
                  <a:pt x="419" y="171"/>
                </a:cubicBezTo>
                <a:lnTo>
                  <a:pt x="420" y="170"/>
                </a:lnTo>
                <a:cubicBezTo>
                  <a:pt x="418" y="167"/>
                  <a:pt x="414" y="164"/>
                  <a:pt x="409" y="160"/>
                </a:cubicBezTo>
                <a:cubicBezTo>
                  <a:pt x="407" y="157"/>
                  <a:pt x="405" y="154"/>
                  <a:pt x="406" y="150"/>
                </a:cubicBezTo>
                <a:cubicBezTo>
                  <a:pt x="406" y="146"/>
                  <a:pt x="407" y="143"/>
                  <a:pt x="408" y="142"/>
                </a:cubicBezTo>
                <a:cubicBezTo>
                  <a:pt x="409" y="140"/>
                  <a:pt x="413" y="139"/>
                  <a:pt x="417" y="141"/>
                </a:cubicBezTo>
                <a:lnTo>
                  <a:pt x="417" y="138"/>
                </a:lnTo>
                <a:cubicBezTo>
                  <a:pt x="418" y="137"/>
                  <a:pt x="416" y="135"/>
                  <a:pt x="413" y="132"/>
                </a:cubicBezTo>
                <a:cubicBezTo>
                  <a:pt x="410" y="129"/>
                  <a:pt x="409" y="127"/>
                  <a:pt x="409" y="125"/>
                </a:cubicBezTo>
                <a:cubicBezTo>
                  <a:pt x="409" y="122"/>
                  <a:pt x="410" y="120"/>
                  <a:pt x="413" y="116"/>
                </a:cubicBezTo>
                <a:cubicBezTo>
                  <a:pt x="416" y="112"/>
                  <a:pt x="419" y="110"/>
                  <a:pt x="422" y="111"/>
                </a:cubicBezTo>
                <a:cubicBezTo>
                  <a:pt x="426" y="111"/>
                  <a:pt x="428" y="113"/>
                  <a:pt x="428" y="116"/>
                </a:cubicBezTo>
                <a:cubicBezTo>
                  <a:pt x="428" y="117"/>
                  <a:pt x="428" y="118"/>
                  <a:pt x="427" y="120"/>
                </a:cubicBezTo>
                <a:cubicBezTo>
                  <a:pt x="426" y="125"/>
                  <a:pt x="427" y="127"/>
                  <a:pt x="429" y="128"/>
                </a:cubicBezTo>
                <a:cubicBezTo>
                  <a:pt x="433" y="128"/>
                  <a:pt x="435" y="125"/>
                  <a:pt x="435" y="120"/>
                </a:cubicBezTo>
                <a:cubicBezTo>
                  <a:pt x="435" y="115"/>
                  <a:pt x="435" y="113"/>
                  <a:pt x="435" y="113"/>
                </a:cubicBezTo>
                <a:cubicBezTo>
                  <a:pt x="435" y="111"/>
                  <a:pt x="436" y="111"/>
                  <a:pt x="437" y="111"/>
                </a:cubicBezTo>
                <a:cubicBezTo>
                  <a:pt x="438" y="111"/>
                  <a:pt x="440" y="113"/>
                  <a:pt x="443" y="116"/>
                </a:cubicBezTo>
                <a:cubicBezTo>
                  <a:pt x="446" y="119"/>
                  <a:pt x="448" y="121"/>
                  <a:pt x="448" y="121"/>
                </a:cubicBezTo>
                <a:cubicBezTo>
                  <a:pt x="449" y="121"/>
                  <a:pt x="450" y="120"/>
                  <a:pt x="451" y="119"/>
                </a:cubicBezTo>
                <a:cubicBezTo>
                  <a:pt x="451" y="118"/>
                  <a:pt x="453" y="117"/>
                  <a:pt x="454" y="117"/>
                </a:cubicBezTo>
                <a:cubicBezTo>
                  <a:pt x="456" y="117"/>
                  <a:pt x="457" y="118"/>
                  <a:pt x="458" y="120"/>
                </a:cubicBezTo>
                <a:cubicBezTo>
                  <a:pt x="460" y="124"/>
                  <a:pt x="461" y="125"/>
                  <a:pt x="461" y="125"/>
                </a:cubicBezTo>
                <a:cubicBezTo>
                  <a:pt x="462" y="122"/>
                  <a:pt x="463" y="119"/>
                  <a:pt x="464" y="117"/>
                </a:cubicBezTo>
                <a:cubicBezTo>
                  <a:pt x="473" y="125"/>
                  <a:pt x="478" y="129"/>
                  <a:pt x="479" y="129"/>
                </a:cubicBezTo>
                <a:lnTo>
                  <a:pt x="480" y="130"/>
                </a:lnTo>
                <a:lnTo>
                  <a:pt x="480" y="128"/>
                </a:lnTo>
                <a:cubicBezTo>
                  <a:pt x="474" y="119"/>
                  <a:pt x="471" y="114"/>
                  <a:pt x="471" y="112"/>
                </a:cubicBezTo>
                <a:cubicBezTo>
                  <a:pt x="471" y="110"/>
                  <a:pt x="471" y="109"/>
                  <a:pt x="471" y="109"/>
                </a:cubicBezTo>
                <a:cubicBezTo>
                  <a:pt x="471" y="108"/>
                  <a:pt x="470" y="107"/>
                  <a:pt x="470" y="106"/>
                </a:cubicBezTo>
                <a:cubicBezTo>
                  <a:pt x="470" y="105"/>
                  <a:pt x="470" y="105"/>
                  <a:pt x="470" y="105"/>
                </a:cubicBezTo>
                <a:cubicBezTo>
                  <a:pt x="470" y="104"/>
                  <a:pt x="470" y="104"/>
                  <a:pt x="470" y="104"/>
                </a:cubicBezTo>
                <a:cubicBezTo>
                  <a:pt x="466" y="96"/>
                  <a:pt x="463" y="91"/>
                  <a:pt x="462" y="89"/>
                </a:cubicBezTo>
                <a:cubicBezTo>
                  <a:pt x="460" y="87"/>
                  <a:pt x="460" y="85"/>
                  <a:pt x="461" y="84"/>
                </a:cubicBezTo>
                <a:cubicBezTo>
                  <a:pt x="462" y="85"/>
                  <a:pt x="463" y="86"/>
                  <a:pt x="464" y="87"/>
                </a:cubicBezTo>
                <a:cubicBezTo>
                  <a:pt x="466" y="88"/>
                  <a:pt x="468" y="89"/>
                  <a:pt x="470" y="89"/>
                </a:cubicBezTo>
                <a:cubicBezTo>
                  <a:pt x="474" y="89"/>
                  <a:pt x="475" y="86"/>
                  <a:pt x="476" y="80"/>
                </a:cubicBezTo>
                <a:cubicBezTo>
                  <a:pt x="475" y="66"/>
                  <a:pt x="475" y="59"/>
                  <a:pt x="475" y="58"/>
                </a:cubicBezTo>
                <a:cubicBezTo>
                  <a:pt x="475" y="58"/>
                  <a:pt x="475" y="57"/>
                  <a:pt x="476" y="57"/>
                </a:cubicBezTo>
                <a:cubicBezTo>
                  <a:pt x="477" y="57"/>
                  <a:pt x="478" y="57"/>
                  <a:pt x="479" y="58"/>
                </a:cubicBezTo>
                <a:cubicBezTo>
                  <a:pt x="480" y="59"/>
                  <a:pt x="481" y="60"/>
                  <a:pt x="483" y="60"/>
                </a:cubicBezTo>
                <a:cubicBezTo>
                  <a:pt x="489" y="59"/>
                  <a:pt x="492" y="58"/>
                  <a:pt x="494" y="59"/>
                </a:cubicBezTo>
                <a:cubicBezTo>
                  <a:pt x="497" y="59"/>
                  <a:pt x="499" y="60"/>
                  <a:pt x="501" y="60"/>
                </a:cubicBezTo>
                <a:cubicBezTo>
                  <a:pt x="503" y="62"/>
                  <a:pt x="505" y="63"/>
                  <a:pt x="507" y="64"/>
                </a:cubicBezTo>
                <a:lnTo>
                  <a:pt x="507" y="64"/>
                </a:lnTo>
                <a:lnTo>
                  <a:pt x="507" y="64"/>
                </a:lnTo>
                <a:cubicBezTo>
                  <a:pt x="507" y="63"/>
                  <a:pt x="506" y="61"/>
                  <a:pt x="503" y="60"/>
                </a:cubicBezTo>
                <a:cubicBezTo>
                  <a:pt x="501" y="58"/>
                  <a:pt x="500" y="56"/>
                  <a:pt x="500" y="54"/>
                </a:cubicBezTo>
                <a:cubicBezTo>
                  <a:pt x="501" y="44"/>
                  <a:pt x="503" y="38"/>
                  <a:pt x="505" y="38"/>
                </a:cubicBezTo>
                <a:cubicBezTo>
                  <a:pt x="508" y="37"/>
                  <a:pt x="510" y="36"/>
                  <a:pt x="511" y="33"/>
                </a:cubicBezTo>
                <a:cubicBezTo>
                  <a:pt x="512" y="32"/>
                  <a:pt x="515" y="31"/>
                  <a:pt x="520" y="32"/>
                </a:cubicBezTo>
                <a:cubicBezTo>
                  <a:pt x="515" y="25"/>
                  <a:pt x="513" y="21"/>
                  <a:pt x="513" y="19"/>
                </a:cubicBezTo>
                <a:cubicBezTo>
                  <a:pt x="513" y="17"/>
                  <a:pt x="517" y="11"/>
                  <a:pt x="527" y="0"/>
                </a:cubicBezTo>
                <a:cubicBezTo>
                  <a:pt x="529" y="2"/>
                  <a:pt x="533" y="4"/>
                  <a:pt x="538" y="7"/>
                </a:cubicBezTo>
                <a:cubicBezTo>
                  <a:pt x="542" y="11"/>
                  <a:pt x="542" y="15"/>
                  <a:pt x="540" y="20"/>
                </a:cubicBezTo>
                <a:cubicBezTo>
                  <a:pt x="544" y="16"/>
                  <a:pt x="547" y="15"/>
                  <a:pt x="548" y="15"/>
                </a:cubicBezTo>
                <a:cubicBezTo>
                  <a:pt x="549" y="15"/>
                  <a:pt x="550" y="16"/>
                  <a:pt x="552" y="17"/>
                </a:cubicBezTo>
                <a:cubicBezTo>
                  <a:pt x="554" y="19"/>
                  <a:pt x="555" y="20"/>
                  <a:pt x="555" y="21"/>
                </a:cubicBezTo>
                <a:cubicBezTo>
                  <a:pt x="555" y="23"/>
                  <a:pt x="553" y="25"/>
                  <a:pt x="551" y="26"/>
                </a:cubicBezTo>
                <a:cubicBezTo>
                  <a:pt x="550" y="28"/>
                  <a:pt x="549" y="29"/>
                  <a:pt x="547" y="30"/>
                </a:cubicBezTo>
                <a:cubicBezTo>
                  <a:pt x="542" y="33"/>
                  <a:pt x="539" y="36"/>
                  <a:pt x="539" y="37"/>
                </a:cubicBezTo>
                <a:cubicBezTo>
                  <a:pt x="541" y="36"/>
                  <a:pt x="546" y="34"/>
                  <a:pt x="554" y="29"/>
                </a:cubicBezTo>
                <a:cubicBezTo>
                  <a:pt x="561" y="25"/>
                  <a:pt x="565" y="23"/>
                  <a:pt x="567" y="23"/>
                </a:cubicBezTo>
                <a:cubicBezTo>
                  <a:pt x="568" y="23"/>
                  <a:pt x="570" y="24"/>
                  <a:pt x="572" y="27"/>
                </a:cubicBezTo>
                <a:cubicBezTo>
                  <a:pt x="574" y="29"/>
                  <a:pt x="575" y="31"/>
                  <a:pt x="575" y="32"/>
                </a:cubicBezTo>
                <a:cubicBezTo>
                  <a:pt x="575" y="35"/>
                  <a:pt x="570" y="40"/>
                  <a:pt x="562" y="46"/>
                </a:cubicBezTo>
                <a:cubicBezTo>
                  <a:pt x="563" y="45"/>
                  <a:pt x="567" y="43"/>
                  <a:pt x="571" y="41"/>
                </a:cubicBezTo>
                <a:cubicBezTo>
                  <a:pt x="574" y="39"/>
                  <a:pt x="576" y="38"/>
                  <a:pt x="578" y="38"/>
                </a:cubicBezTo>
                <a:cubicBezTo>
                  <a:pt x="580" y="37"/>
                  <a:pt x="582" y="36"/>
                  <a:pt x="582" y="36"/>
                </a:cubicBezTo>
                <a:cubicBezTo>
                  <a:pt x="586" y="39"/>
                  <a:pt x="588" y="40"/>
                  <a:pt x="589" y="41"/>
                </a:cubicBezTo>
                <a:cubicBezTo>
                  <a:pt x="591" y="41"/>
                  <a:pt x="592" y="40"/>
                  <a:pt x="593" y="40"/>
                </a:cubicBezTo>
                <a:cubicBezTo>
                  <a:pt x="594" y="38"/>
                  <a:pt x="595" y="38"/>
                  <a:pt x="597" y="37"/>
                </a:cubicBezTo>
                <a:cubicBezTo>
                  <a:pt x="599" y="37"/>
                  <a:pt x="603" y="37"/>
                  <a:pt x="609" y="38"/>
                </a:cubicBezTo>
                <a:cubicBezTo>
                  <a:pt x="613" y="38"/>
                  <a:pt x="620" y="40"/>
                  <a:pt x="630" y="44"/>
                </a:cubicBezTo>
                <a:cubicBezTo>
                  <a:pt x="633" y="44"/>
                  <a:pt x="637" y="44"/>
                  <a:pt x="642" y="42"/>
                </a:cubicBezTo>
                <a:cubicBezTo>
                  <a:pt x="649" y="41"/>
                  <a:pt x="654" y="41"/>
                  <a:pt x="656" y="41"/>
                </a:cubicBezTo>
                <a:cubicBezTo>
                  <a:pt x="657" y="41"/>
                  <a:pt x="658" y="42"/>
                  <a:pt x="659" y="44"/>
                </a:cubicBezTo>
                <a:lnTo>
                  <a:pt x="659" y="44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4" name="Freeform 451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5" name="Freeform 452"/>
          <p:cNvSpPr/>
          <p:nvPr/>
        </p:nvSpPr>
        <p:spPr bwMode="auto">
          <a:xfrm>
            <a:off x="7071542" y="2545289"/>
            <a:ext cx="55900" cy="54153"/>
          </a:xfrm>
          <a:custGeom>
            <a:avLst/>
            <a:gdLst>
              <a:gd name="T0" fmla="*/ 51 w 53"/>
              <a:gd name="T1" fmla="*/ 0 h 52"/>
              <a:gd name="T2" fmla="*/ 51 w 53"/>
              <a:gd name="T3" fmla="*/ 0 h 52"/>
              <a:gd name="T4" fmla="*/ 52 w 53"/>
              <a:gd name="T5" fmla="*/ 0 h 52"/>
              <a:gd name="T6" fmla="*/ 53 w 53"/>
              <a:gd name="T7" fmla="*/ 2 h 52"/>
              <a:gd name="T8" fmla="*/ 28 w 53"/>
              <a:gd name="T9" fmla="*/ 27 h 52"/>
              <a:gd name="T10" fmla="*/ 15 w 53"/>
              <a:gd name="T11" fmla="*/ 40 h 52"/>
              <a:gd name="T12" fmla="*/ 9 w 53"/>
              <a:gd name="T13" fmla="*/ 47 h 52"/>
              <a:gd name="T14" fmla="*/ 5 w 53"/>
              <a:gd name="T15" fmla="*/ 52 h 52"/>
              <a:gd name="T16" fmla="*/ 2 w 53"/>
              <a:gd name="T17" fmla="*/ 49 h 52"/>
              <a:gd name="T18" fmla="*/ 0 w 53"/>
              <a:gd name="T19" fmla="*/ 44 h 52"/>
              <a:gd name="T20" fmla="*/ 4 w 53"/>
              <a:gd name="T21" fmla="*/ 33 h 52"/>
              <a:gd name="T22" fmla="*/ 5 w 53"/>
              <a:gd name="T23" fmla="*/ 31 h 52"/>
              <a:gd name="T24" fmla="*/ 13 w 53"/>
              <a:gd name="T25" fmla="*/ 25 h 52"/>
              <a:gd name="T26" fmla="*/ 16 w 53"/>
              <a:gd name="T27" fmla="*/ 26 h 52"/>
              <a:gd name="T28" fmla="*/ 19 w 53"/>
              <a:gd name="T29" fmla="*/ 26 h 52"/>
              <a:gd name="T30" fmla="*/ 18 w 53"/>
              <a:gd name="T31" fmla="*/ 16 h 52"/>
              <a:gd name="T32" fmla="*/ 48 w 53"/>
              <a:gd name="T33" fmla="*/ 1 h 52"/>
              <a:gd name="T34" fmla="*/ 50 w 53"/>
              <a:gd name="T35" fmla="*/ 0 h 52"/>
              <a:gd name="T36" fmla="*/ 51 w 53"/>
              <a:gd name="T37" fmla="*/ 0 h 52"/>
              <a:gd name="T38" fmla="*/ 51 w 53"/>
              <a:gd name="T3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2" h="52">
                <a:moveTo>
                  <a:pt x="51" y="0"/>
                </a:moveTo>
                <a:lnTo>
                  <a:pt x="51" y="0"/>
                </a:lnTo>
                <a:cubicBezTo>
                  <a:pt x="51" y="0"/>
                  <a:pt x="52" y="0"/>
                  <a:pt x="52" y="0"/>
                </a:cubicBezTo>
                <a:cubicBezTo>
                  <a:pt x="53" y="1"/>
                  <a:pt x="53" y="1"/>
                  <a:pt x="53" y="2"/>
                </a:cubicBezTo>
                <a:lnTo>
                  <a:pt x="28" y="27"/>
                </a:lnTo>
                <a:cubicBezTo>
                  <a:pt x="21" y="34"/>
                  <a:pt x="17" y="38"/>
                  <a:pt x="15" y="40"/>
                </a:cubicBezTo>
                <a:cubicBezTo>
                  <a:pt x="13" y="41"/>
                  <a:pt x="11" y="44"/>
                  <a:pt x="9" y="47"/>
                </a:cubicBezTo>
                <a:cubicBezTo>
                  <a:pt x="7" y="50"/>
                  <a:pt x="6" y="52"/>
                  <a:pt x="5" y="52"/>
                </a:cubicBezTo>
                <a:cubicBezTo>
                  <a:pt x="4" y="52"/>
                  <a:pt x="3" y="51"/>
                  <a:pt x="2" y="49"/>
                </a:cubicBezTo>
                <a:cubicBezTo>
                  <a:pt x="1" y="47"/>
                  <a:pt x="0" y="45"/>
                  <a:pt x="0" y="44"/>
                </a:cubicBezTo>
                <a:cubicBezTo>
                  <a:pt x="1" y="40"/>
                  <a:pt x="2" y="37"/>
                  <a:pt x="4" y="33"/>
                </a:cubicBezTo>
                <a:cubicBezTo>
                  <a:pt x="4" y="32"/>
                  <a:pt x="5" y="32"/>
                  <a:pt x="5" y="31"/>
                </a:cubicBezTo>
                <a:cubicBezTo>
                  <a:pt x="8" y="27"/>
                  <a:pt x="10" y="25"/>
                  <a:pt x="13" y="25"/>
                </a:cubicBezTo>
                <a:cubicBezTo>
                  <a:pt x="14" y="25"/>
                  <a:pt x="15" y="25"/>
                  <a:pt x="16" y="26"/>
                </a:cubicBezTo>
                <a:lnTo>
                  <a:pt x="19" y="26"/>
                </a:lnTo>
                <a:cubicBezTo>
                  <a:pt x="18" y="21"/>
                  <a:pt x="17" y="18"/>
                  <a:pt x="18" y="16"/>
                </a:cubicBezTo>
                <a:cubicBezTo>
                  <a:pt x="33" y="9"/>
                  <a:pt x="43" y="4"/>
                  <a:pt x="48" y="1"/>
                </a:cubicBezTo>
                <a:cubicBezTo>
                  <a:pt x="49" y="1"/>
                  <a:pt x="50" y="0"/>
                  <a:pt x="50" y="0"/>
                </a:cubicBezTo>
                <a:cubicBezTo>
                  <a:pt x="51" y="0"/>
                  <a:pt x="51" y="0"/>
                  <a:pt x="51" y="0"/>
                </a:cubicBezTo>
                <a:lnTo>
                  <a:pt x="51" y="0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6" name="Freeform 453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196 w 563"/>
              <a:gd name="T117" fmla="*/ 91 h 580"/>
              <a:gd name="T118" fmla="*/ 198 w 563"/>
              <a:gd name="T119" fmla="*/ 79 h 580"/>
              <a:gd name="T120" fmla="*/ 182 w 563"/>
              <a:gd name="T121" fmla="*/ 14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7" name="Freeform 454"/>
          <p:cNvSpPr>
            <a:spLocks noEditPoints="1"/>
          </p:cNvSpPr>
          <p:nvPr/>
        </p:nvSpPr>
        <p:spPr bwMode="auto">
          <a:xfrm>
            <a:off x="6372795" y="2634378"/>
            <a:ext cx="588695" cy="606163"/>
          </a:xfrm>
          <a:custGeom>
            <a:avLst/>
            <a:gdLst>
              <a:gd name="T0" fmla="*/ 535 w 563"/>
              <a:gd name="T1" fmla="*/ 277 h 580"/>
              <a:gd name="T2" fmla="*/ 550 w 563"/>
              <a:gd name="T3" fmla="*/ 250 h 580"/>
              <a:gd name="T4" fmla="*/ 516 w 563"/>
              <a:gd name="T5" fmla="*/ 227 h 580"/>
              <a:gd name="T6" fmla="*/ 493 w 563"/>
              <a:gd name="T7" fmla="*/ 167 h 580"/>
              <a:gd name="T8" fmla="*/ 440 w 563"/>
              <a:gd name="T9" fmla="*/ 197 h 580"/>
              <a:gd name="T10" fmla="*/ 388 w 563"/>
              <a:gd name="T11" fmla="*/ 118 h 580"/>
              <a:gd name="T12" fmla="*/ 426 w 563"/>
              <a:gd name="T13" fmla="*/ 89 h 580"/>
              <a:gd name="T14" fmla="*/ 477 w 563"/>
              <a:gd name="T15" fmla="*/ 77 h 580"/>
              <a:gd name="T16" fmla="*/ 548 w 563"/>
              <a:gd name="T17" fmla="*/ 29 h 580"/>
              <a:gd name="T18" fmla="*/ 498 w 563"/>
              <a:gd name="T19" fmla="*/ 12 h 580"/>
              <a:gd name="T20" fmla="*/ 494 w 563"/>
              <a:gd name="T21" fmla="*/ 38 h 580"/>
              <a:gd name="T22" fmla="*/ 487 w 563"/>
              <a:gd name="T23" fmla="*/ 14 h 580"/>
              <a:gd name="T24" fmla="*/ 469 w 563"/>
              <a:gd name="T25" fmla="*/ 15 h 580"/>
              <a:gd name="T26" fmla="*/ 416 w 563"/>
              <a:gd name="T27" fmla="*/ 5 h 580"/>
              <a:gd name="T28" fmla="*/ 396 w 563"/>
              <a:gd name="T29" fmla="*/ 31 h 580"/>
              <a:gd name="T30" fmla="*/ 379 w 563"/>
              <a:gd name="T31" fmla="*/ 57 h 580"/>
              <a:gd name="T32" fmla="*/ 352 w 563"/>
              <a:gd name="T33" fmla="*/ 79 h 580"/>
              <a:gd name="T34" fmla="*/ 380 w 563"/>
              <a:gd name="T35" fmla="*/ 112 h 580"/>
              <a:gd name="T36" fmla="*/ 345 w 563"/>
              <a:gd name="T37" fmla="*/ 137 h 580"/>
              <a:gd name="T38" fmla="*/ 298 w 563"/>
              <a:gd name="T39" fmla="*/ 122 h 580"/>
              <a:gd name="T40" fmla="*/ 267 w 563"/>
              <a:gd name="T41" fmla="*/ 109 h 580"/>
              <a:gd name="T42" fmla="*/ 210 w 563"/>
              <a:gd name="T43" fmla="*/ 92 h 580"/>
              <a:gd name="T44" fmla="*/ 196 w 563"/>
              <a:gd name="T45" fmla="*/ 120 h 580"/>
              <a:gd name="T46" fmla="*/ 212 w 563"/>
              <a:gd name="T47" fmla="*/ 162 h 580"/>
              <a:gd name="T48" fmla="*/ 168 w 563"/>
              <a:gd name="T49" fmla="*/ 181 h 580"/>
              <a:gd name="T50" fmla="*/ 174 w 563"/>
              <a:gd name="T51" fmla="*/ 204 h 580"/>
              <a:gd name="T52" fmla="*/ 154 w 563"/>
              <a:gd name="T53" fmla="*/ 206 h 580"/>
              <a:gd name="T54" fmla="*/ 142 w 563"/>
              <a:gd name="T55" fmla="*/ 218 h 580"/>
              <a:gd name="T56" fmla="*/ 152 w 563"/>
              <a:gd name="T57" fmla="*/ 243 h 580"/>
              <a:gd name="T58" fmla="*/ 181 w 563"/>
              <a:gd name="T59" fmla="*/ 253 h 580"/>
              <a:gd name="T60" fmla="*/ 217 w 563"/>
              <a:gd name="T61" fmla="*/ 285 h 580"/>
              <a:gd name="T62" fmla="*/ 195 w 563"/>
              <a:gd name="T63" fmla="*/ 302 h 580"/>
              <a:gd name="T64" fmla="*/ 138 w 563"/>
              <a:gd name="T65" fmla="*/ 356 h 580"/>
              <a:gd name="T66" fmla="*/ 149 w 563"/>
              <a:gd name="T67" fmla="*/ 381 h 580"/>
              <a:gd name="T68" fmla="*/ 212 w 563"/>
              <a:gd name="T69" fmla="*/ 391 h 580"/>
              <a:gd name="T70" fmla="*/ 166 w 563"/>
              <a:gd name="T71" fmla="*/ 392 h 580"/>
              <a:gd name="T72" fmla="*/ 120 w 563"/>
              <a:gd name="T73" fmla="*/ 397 h 580"/>
              <a:gd name="T74" fmla="*/ 71 w 563"/>
              <a:gd name="T75" fmla="*/ 424 h 580"/>
              <a:gd name="T76" fmla="*/ 41 w 563"/>
              <a:gd name="T77" fmla="*/ 409 h 580"/>
              <a:gd name="T78" fmla="*/ 83 w 563"/>
              <a:gd name="T79" fmla="*/ 445 h 580"/>
              <a:gd name="T80" fmla="*/ 15 w 563"/>
              <a:gd name="T81" fmla="*/ 469 h 580"/>
              <a:gd name="T82" fmla="*/ 29 w 563"/>
              <a:gd name="T83" fmla="*/ 497 h 580"/>
              <a:gd name="T84" fmla="*/ 53 w 563"/>
              <a:gd name="T85" fmla="*/ 507 h 580"/>
              <a:gd name="T86" fmla="*/ 18 w 563"/>
              <a:gd name="T87" fmla="*/ 526 h 580"/>
              <a:gd name="T88" fmla="*/ 84 w 563"/>
              <a:gd name="T89" fmla="*/ 533 h 580"/>
              <a:gd name="T90" fmla="*/ 38 w 563"/>
              <a:gd name="T91" fmla="*/ 556 h 580"/>
              <a:gd name="T92" fmla="*/ 82 w 563"/>
              <a:gd name="T93" fmla="*/ 570 h 580"/>
              <a:gd name="T94" fmla="*/ 155 w 563"/>
              <a:gd name="T95" fmla="*/ 579 h 580"/>
              <a:gd name="T96" fmla="*/ 214 w 563"/>
              <a:gd name="T97" fmla="*/ 563 h 580"/>
              <a:gd name="T98" fmla="*/ 226 w 563"/>
              <a:gd name="T99" fmla="*/ 559 h 580"/>
              <a:gd name="T100" fmla="*/ 280 w 563"/>
              <a:gd name="T101" fmla="*/ 557 h 580"/>
              <a:gd name="T102" fmla="*/ 343 w 563"/>
              <a:gd name="T103" fmla="*/ 544 h 580"/>
              <a:gd name="T104" fmla="*/ 392 w 563"/>
              <a:gd name="T105" fmla="*/ 539 h 580"/>
              <a:gd name="T106" fmla="*/ 441 w 563"/>
              <a:gd name="T107" fmla="*/ 559 h 580"/>
              <a:gd name="T108" fmla="*/ 441 w 563"/>
              <a:gd name="T109" fmla="*/ 534 h 580"/>
              <a:gd name="T110" fmla="*/ 492 w 563"/>
              <a:gd name="T111" fmla="*/ 472 h 580"/>
              <a:gd name="T112" fmla="*/ 526 w 563"/>
              <a:gd name="T113" fmla="*/ 377 h 580"/>
              <a:gd name="T114" fmla="*/ 534 w 563"/>
              <a:gd name="T115" fmla="*/ 307 h 580"/>
              <a:gd name="T116" fmla="*/ 200 w 563"/>
              <a:gd name="T117" fmla="*/ 90 h 580"/>
              <a:gd name="T118" fmla="*/ 181 w 563"/>
              <a:gd name="T119" fmla="*/ 94 h 580"/>
              <a:gd name="T120" fmla="*/ 157 w 563"/>
              <a:gd name="T121" fmla="*/ 125 h 580"/>
              <a:gd name="T122" fmla="*/ 157 w 563"/>
              <a:gd name="T123" fmla="*/ 125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63" h="580">
                <a:moveTo>
                  <a:pt x="534" y="307"/>
                </a:moveTo>
                <a:lnTo>
                  <a:pt x="534" y="307"/>
                </a:lnTo>
                <a:lnTo>
                  <a:pt x="534" y="306"/>
                </a:lnTo>
                <a:lnTo>
                  <a:pt x="534" y="306"/>
                </a:lnTo>
                <a:cubicBezTo>
                  <a:pt x="535" y="303"/>
                  <a:pt x="537" y="300"/>
                  <a:pt x="538" y="298"/>
                </a:cubicBezTo>
                <a:cubicBezTo>
                  <a:pt x="539" y="296"/>
                  <a:pt x="539" y="294"/>
                  <a:pt x="540" y="292"/>
                </a:cubicBezTo>
                <a:cubicBezTo>
                  <a:pt x="541" y="288"/>
                  <a:pt x="541" y="285"/>
                  <a:pt x="538" y="282"/>
                </a:cubicBezTo>
                <a:cubicBezTo>
                  <a:pt x="537" y="280"/>
                  <a:pt x="536" y="279"/>
                  <a:pt x="535" y="277"/>
                </a:cubicBezTo>
                <a:cubicBezTo>
                  <a:pt x="533" y="275"/>
                  <a:pt x="533" y="274"/>
                  <a:pt x="534" y="272"/>
                </a:cubicBezTo>
                <a:cubicBezTo>
                  <a:pt x="534" y="269"/>
                  <a:pt x="535" y="267"/>
                  <a:pt x="535" y="264"/>
                </a:cubicBezTo>
                <a:cubicBezTo>
                  <a:pt x="536" y="262"/>
                  <a:pt x="536" y="260"/>
                  <a:pt x="537" y="258"/>
                </a:cubicBezTo>
                <a:cubicBezTo>
                  <a:pt x="543" y="260"/>
                  <a:pt x="549" y="262"/>
                  <a:pt x="554" y="265"/>
                </a:cubicBezTo>
                <a:cubicBezTo>
                  <a:pt x="556" y="266"/>
                  <a:pt x="558" y="267"/>
                  <a:pt x="560" y="267"/>
                </a:cubicBezTo>
                <a:cubicBezTo>
                  <a:pt x="561" y="267"/>
                  <a:pt x="562" y="267"/>
                  <a:pt x="563" y="266"/>
                </a:cubicBezTo>
                <a:lnTo>
                  <a:pt x="563" y="264"/>
                </a:lnTo>
                <a:cubicBezTo>
                  <a:pt x="558" y="260"/>
                  <a:pt x="553" y="256"/>
                  <a:pt x="550" y="250"/>
                </a:cubicBezTo>
                <a:cubicBezTo>
                  <a:pt x="549" y="249"/>
                  <a:pt x="548" y="248"/>
                  <a:pt x="548" y="247"/>
                </a:cubicBezTo>
                <a:lnTo>
                  <a:pt x="550" y="245"/>
                </a:lnTo>
                <a:cubicBezTo>
                  <a:pt x="550" y="243"/>
                  <a:pt x="548" y="241"/>
                  <a:pt x="546" y="241"/>
                </a:cubicBezTo>
                <a:cubicBezTo>
                  <a:pt x="545" y="241"/>
                  <a:pt x="543" y="242"/>
                  <a:pt x="542" y="243"/>
                </a:cubicBezTo>
                <a:cubicBezTo>
                  <a:pt x="541" y="244"/>
                  <a:pt x="539" y="244"/>
                  <a:pt x="538" y="244"/>
                </a:cubicBezTo>
                <a:cubicBezTo>
                  <a:pt x="537" y="244"/>
                  <a:pt x="532" y="243"/>
                  <a:pt x="524" y="241"/>
                </a:cubicBezTo>
                <a:cubicBezTo>
                  <a:pt x="517" y="242"/>
                  <a:pt x="513" y="239"/>
                  <a:pt x="514" y="234"/>
                </a:cubicBezTo>
                <a:cubicBezTo>
                  <a:pt x="515" y="230"/>
                  <a:pt x="516" y="228"/>
                  <a:pt x="516" y="227"/>
                </a:cubicBezTo>
                <a:cubicBezTo>
                  <a:pt x="517" y="224"/>
                  <a:pt x="518" y="222"/>
                  <a:pt x="518" y="219"/>
                </a:cubicBezTo>
                <a:cubicBezTo>
                  <a:pt x="519" y="217"/>
                  <a:pt x="518" y="215"/>
                  <a:pt x="515" y="214"/>
                </a:cubicBezTo>
                <a:cubicBezTo>
                  <a:pt x="511" y="212"/>
                  <a:pt x="509" y="210"/>
                  <a:pt x="508" y="209"/>
                </a:cubicBezTo>
                <a:cubicBezTo>
                  <a:pt x="507" y="205"/>
                  <a:pt x="506" y="203"/>
                  <a:pt x="506" y="202"/>
                </a:cubicBezTo>
                <a:cubicBezTo>
                  <a:pt x="504" y="200"/>
                  <a:pt x="502" y="197"/>
                  <a:pt x="503" y="194"/>
                </a:cubicBezTo>
                <a:cubicBezTo>
                  <a:pt x="505" y="191"/>
                  <a:pt x="507" y="189"/>
                  <a:pt x="507" y="188"/>
                </a:cubicBezTo>
                <a:cubicBezTo>
                  <a:pt x="507" y="183"/>
                  <a:pt x="506" y="178"/>
                  <a:pt x="504" y="174"/>
                </a:cubicBezTo>
                <a:cubicBezTo>
                  <a:pt x="501" y="170"/>
                  <a:pt x="497" y="167"/>
                  <a:pt x="493" y="167"/>
                </a:cubicBezTo>
                <a:cubicBezTo>
                  <a:pt x="491" y="167"/>
                  <a:pt x="490" y="167"/>
                  <a:pt x="488" y="169"/>
                </a:cubicBezTo>
                <a:cubicBezTo>
                  <a:pt x="486" y="171"/>
                  <a:pt x="484" y="172"/>
                  <a:pt x="483" y="173"/>
                </a:cubicBezTo>
                <a:cubicBezTo>
                  <a:pt x="483" y="173"/>
                  <a:pt x="480" y="173"/>
                  <a:pt x="476" y="173"/>
                </a:cubicBezTo>
                <a:cubicBezTo>
                  <a:pt x="474" y="173"/>
                  <a:pt x="472" y="174"/>
                  <a:pt x="472" y="176"/>
                </a:cubicBezTo>
                <a:cubicBezTo>
                  <a:pt x="472" y="177"/>
                  <a:pt x="473" y="179"/>
                  <a:pt x="474" y="183"/>
                </a:cubicBezTo>
                <a:cubicBezTo>
                  <a:pt x="474" y="185"/>
                  <a:pt x="470" y="190"/>
                  <a:pt x="464" y="196"/>
                </a:cubicBezTo>
                <a:cubicBezTo>
                  <a:pt x="457" y="202"/>
                  <a:pt x="453" y="206"/>
                  <a:pt x="451" y="205"/>
                </a:cubicBezTo>
                <a:cubicBezTo>
                  <a:pt x="449" y="205"/>
                  <a:pt x="445" y="202"/>
                  <a:pt x="440" y="197"/>
                </a:cubicBezTo>
                <a:cubicBezTo>
                  <a:pt x="437" y="195"/>
                  <a:pt x="432" y="193"/>
                  <a:pt x="426" y="191"/>
                </a:cubicBezTo>
                <a:cubicBezTo>
                  <a:pt x="425" y="190"/>
                  <a:pt x="422" y="187"/>
                  <a:pt x="417" y="180"/>
                </a:cubicBezTo>
                <a:cubicBezTo>
                  <a:pt x="409" y="179"/>
                  <a:pt x="406" y="176"/>
                  <a:pt x="405" y="174"/>
                </a:cubicBezTo>
                <a:cubicBezTo>
                  <a:pt x="405" y="166"/>
                  <a:pt x="405" y="161"/>
                  <a:pt x="404" y="158"/>
                </a:cubicBezTo>
                <a:cubicBezTo>
                  <a:pt x="403" y="156"/>
                  <a:pt x="402" y="154"/>
                  <a:pt x="401" y="153"/>
                </a:cubicBezTo>
                <a:cubicBezTo>
                  <a:pt x="398" y="149"/>
                  <a:pt x="396" y="147"/>
                  <a:pt x="396" y="146"/>
                </a:cubicBezTo>
                <a:cubicBezTo>
                  <a:pt x="393" y="143"/>
                  <a:pt x="391" y="138"/>
                  <a:pt x="390" y="133"/>
                </a:cubicBezTo>
                <a:cubicBezTo>
                  <a:pt x="389" y="127"/>
                  <a:pt x="388" y="122"/>
                  <a:pt x="388" y="118"/>
                </a:cubicBezTo>
                <a:cubicBezTo>
                  <a:pt x="395" y="118"/>
                  <a:pt x="399" y="118"/>
                  <a:pt x="400" y="117"/>
                </a:cubicBezTo>
                <a:cubicBezTo>
                  <a:pt x="407" y="114"/>
                  <a:pt x="410" y="112"/>
                  <a:pt x="410" y="112"/>
                </a:cubicBezTo>
                <a:cubicBezTo>
                  <a:pt x="411" y="112"/>
                  <a:pt x="412" y="113"/>
                  <a:pt x="414" y="114"/>
                </a:cubicBezTo>
                <a:cubicBezTo>
                  <a:pt x="416" y="116"/>
                  <a:pt x="418" y="116"/>
                  <a:pt x="419" y="116"/>
                </a:cubicBezTo>
                <a:cubicBezTo>
                  <a:pt x="431" y="113"/>
                  <a:pt x="439" y="110"/>
                  <a:pt x="442" y="109"/>
                </a:cubicBezTo>
                <a:cubicBezTo>
                  <a:pt x="440" y="108"/>
                  <a:pt x="436" y="106"/>
                  <a:pt x="431" y="103"/>
                </a:cubicBezTo>
                <a:cubicBezTo>
                  <a:pt x="426" y="101"/>
                  <a:pt x="423" y="98"/>
                  <a:pt x="424" y="95"/>
                </a:cubicBezTo>
                <a:cubicBezTo>
                  <a:pt x="424" y="93"/>
                  <a:pt x="425" y="92"/>
                  <a:pt x="426" y="89"/>
                </a:cubicBezTo>
                <a:cubicBezTo>
                  <a:pt x="427" y="87"/>
                  <a:pt x="428" y="85"/>
                  <a:pt x="430" y="86"/>
                </a:cubicBezTo>
                <a:cubicBezTo>
                  <a:pt x="433" y="86"/>
                  <a:pt x="436" y="87"/>
                  <a:pt x="438" y="90"/>
                </a:cubicBezTo>
                <a:cubicBezTo>
                  <a:pt x="439" y="92"/>
                  <a:pt x="440" y="93"/>
                  <a:pt x="441" y="94"/>
                </a:cubicBezTo>
                <a:cubicBezTo>
                  <a:pt x="443" y="94"/>
                  <a:pt x="446" y="93"/>
                  <a:pt x="451" y="92"/>
                </a:cubicBezTo>
                <a:cubicBezTo>
                  <a:pt x="455" y="91"/>
                  <a:pt x="460" y="90"/>
                  <a:pt x="463" y="91"/>
                </a:cubicBezTo>
                <a:cubicBezTo>
                  <a:pt x="465" y="90"/>
                  <a:pt x="467" y="89"/>
                  <a:pt x="467" y="87"/>
                </a:cubicBezTo>
                <a:cubicBezTo>
                  <a:pt x="468" y="84"/>
                  <a:pt x="469" y="82"/>
                  <a:pt x="469" y="82"/>
                </a:cubicBezTo>
                <a:cubicBezTo>
                  <a:pt x="473" y="80"/>
                  <a:pt x="476" y="79"/>
                  <a:pt x="477" y="77"/>
                </a:cubicBezTo>
                <a:cubicBezTo>
                  <a:pt x="483" y="70"/>
                  <a:pt x="487" y="65"/>
                  <a:pt x="490" y="61"/>
                </a:cubicBezTo>
                <a:cubicBezTo>
                  <a:pt x="495" y="53"/>
                  <a:pt x="500" y="49"/>
                  <a:pt x="505" y="49"/>
                </a:cubicBezTo>
                <a:lnTo>
                  <a:pt x="512" y="49"/>
                </a:lnTo>
                <a:lnTo>
                  <a:pt x="513" y="50"/>
                </a:lnTo>
                <a:cubicBezTo>
                  <a:pt x="514" y="49"/>
                  <a:pt x="516" y="48"/>
                  <a:pt x="517" y="47"/>
                </a:cubicBezTo>
                <a:cubicBezTo>
                  <a:pt x="525" y="42"/>
                  <a:pt x="532" y="37"/>
                  <a:pt x="540" y="34"/>
                </a:cubicBezTo>
                <a:cubicBezTo>
                  <a:pt x="541" y="34"/>
                  <a:pt x="542" y="33"/>
                  <a:pt x="543" y="33"/>
                </a:cubicBezTo>
                <a:cubicBezTo>
                  <a:pt x="545" y="32"/>
                  <a:pt x="546" y="31"/>
                  <a:pt x="548" y="29"/>
                </a:cubicBezTo>
                <a:lnTo>
                  <a:pt x="548" y="28"/>
                </a:lnTo>
                <a:cubicBezTo>
                  <a:pt x="548" y="26"/>
                  <a:pt x="547" y="25"/>
                  <a:pt x="546" y="24"/>
                </a:cubicBezTo>
                <a:cubicBezTo>
                  <a:pt x="539" y="20"/>
                  <a:pt x="534" y="15"/>
                  <a:pt x="531" y="9"/>
                </a:cubicBezTo>
                <a:cubicBezTo>
                  <a:pt x="530" y="7"/>
                  <a:pt x="528" y="5"/>
                  <a:pt x="527" y="4"/>
                </a:cubicBezTo>
                <a:cubicBezTo>
                  <a:pt x="525" y="2"/>
                  <a:pt x="522" y="1"/>
                  <a:pt x="520" y="0"/>
                </a:cubicBezTo>
                <a:lnTo>
                  <a:pt x="519" y="11"/>
                </a:lnTo>
                <a:cubicBezTo>
                  <a:pt x="514" y="8"/>
                  <a:pt x="509" y="7"/>
                  <a:pt x="504" y="9"/>
                </a:cubicBezTo>
                <a:cubicBezTo>
                  <a:pt x="502" y="9"/>
                  <a:pt x="500" y="11"/>
                  <a:pt x="498" y="12"/>
                </a:cubicBezTo>
                <a:cubicBezTo>
                  <a:pt x="497" y="13"/>
                  <a:pt x="496" y="14"/>
                  <a:pt x="496" y="15"/>
                </a:cubicBezTo>
                <a:cubicBezTo>
                  <a:pt x="495" y="16"/>
                  <a:pt x="495" y="16"/>
                  <a:pt x="495" y="17"/>
                </a:cubicBezTo>
                <a:cubicBezTo>
                  <a:pt x="494" y="18"/>
                  <a:pt x="494" y="19"/>
                  <a:pt x="494" y="20"/>
                </a:cubicBezTo>
                <a:cubicBezTo>
                  <a:pt x="494" y="21"/>
                  <a:pt x="494" y="22"/>
                  <a:pt x="494" y="23"/>
                </a:cubicBezTo>
                <a:cubicBezTo>
                  <a:pt x="495" y="25"/>
                  <a:pt x="495" y="27"/>
                  <a:pt x="496" y="29"/>
                </a:cubicBezTo>
                <a:cubicBezTo>
                  <a:pt x="497" y="30"/>
                  <a:pt x="497" y="32"/>
                  <a:pt x="497" y="33"/>
                </a:cubicBezTo>
                <a:cubicBezTo>
                  <a:pt x="497" y="34"/>
                  <a:pt x="497" y="34"/>
                  <a:pt x="497" y="34"/>
                </a:cubicBezTo>
                <a:cubicBezTo>
                  <a:pt x="497" y="36"/>
                  <a:pt x="496" y="37"/>
                  <a:pt x="494" y="38"/>
                </a:cubicBezTo>
                <a:cubicBezTo>
                  <a:pt x="490" y="43"/>
                  <a:pt x="484" y="47"/>
                  <a:pt x="478" y="48"/>
                </a:cubicBezTo>
                <a:cubicBezTo>
                  <a:pt x="477" y="48"/>
                  <a:pt x="477" y="48"/>
                  <a:pt x="476" y="48"/>
                </a:cubicBezTo>
                <a:cubicBezTo>
                  <a:pt x="476" y="48"/>
                  <a:pt x="475" y="48"/>
                  <a:pt x="475" y="48"/>
                </a:cubicBezTo>
                <a:cubicBezTo>
                  <a:pt x="474" y="46"/>
                  <a:pt x="475" y="44"/>
                  <a:pt x="476" y="42"/>
                </a:cubicBezTo>
                <a:cubicBezTo>
                  <a:pt x="478" y="40"/>
                  <a:pt x="479" y="38"/>
                  <a:pt x="481" y="37"/>
                </a:cubicBezTo>
                <a:cubicBezTo>
                  <a:pt x="485" y="34"/>
                  <a:pt x="486" y="30"/>
                  <a:pt x="487" y="26"/>
                </a:cubicBezTo>
                <a:cubicBezTo>
                  <a:pt x="487" y="24"/>
                  <a:pt x="488" y="22"/>
                  <a:pt x="487" y="20"/>
                </a:cubicBezTo>
                <a:cubicBezTo>
                  <a:pt x="488" y="18"/>
                  <a:pt x="488" y="16"/>
                  <a:pt x="487" y="14"/>
                </a:cubicBezTo>
                <a:cubicBezTo>
                  <a:pt x="487" y="11"/>
                  <a:pt x="485" y="9"/>
                  <a:pt x="484" y="7"/>
                </a:cubicBezTo>
                <a:cubicBezTo>
                  <a:pt x="482" y="5"/>
                  <a:pt x="481" y="5"/>
                  <a:pt x="479" y="5"/>
                </a:cubicBezTo>
                <a:cubicBezTo>
                  <a:pt x="476" y="5"/>
                  <a:pt x="473" y="5"/>
                  <a:pt x="469" y="6"/>
                </a:cubicBezTo>
                <a:cubicBezTo>
                  <a:pt x="472" y="7"/>
                  <a:pt x="474" y="9"/>
                  <a:pt x="476" y="11"/>
                </a:cubicBezTo>
                <a:cubicBezTo>
                  <a:pt x="476" y="13"/>
                  <a:pt x="477" y="15"/>
                  <a:pt x="477" y="17"/>
                </a:cubicBezTo>
                <a:cubicBezTo>
                  <a:pt x="476" y="18"/>
                  <a:pt x="476" y="19"/>
                  <a:pt x="474" y="20"/>
                </a:cubicBezTo>
                <a:cubicBezTo>
                  <a:pt x="473" y="20"/>
                  <a:pt x="472" y="21"/>
                  <a:pt x="471" y="21"/>
                </a:cubicBezTo>
                <a:cubicBezTo>
                  <a:pt x="471" y="19"/>
                  <a:pt x="470" y="17"/>
                  <a:pt x="469" y="15"/>
                </a:cubicBezTo>
                <a:cubicBezTo>
                  <a:pt x="468" y="13"/>
                  <a:pt x="466" y="11"/>
                  <a:pt x="464" y="9"/>
                </a:cubicBezTo>
                <a:cubicBezTo>
                  <a:pt x="461" y="10"/>
                  <a:pt x="459" y="10"/>
                  <a:pt x="458" y="12"/>
                </a:cubicBezTo>
                <a:cubicBezTo>
                  <a:pt x="456" y="13"/>
                  <a:pt x="455" y="14"/>
                  <a:pt x="453" y="14"/>
                </a:cubicBezTo>
                <a:cubicBezTo>
                  <a:pt x="452" y="13"/>
                  <a:pt x="451" y="13"/>
                  <a:pt x="451" y="13"/>
                </a:cubicBezTo>
                <a:lnTo>
                  <a:pt x="448" y="3"/>
                </a:lnTo>
                <a:lnTo>
                  <a:pt x="446" y="2"/>
                </a:lnTo>
                <a:cubicBezTo>
                  <a:pt x="440" y="4"/>
                  <a:pt x="433" y="5"/>
                  <a:pt x="426" y="6"/>
                </a:cubicBezTo>
                <a:cubicBezTo>
                  <a:pt x="423" y="6"/>
                  <a:pt x="420" y="5"/>
                  <a:pt x="416" y="5"/>
                </a:cubicBezTo>
                <a:cubicBezTo>
                  <a:pt x="415" y="5"/>
                  <a:pt x="415" y="6"/>
                  <a:pt x="414" y="6"/>
                </a:cubicBezTo>
                <a:cubicBezTo>
                  <a:pt x="412" y="8"/>
                  <a:pt x="411" y="11"/>
                  <a:pt x="411" y="14"/>
                </a:cubicBezTo>
                <a:cubicBezTo>
                  <a:pt x="410" y="15"/>
                  <a:pt x="409" y="16"/>
                  <a:pt x="407" y="17"/>
                </a:cubicBezTo>
                <a:cubicBezTo>
                  <a:pt x="404" y="18"/>
                  <a:pt x="401" y="19"/>
                  <a:pt x="398" y="20"/>
                </a:cubicBezTo>
                <a:cubicBezTo>
                  <a:pt x="395" y="20"/>
                  <a:pt x="393" y="21"/>
                  <a:pt x="390" y="22"/>
                </a:cubicBezTo>
                <a:cubicBezTo>
                  <a:pt x="391" y="23"/>
                  <a:pt x="392" y="24"/>
                  <a:pt x="393" y="26"/>
                </a:cubicBezTo>
                <a:cubicBezTo>
                  <a:pt x="394" y="27"/>
                  <a:pt x="395" y="28"/>
                  <a:pt x="395" y="29"/>
                </a:cubicBezTo>
                <a:cubicBezTo>
                  <a:pt x="396" y="30"/>
                  <a:pt x="396" y="30"/>
                  <a:pt x="396" y="31"/>
                </a:cubicBezTo>
                <a:lnTo>
                  <a:pt x="389" y="38"/>
                </a:lnTo>
                <a:lnTo>
                  <a:pt x="389" y="41"/>
                </a:lnTo>
                <a:lnTo>
                  <a:pt x="397" y="49"/>
                </a:lnTo>
                <a:cubicBezTo>
                  <a:pt x="397" y="49"/>
                  <a:pt x="396" y="50"/>
                  <a:pt x="394" y="50"/>
                </a:cubicBezTo>
                <a:cubicBezTo>
                  <a:pt x="391" y="50"/>
                  <a:pt x="388" y="50"/>
                  <a:pt x="385" y="49"/>
                </a:cubicBezTo>
                <a:cubicBezTo>
                  <a:pt x="381" y="49"/>
                  <a:pt x="378" y="49"/>
                  <a:pt x="374" y="48"/>
                </a:cubicBezTo>
                <a:lnTo>
                  <a:pt x="374" y="51"/>
                </a:lnTo>
                <a:cubicBezTo>
                  <a:pt x="376" y="53"/>
                  <a:pt x="378" y="55"/>
                  <a:pt x="379" y="57"/>
                </a:cubicBezTo>
                <a:cubicBezTo>
                  <a:pt x="380" y="58"/>
                  <a:pt x="381" y="59"/>
                  <a:pt x="382" y="61"/>
                </a:cubicBezTo>
                <a:cubicBezTo>
                  <a:pt x="379" y="61"/>
                  <a:pt x="377" y="60"/>
                  <a:pt x="375" y="59"/>
                </a:cubicBezTo>
                <a:cubicBezTo>
                  <a:pt x="371" y="58"/>
                  <a:pt x="367" y="57"/>
                  <a:pt x="363" y="55"/>
                </a:cubicBezTo>
                <a:cubicBezTo>
                  <a:pt x="357" y="55"/>
                  <a:pt x="351" y="56"/>
                  <a:pt x="346" y="59"/>
                </a:cubicBezTo>
                <a:cubicBezTo>
                  <a:pt x="345" y="60"/>
                  <a:pt x="343" y="61"/>
                  <a:pt x="342" y="62"/>
                </a:cubicBezTo>
                <a:cubicBezTo>
                  <a:pt x="341" y="64"/>
                  <a:pt x="340" y="66"/>
                  <a:pt x="340" y="68"/>
                </a:cubicBezTo>
                <a:cubicBezTo>
                  <a:pt x="340" y="71"/>
                  <a:pt x="341" y="73"/>
                  <a:pt x="343" y="75"/>
                </a:cubicBezTo>
                <a:cubicBezTo>
                  <a:pt x="346" y="77"/>
                  <a:pt x="349" y="78"/>
                  <a:pt x="352" y="79"/>
                </a:cubicBezTo>
                <a:cubicBezTo>
                  <a:pt x="358" y="80"/>
                  <a:pt x="365" y="82"/>
                  <a:pt x="372" y="84"/>
                </a:cubicBezTo>
                <a:lnTo>
                  <a:pt x="371" y="89"/>
                </a:lnTo>
                <a:lnTo>
                  <a:pt x="371" y="90"/>
                </a:lnTo>
                <a:cubicBezTo>
                  <a:pt x="378" y="89"/>
                  <a:pt x="384" y="90"/>
                  <a:pt x="390" y="93"/>
                </a:cubicBezTo>
                <a:cubicBezTo>
                  <a:pt x="391" y="94"/>
                  <a:pt x="393" y="95"/>
                  <a:pt x="394" y="95"/>
                </a:cubicBezTo>
                <a:lnTo>
                  <a:pt x="394" y="97"/>
                </a:lnTo>
                <a:cubicBezTo>
                  <a:pt x="390" y="101"/>
                  <a:pt x="386" y="105"/>
                  <a:pt x="383" y="109"/>
                </a:cubicBezTo>
                <a:cubicBezTo>
                  <a:pt x="382" y="110"/>
                  <a:pt x="382" y="111"/>
                  <a:pt x="380" y="112"/>
                </a:cubicBezTo>
                <a:cubicBezTo>
                  <a:pt x="379" y="113"/>
                  <a:pt x="377" y="113"/>
                  <a:pt x="375" y="113"/>
                </a:cubicBezTo>
                <a:cubicBezTo>
                  <a:pt x="374" y="113"/>
                  <a:pt x="372" y="113"/>
                  <a:pt x="371" y="112"/>
                </a:cubicBezTo>
                <a:cubicBezTo>
                  <a:pt x="367" y="112"/>
                  <a:pt x="364" y="112"/>
                  <a:pt x="361" y="111"/>
                </a:cubicBezTo>
                <a:cubicBezTo>
                  <a:pt x="359" y="111"/>
                  <a:pt x="358" y="112"/>
                  <a:pt x="356" y="113"/>
                </a:cubicBezTo>
                <a:cubicBezTo>
                  <a:pt x="354" y="115"/>
                  <a:pt x="351" y="116"/>
                  <a:pt x="348" y="118"/>
                </a:cubicBezTo>
                <a:cubicBezTo>
                  <a:pt x="345" y="119"/>
                  <a:pt x="341" y="120"/>
                  <a:pt x="338" y="121"/>
                </a:cubicBezTo>
                <a:lnTo>
                  <a:pt x="336" y="123"/>
                </a:lnTo>
                <a:cubicBezTo>
                  <a:pt x="339" y="127"/>
                  <a:pt x="342" y="132"/>
                  <a:pt x="345" y="137"/>
                </a:cubicBezTo>
                <a:lnTo>
                  <a:pt x="338" y="143"/>
                </a:lnTo>
                <a:lnTo>
                  <a:pt x="337" y="150"/>
                </a:lnTo>
                <a:cubicBezTo>
                  <a:pt x="334" y="148"/>
                  <a:pt x="331" y="146"/>
                  <a:pt x="328" y="144"/>
                </a:cubicBezTo>
                <a:cubicBezTo>
                  <a:pt x="327" y="143"/>
                  <a:pt x="326" y="142"/>
                  <a:pt x="326" y="142"/>
                </a:cubicBezTo>
                <a:lnTo>
                  <a:pt x="330" y="134"/>
                </a:lnTo>
                <a:cubicBezTo>
                  <a:pt x="327" y="132"/>
                  <a:pt x="325" y="130"/>
                  <a:pt x="321" y="130"/>
                </a:cubicBezTo>
                <a:cubicBezTo>
                  <a:pt x="318" y="130"/>
                  <a:pt x="315" y="130"/>
                  <a:pt x="312" y="131"/>
                </a:cubicBezTo>
                <a:cubicBezTo>
                  <a:pt x="307" y="128"/>
                  <a:pt x="303" y="125"/>
                  <a:pt x="298" y="122"/>
                </a:cubicBezTo>
                <a:cubicBezTo>
                  <a:pt x="294" y="120"/>
                  <a:pt x="291" y="120"/>
                  <a:pt x="288" y="122"/>
                </a:cubicBezTo>
                <a:cubicBezTo>
                  <a:pt x="286" y="124"/>
                  <a:pt x="284" y="126"/>
                  <a:pt x="282" y="129"/>
                </a:cubicBezTo>
                <a:cubicBezTo>
                  <a:pt x="280" y="132"/>
                  <a:pt x="277" y="135"/>
                  <a:pt x="275" y="138"/>
                </a:cubicBezTo>
                <a:lnTo>
                  <a:pt x="273" y="138"/>
                </a:lnTo>
                <a:lnTo>
                  <a:pt x="273" y="134"/>
                </a:lnTo>
                <a:cubicBezTo>
                  <a:pt x="274" y="130"/>
                  <a:pt x="275" y="126"/>
                  <a:pt x="274" y="122"/>
                </a:cubicBezTo>
                <a:cubicBezTo>
                  <a:pt x="274" y="120"/>
                  <a:pt x="273" y="118"/>
                  <a:pt x="273" y="117"/>
                </a:cubicBezTo>
                <a:cubicBezTo>
                  <a:pt x="271" y="114"/>
                  <a:pt x="269" y="111"/>
                  <a:pt x="267" y="109"/>
                </a:cubicBezTo>
                <a:lnTo>
                  <a:pt x="267" y="105"/>
                </a:lnTo>
                <a:cubicBezTo>
                  <a:pt x="262" y="102"/>
                  <a:pt x="257" y="100"/>
                  <a:pt x="252" y="98"/>
                </a:cubicBezTo>
                <a:cubicBezTo>
                  <a:pt x="250" y="97"/>
                  <a:pt x="250" y="96"/>
                  <a:pt x="249" y="95"/>
                </a:cubicBezTo>
                <a:cubicBezTo>
                  <a:pt x="244" y="93"/>
                  <a:pt x="238" y="90"/>
                  <a:pt x="232" y="88"/>
                </a:cubicBezTo>
                <a:cubicBezTo>
                  <a:pt x="229" y="87"/>
                  <a:pt x="227" y="86"/>
                  <a:pt x="224" y="85"/>
                </a:cubicBezTo>
                <a:lnTo>
                  <a:pt x="222" y="95"/>
                </a:lnTo>
                <a:lnTo>
                  <a:pt x="212" y="91"/>
                </a:lnTo>
                <a:cubicBezTo>
                  <a:pt x="211" y="91"/>
                  <a:pt x="211" y="92"/>
                  <a:pt x="210" y="92"/>
                </a:cubicBezTo>
                <a:cubicBezTo>
                  <a:pt x="210" y="93"/>
                  <a:pt x="210" y="93"/>
                  <a:pt x="210" y="93"/>
                </a:cubicBezTo>
                <a:cubicBezTo>
                  <a:pt x="209" y="94"/>
                  <a:pt x="208" y="96"/>
                  <a:pt x="208" y="97"/>
                </a:cubicBezTo>
                <a:cubicBezTo>
                  <a:pt x="208" y="98"/>
                  <a:pt x="207" y="98"/>
                  <a:pt x="207" y="99"/>
                </a:cubicBezTo>
                <a:cubicBezTo>
                  <a:pt x="206" y="99"/>
                  <a:pt x="205" y="99"/>
                  <a:pt x="205" y="99"/>
                </a:cubicBezTo>
                <a:cubicBezTo>
                  <a:pt x="203" y="98"/>
                  <a:pt x="201" y="98"/>
                  <a:pt x="200" y="97"/>
                </a:cubicBezTo>
                <a:cubicBezTo>
                  <a:pt x="199" y="96"/>
                  <a:pt x="198" y="96"/>
                  <a:pt x="197" y="95"/>
                </a:cubicBezTo>
                <a:lnTo>
                  <a:pt x="191" y="117"/>
                </a:lnTo>
                <a:lnTo>
                  <a:pt x="196" y="120"/>
                </a:lnTo>
                <a:lnTo>
                  <a:pt x="196" y="123"/>
                </a:lnTo>
                <a:lnTo>
                  <a:pt x="190" y="128"/>
                </a:lnTo>
                <a:lnTo>
                  <a:pt x="194" y="143"/>
                </a:lnTo>
                <a:lnTo>
                  <a:pt x="183" y="144"/>
                </a:lnTo>
                <a:cubicBezTo>
                  <a:pt x="182" y="146"/>
                  <a:pt x="182" y="146"/>
                  <a:pt x="182" y="148"/>
                </a:cubicBezTo>
                <a:cubicBezTo>
                  <a:pt x="182" y="150"/>
                  <a:pt x="182" y="152"/>
                  <a:pt x="182" y="154"/>
                </a:cubicBezTo>
                <a:cubicBezTo>
                  <a:pt x="190" y="156"/>
                  <a:pt x="199" y="157"/>
                  <a:pt x="207" y="158"/>
                </a:cubicBezTo>
                <a:cubicBezTo>
                  <a:pt x="209" y="159"/>
                  <a:pt x="211" y="160"/>
                  <a:pt x="212" y="162"/>
                </a:cubicBezTo>
                <a:cubicBezTo>
                  <a:pt x="212" y="164"/>
                  <a:pt x="211" y="166"/>
                  <a:pt x="210" y="168"/>
                </a:cubicBezTo>
                <a:cubicBezTo>
                  <a:pt x="209" y="171"/>
                  <a:pt x="208" y="173"/>
                  <a:pt x="207" y="176"/>
                </a:cubicBezTo>
                <a:cubicBezTo>
                  <a:pt x="207" y="178"/>
                  <a:pt x="206" y="179"/>
                  <a:pt x="206" y="181"/>
                </a:cubicBezTo>
                <a:lnTo>
                  <a:pt x="204" y="181"/>
                </a:lnTo>
                <a:lnTo>
                  <a:pt x="200" y="178"/>
                </a:lnTo>
                <a:cubicBezTo>
                  <a:pt x="194" y="176"/>
                  <a:pt x="189" y="175"/>
                  <a:pt x="183" y="174"/>
                </a:cubicBezTo>
                <a:cubicBezTo>
                  <a:pt x="180" y="174"/>
                  <a:pt x="177" y="175"/>
                  <a:pt x="174" y="176"/>
                </a:cubicBezTo>
                <a:cubicBezTo>
                  <a:pt x="172" y="178"/>
                  <a:pt x="170" y="180"/>
                  <a:pt x="168" y="181"/>
                </a:cubicBezTo>
                <a:cubicBezTo>
                  <a:pt x="167" y="185"/>
                  <a:pt x="167" y="189"/>
                  <a:pt x="168" y="193"/>
                </a:cubicBezTo>
                <a:cubicBezTo>
                  <a:pt x="169" y="195"/>
                  <a:pt x="170" y="197"/>
                  <a:pt x="172" y="198"/>
                </a:cubicBezTo>
                <a:cubicBezTo>
                  <a:pt x="172" y="198"/>
                  <a:pt x="172" y="198"/>
                  <a:pt x="173" y="199"/>
                </a:cubicBezTo>
                <a:cubicBezTo>
                  <a:pt x="175" y="200"/>
                  <a:pt x="177" y="201"/>
                  <a:pt x="179" y="202"/>
                </a:cubicBezTo>
                <a:cubicBezTo>
                  <a:pt x="181" y="204"/>
                  <a:pt x="183" y="205"/>
                  <a:pt x="184" y="206"/>
                </a:cubicBezTo>
                <a:lnTo>
                  <a:pt x="184" y="207"/>
                </a:lnTo>
                <a:cubicBezTo>
                  <a:pt x="183" y="207"/>
                  <a:pt x="182" y="207"/>
                  <a:pt x="181" y="207"/>
                </a:cubicBezTo>
                <a:cubicBezTo>
                  <a:pt x="178" y="207"/>
                  <a:pt x="176" y="206"/>
                  <a:pt x="174" y="204"/>
                </a:cubicBezTo>
                <a:cubicBezTo>
                  <a:pt x="172" y="203"/>
                  <a:pt x="171" y="202"/>
                  <a:pt x="170" y="201"/>
                </a:cubicBezTo>
                <a:cubicBezTo>
                  <a:pt x="170" y="201"/>
                  <a:pt x="170" y="201"/>
                  <a:pt x="170" y="200"/>
                </a:cubicBezTo>
                <a:cubicBezTo>
                  <a:pt x="169" y="201"/>
                  <a:pt x="168" y="201"/>
                  <a:pt x="168" y="201"/>
                </a:cubicBezTo>
                <a:cubicBezTo>
                  <a:pt x="164" y="201"/>
                  <a:pt x="162" y="200"/>
                  <a:pt x="159" y="198"/>
                </a:cubicBezTo>
                <a:cubicBezTo>
                  <a:pt x="158" y="197"/>
                  <a:pt x="156" y="197"/>
                  <a:pt x="155" y="196"/>
                </a:cubicBezTo>
                <a:lnTo>
                  <a:pt x="153" y="199"/>
                </a:lnTo>
                <a:lnTo>
                  <a:pt x="156" y="204"/>
                </a:lnTo>
                <a:lnTo>
                  <a:pt x="154" y="206"/>
                </a:lnTo>
                <a:cubicBezTo>
                  <a:pt x="151" y="205"/>
                  <a:pt x="148" y="204"/>
                  <a:pt x="145" y="203"/>
                </a:cubicBezTo>
                <a:cubicBezTo>
                  <a:pt x="145" y="202"/>
                  <a:pt x="144" y="202"/>
                  <a:pt x="143" y="201"/>
                </a:cubicBezTo>
                <a:cubicBezTo>
                  <a:pt x="143" y="200"/>
                  <a:pt x="142" y="199"/>
                  <a:pt x="141" y="198"/>
                </a:cubicBezTo>
                <a:lnTo>
                  <a:pt x="133" y="205"/>
                </a:lnTo>
                <a:cubicBezTo>
                  <a:pt x="133" y="206"/>
                  <a:pt x="133" y="207"/>
                  <a:pt x="134" y="208"/>
                </a:cubicBezTo>
                <a:cubicBezTo>
                  <a:pt x="136" y="211"/>
                  <a:pt x="139" y="213"/>
                  <a:pt x="141" y="216"/>
                </a:cubicBezTo>
                <a:cubicBezTo>
                  <a:pt x="142" y="216"/>
                  <a:pt x="142" y="216"/>
                  <a:pt x="142" y="217"/>
                </a:cubicBezTo>
                <a:lnTo>
                  <a:pt x="142" y="218"/>
                </a:lnTo>
                <a:lnTo>
                  <a:pt x="124" y="222"/>
                </a:lnTo>
                <a:lnTo>
                  <a:pt x="130" y="224"/>
                </a:lnTo>
                <a:lnTo>
                  <a:pt x="139" y="233"/>
                </a:lnTo>
                <a:cubicBezTo>
                  <a:pt x="140" y="233"/>
                  <a:pt x="142" y="233"/>
                  <a:pt x="143" y="233"/>
                </a:cubicBezTo>
                <a:cubicBezTo>
                  <a:pt x="145" y="233"/>
                  <a:pt x="147" y="233"/>
                  <a:pt x="149" y="232"/>
                </a:cubicBezTo>
                <a:lnTo>
                  <a:pt x="151" y="232"/>
                </a:lnTo>
                <a:cubicBezTo>
                  <a:pt x="151" y="235"/>
                  <a:pt x="152" y="237"/>
                  <a:pt x="153" y="239"/>
                </a:cubicBezTo>
                <a:cubicBezTo>
                  <a:pt x="153" y="240"/>
                  <a:pt x="153" y="241"/>
                  <a:pt x="152" y="243"/>
                </a:cubicBezTo>
                <a:cubicBezTo>
                  <a:pt x="152" y="243"/>
                  <a:pt x="152" y="245"/>
                  <a:pt x="151" y="246"/>
                </a:cubicBezTo>
                <a:cubicBezTo>
                  <a:pt x="152" y="247"/>
                  <a:pt x="153" y="249"/>
                  <a:pt x="154" y="251"/>
                </a:cubicBezTo>
                <a:cubicBezTo>
                  <a:pt x="155" y="252"/>
                  <a:pt x="156" y="253"/>
                  <a:pt x="158" y="254"/>
                </a:cubicBezTo>
                <a:cubicBezTo>
                  <a:pt x="158" y="254"/>
                  <a:pt x="158" y="254"/>
                  <a:pt x="159" y="254"/>
                </a:cubicBezTo>
                <a:cubicBezTo>
                  <a:pt x="160" y="253"/>
                  <a:pt x="161" y="253"/>
                  <a:pt x="162" y="253"/>
                </a:cubicBezTo>
                <a:cubicBezTo>
                  <a:pt x="165" y="251"/>
                  <a:pt x="168" y="250"/>
                  <a:pt x="172" y="249"/>
                </a:cubicBezTo>
                <a:cubicBezTo>
                  <a:pt x="172" y="249"/>
                  <a:pt x="173" y="248"/>
                  <a:pt x="174" y="248"/>
                </a:cubicBezTo>
                <a:lnTo>
                  <a:pt x="181" y="253"/>
                </a:lnTo>
                <a:lnTo>
                  <a:pt x="181" y="256"/>
                </a:lnTo>
                <a:lnTo>
                  <a:pt x="175" y="262"/>
                </a:lnTo>
                <a:lnTo>
                  <a:pt x="175" y="266"/>
                </a:lnTo>
                <a:cubicBezTo>
                  <a:pt x="174" y="267"/>
                  <a:pt x="174" y="268"/>
                  <a:pt x="173" y="269"/>
                </a:cubicBezTo>
                <a:cubicBezTo>
                  <a:pt x="173" y="269"/>
                  <a:pt x="172" y="270"/>
                  <a:pt x="172" y="270"/>
                </a:cubicBezTo>
                <a:cubicBezTo>
                  <a:pt x="172" y="271"/>
                  <a:pt x="172" y="271"/>
                  <a:pt x="172" y="272"/>
                </a:cubicBezTo>
                <a:lnTo>
                  <a:pt x="174" y="275"/>
                </a:lnTo>
                <a:cubicBezTo>
                  <a:pt x="188" y="279"/>
                  <a:pt x="203" y="282"/>
                  <a:pt x="217" y="285"/>
                </a:cubicBezTo>
                <a:cubicBezTo>
                  <a:pt x="222" y="286"/>
                  <a:pt x="226" y="287"/>
                  <a:pt x="230" y="289"/>
                </a:cubicBezTo>
                <a:cubicBezTo>
                  <a:pt x="232" y="290"/>
                  <a:pt x="233" y="291"/>
                  <a:pt x="234" y="293"/>
                </a:cubicBezTo>
                <a:lnTo>
                  <a:pt x="233" y="294"/>
                </a:lnTo>
                <a:lnTo>
                  <a:pt x="225" y="298"/>
                </a:lnTo>
                <a:lnTo>
                  <a:pt x="231" y="305"/>
                </a:lnTo>
                <a:cubicBezTo>
                  <a:pt x="227" y="306"/>
                  <a:pt x="223" y="306"/>
                  <a:pt x="219" y="306"/>
                </a:cubicBezTo>
                <a:cubicBezTo>
                  <a:pt x="214" y="306"/>
                  <a:pt x="209" y="305"/>
                  <a:pt x="204" y="304"/>
                </a:cubicBezTo>
                <a:cubicBezTo>
                  <a:pt x="201" y="303"/>
                  <a:pt x="198" y="302"/>
                  <a:pt x="195" y="302"/>
                </a:cubicBezTo>
                <a:cubicBezTo>
                  <a:pt x="194" y="302"/>
                  <a:pt x="193" y="303"/>
                  <a:pt x="191" y="303"/>
                </a:cubicBezTo>
                <a:cubicBezTo>
                  <a:pt x="188" y="305"/>
                  <a:pt x="185" y="307"/>
                  <a:pt x="183" y="309"/>
                </a:cubicBezTo>
                <a:cubicBezTo>
                  <a:pt x="176" y="315"/>
                  <a:pt x="169" y="322"/>
                  <a:pt x="164" y="329"/>
                </a:cubicBezTo>
                <a:lnTo>
                  <a:pt x="169" y="334"/>
                </a:lnTo>
                <a:cubicBezTo>
                  <a:pt x="165" y="340"/>
                  <a:pt x="160" y="346"/>
                  <a:pt x="154" y="350"/>
                </a:cubicBezTo>
                <a:cubicBezTo>
                  <a:pt x="152" y="351"/>
                  <a:pt x="149" y="353"/>
                  <a:pt x="147" y="354"/>
                </a:cubicBezTo>
                <a:cubicBezTo>
                  <a:pt x="145" y="355"/>
                  <a:pt x="143" y="356"/>
                  <a:pt x="142" y="356"/>
                </a:cubicBezTo>
                <a:cubicBezTo>
                  <a:pt x="140" y="357"/>
                  <a:pt x="139" y="357"/>
                  <a:pt x="138" y="356"/>
                </a:cubicBezTo>
                <a:cubicBezTo>
                  <a:pt x="131" y="361"/>
                  <a:pt x="124" y="364"/>
                  <a:pt x="116" y="367"/>
                </a:cubicBezTo>
                <a:cubicBezTo>
                  <a:pt x="110" y="369"/>
                  <a:pt x="104" y="371"/>
                  <a:pt x="97" y="373"/>
                </a:cubicBezTo>
                <a:lnTo>
                  <a:pt x="97" y="375"/>
                </a:lnTo>
                <a:cubicBezTo>
                  <a:pt x="101" y="377"/>
                  <a:pt x="105" y="377"/>
                  <a:pt x="108" y="377"/>
                </a:cubicBezTo>
                <a:cubicBezTo>
                  <a:pt x="113" y="377"/>
                  <a:pt x="118" y="376"/>
                  <a:pt x="122" y="376"/>
                </a:cubicBezTo>
                <a:cubicBezTo>
                  <a:pt x="126" y="375"/>
                  <a:pt x="130" y="375"/>
                  <a:pt x="134" y="375"/>
                </a:cubicBezTo>
                <a:cubicBezTo>
                  <a:pt x="136" y="376"/>
                  <a:pt x="138" y="376"/>
                  <a:pt x="139" y="377"/>
                </a:cubicBezTo>
                <a:cubicBezTo>
                  <a:pt x="143" y="378"/>
                  <a:pt x="146" y="380"/>
                  <a:pt x="149" y="381"/>
                </a:cubicBezTo>
                <a:cubicBezTo>
                  <a:pt x="153" y="383"/>
                  <a:pt x="157" y="385"/>
                  <a:pt x="161" y="386"/>
                </a:cubicBezTo>
                <a:cubicBezTo>
                  <a:pt x="163" y="387"/>
                  <a:pt x="165" y="388"/>
                  <a:pt x="167" y="388"/>
                </a:cubicBezTo>
                <a:cubicBezTo>
                  <a:pt x="169" y="388"/>
                  <a:pt x="170" y="388"/>
                  <a:pt x="172" y="388"/>
                </a:cubicBezTo>
                <a:cubicBezTo>
                  <a:pt x="174" y="388"/>
                  <a:pt x="177" y="388"/>
                  <a:pt x="179" y="387"/>
                </a:cubicBezTo>
                <a:cubicBezTo>
                  <a:pt x="186" y="385"/>
                  <a:pt x="191" y="382"/>
                  <a:pt x="196" y="377"/>
                </a:cubicBezTo>
                <a:cubicBezTo>
                  <a:pt x="198" y="375"/>
                  <a:pt x="200" y="374"/>
                  <a:pt x="202" y="373"/>
                </a:cubicBezTo>
                <a:cubicBezTo>
                  <a:pt x="204" y="375"/>
                  <a:pt x="205" y="376"/>
                  <a:pt x="206" y="378"/>
                </a:cubicBezTo>
                <a:cubicBezTo>
                  <a:pt x="207" y="383"/>
                  <a:pt x="209" y="387"/>
                  <a:pt x="212" y="391"/>
                </a:cubicBezTo>
                <a:cubicBezTo>
                  <a:pt x="212" y="392"/>
                  <a:pt x="212" y="392"/>
                  <a:pt x="213" y="393"/>
                </a:cubicBezTo>
                <a:cubicBezTo>
                  <a:pt x="213" y="393"/>
                  <a:pt x="214" y="393"/>
                  <a:pt x="214" y="394"/>
                </a:cubicBezTo>
                <a:cubicBezTo>
                  <a:pt x="218" y="396"/>
                  <a:pt x="222" y="398"/>
                  <a:pt x="225" y="401"/>
                </a:cubicBezTo>
                <a:cubicBezTo>
                  <a:pt x="226" y="401"/>
                  <a:pt x="226" y="401"/>
                  <a:pt x="226" y="401"/>
                </a:cubicBezTo>
                <a:lnTo>
                  <a:pt x="225" y="401"/>
                </a:lnTo>
                <a:cubicBezTo>
                  <a:pt x="220" y="400"/>
                  <a:pt x="214" y="398"/>
                  <a:pt x="209" y="397"/>
                </a:cubicBezTo>
                <a:cubicBezTo>
                  <a:pt x="197" y="396"/>
                  <a:pt x="184" y="394"/>
                  <a:pt x="172" y="393"/>
                </a:cubicBezTo>
                <a:cubicBezTo>
                  <a:pt x="170" y="393"/>
                  <a:pt x="168" y="393"/>
                  <a:pt x="166" y="392"/>
                </a:cubicBezTo>
                <a:cubicBezTo>
                  <a:pt x="161" y="391"/>
                  <a:pt x="156" y="390"/>
                  <a:pt x="150" y="389"/>
                </a:cubicBezTo>
                <a:cubicBezTo>
                  <a:pt x="149" y="389"/>
                  <a:pt x="147" y="389"/>
                  <a:pt x="145" y="389"/>
                </a:cubicBezTo>
                <a:cubicBezTo>
                  <a:pt x="143" y="389"/>
                  <a:pt x="142" y="388"/>
                  <a:pt x="140" y="388"/>
                </a:cubicBezTo>
                <a:cubicBezTo>
                  <a:pt x="138" y="387"/>
                  <a:pt x="136" y="387"/>
                  <a:pt x="133" y="386"/>
                </a:cubicBezTo>
                <a:cubicBezTo>
                  <a:pt x="131" y="386"/>
                  <a:pt x="128" y="386"/>
                  <a:pt x="126" y="386"/>
                </a:cubicBezTo>
                <a:cubicBezTo>
                  <a:pt x="125" y="387"/>
                  <a:pt x="123" y="387"/>
                  <a:pt x="122" y="389"/>
                </a:cubicBezTo>
                <a:cubicBezTo>
                  <a:pt x="121" y="390"/>
                  <a:pt x="121" y="392"/>
                  <a:pt x="120" y="394"/>
                </a:cubicBezTo>
                <a:cubicBezTo>
                  <a:pt x="120" y="394"/>
                  <a:pt x="120" y="396"/>
                  <a:pt x="120" y="397"/>
                </a:cubicBezTo>
                <a:lnTo>
                  <a:pt x="86" y="400"/>
                </a:lnTo>
                <a:cubicBezTo>
                  <a:pt x="86" y="402"/>
                  <a:pt x="88" y="405"/>
                  <a:pt x="89" y="407"/>
                </a:cubicBezTo>
                <a:cubicBezTo>
                  <a:pt x="90" y="409"/>
                  <a:pt x="92" y="410"/>
                  <a:pt x="93" y="411"/>
                </a:cubicBezTo>
                <a:lnTo>
                  <a:pt x="93" y="413"/>
                </a:lnTo>
                <a:lnTo>
                  <a:pt x="84" y="424"/>
                </a:lnTo>
                <a:lnTo>
                  <a:pt x="92" y="430"/>
                </a:lnTo>
                <a:cubicBezTo>
                  <a:pt x="87" y="431"/>
                  <a:pt x="82" y="431"/>
                  <a:pt x="77" y="428"/>
                </a:cubicBezTo>
                <a:cubicBezTo>
                  <a:pt x="74" y="428"/>
                  <a:pt x="72" y="426"/>
                  <a:pt x="71" y="424"/>
                </a:cubicBezTo>
                <a:cubicBezTo>
                  <a:pt x="68" y="422"/>
                  <a:pt x="65" y="419"/>
                  <a:pt x="63" y="416"/>
                </a:cubicBezTo>
                <a:cubicBezTo>
                  <a:pt x="61" y="417"/>
                  <a:pt x="60" y="417"/>
                  <a:pt x="58" y="418"/>
                </a:cubicBezTo>
                <a:cubicBezTo>
                  <a:pt x="57" y="418"/>
                  <a:pt x="55" y="418"/>
                  <a:pt x="54" y="418"/>
                </a:cubicBezTo>
                <a:cubicBezTo>
                  <a:pt x="53" y="418"/>
                  <a:pt x="52" y="417"/>
                  <a:pt x="51" y="417"/>
                </a:cubicBezTo>
                <a:cubicBezTo>
                  <a:pt x="51" y="415"/>
                  <a:pt x="52" y="414"/>
                  <a:pt x="52" y="413"/>
                </a:cubicBezTo>
                <a:cubicBezTo>
                  <a:pt x="52" y="413"/>
                  <a:pt x="52" y="412"/>
                  <a:pt x="52" y="412"/>
                </a:cubicBezTo>
                <a:cubicBezTo>
                  <a:pt x="52" y="411"/>
                  <a:pt x="52" y="410"/>
                  <a:pt x="52" y="409"/>
                </a:cubicBezTo>
                <a:cubicBezTo>
                  <a:pt x="48" y="408"/>
                  <a:pt x="45" y="408"/>
                  <a:pt x="41" y="409"/>
                </a:cubicBezTo>
                <a:cubicBezTo>
                  <a:pt x="32" y="413"/>
                  <a:pt x="24" y="416"/>
                  <a:pt x="15" y="420"/>
                </a:cubicBezTo>
                <a:cubicBezTo>
                  <a:pt x="14" y="421"/>
                  <a:pt x="12" y="422"/>
                  <a:pt x="11" y="422"/>
                </a:cubicBezTo>
                <a:cubicBezTo>
                  <a:pt x="11" y="426"/>
                  <a:pt x="13" y="428"/>
                  <a:pt x="16" y="428"/>
                </a:cubicBezTo>
                <a:cubicBezTo>
                  <a:pt x="21" y="429"/>
                  <a:pt x="26" y="431"/>
                  <a:pt x="31" y="432"/>
                </a:cubicBezTo>
                <a:cubicBezTo>
                  <a:pt x="34" y="433"/>
                  <a:pt x="37" y="434"/>
                  <a:pt x="41" y="435"/>
                </a:cubicBezTo>
                <a:cubicBezTo>
                  <a:pt x="45" y="436"/>
                  <a:pt x="50" y="437"/>
                  <a:pt x="55" y="438"/>
                </a:cubicBezTo>
                <a:cubicBezTo>
                  <a:pt x="61" y="439"/>
                  <a:pt x="68" y="440"/>
                  <a:pt x="74" y="441"/>
                </a:cubicBezTo>
                <a:cubicBezTo>
                  <a:pt x="77" y="442"/>
                  <a:pt x="80" y="443"/>
                  <a:pt x="83" y="445"/>
                </a:cubicBezTo>
                <a:cubicBezTo>
                  <a:pt x="81" y="447"/>
                  <a:pt x="78" y="448"/>
                  <a:pt x="76" y="449"/>
                </a:cubicBezTo>
                <a:cubicBezTo>
                  <a:pt x="73" y="449"/>
                  <a:pt x="71" y="449"/>
                  <a:pt x="69" y="450"/>
                </a:cubicBezTo>
                <a:cubicBezTo>
                  <a:pt x="66" y="451"/>
                  <a:pt x="64" y="452"/>
                  <a:pt x="62" y="455"/>
                </a:cubicBezTo>
                <a:cubicBezTo>
                  <a:pt x="52" y="453"/>
                  <a:pt x="42" y="453"/>
                  <a:pt x="32" y="455"/>
                </a:cubicBezTo>
                <a:cubicBezTo>
                  <a:pt x="29" y="455"/>
                  <a:pt x="27" y="456"/>
                  <a:pt x="24" y="456"/>
                </a:cubicBezTo>
                <a:cubicBezTo>
                  <a:pt x="23" y="457"/>
                  <a:pt x="23" y="457"/>
                  <a:pt x="22" y="458"/>
                </a:cubicBezTo>
                <a:cubicBezTo>
                  <a:pt x="20" y="460"/>
                  <a:pt x="19" y="464"/>
                  <a:pt x="20" y="468"/>
                </a:cubicBezTo>
                <a:cubicBezTo>
                  <a:pt x="19" y="470"/>
                  <a:pt x="17" y="470"/>
                  <a:pt x="15" y="469"/>
                </a:cubicBezTo>
                <a:cubicBezTo>
                  <a:pt x="11" y="469"/>
                  <a:pt x="6" y="468"/>
                  <a:pt x="1" y="467"/>
                </a:cubicBezTo>
                <a:lnTo>
                  <a:pt x="0" y="469"/>
                </a:lnTo>
                <a:lnTo>
                  <a:pt x="5" y="481"/>
                </a:lnTo>
                <a:lnTo>
                  <a:pt x="17" y="479"/>
                </a:lnTo>
                <a:lnTo>
                  <a:pt x="19" y="481"/>
                </a:lnTo>
                <a:cubicBezTo>
                  <a:pt x="18" y="485"/>
                  <a:pt x="19" y="488"/>
                  <a:pt x="20" y="491"/>
                </a:cubicBezTo>
                <a:cubicBezTo>
                  <a:pt x="21" y="493"/>
                  <a:pt x="22" y="494"/>
                  <a:pt x="24" y="494"/>
                </a:cubicBezTo>
                <a:cubicBezTo>
                  <a:pt x="26" y="495"/>
                  <a:pt x="27" y="496"/>
                  <a:pt x="29" y="497"/>
                </a:cubicBezTo>
                <a:cubicBezTo>
                  <a:pt x="32" y="497"/>
                  <a:pt x="35" y="498"/>
                  <a:pt x="38" y="498"/>
                </a:cubicBezTo>
                <a:cubicBezTo>
                  <a:pt x="42" y="497"/>
                  <a:pt x="47" y="497"/>
                  <a:pt x="52" y="496"/>
                </a:cubicBezTo>
                <a:cubicBezTo>
                  <a:pt x="59" y="496"/>
                  <a:pt x="67" y="496"/>
                  <a:pt x="74" y="497"/>
                </a:cubicBezTo>
                <a:cubicBezTo>
                  <a:pt x="76" y="497"/>
                  <a:pt x="78" y="498"/>
                  <a:pt x="80" y="499"/>
                </a:cubicBezTo>
                <a:lnTo>
                  <a:pt x="64" y="500"/>
                </a:lnTo>
                <a:lnTo>
                  <a:pt x="60" y="506"/>
                </a:lnTo>
                <a:cubicBezTo>
                  <a:pt x="58" y="506"/>
                  <a:pt x="56" y="506"/>
                  <a:pt x="54" y="506"/>
                </a:cubicBezTo>
                <a:cubicBezTo>
                  <a:pt x="53" y="507"/>
                  <a:pt x="53" y="507"/>
                  <a:pt x="53" y="507"/>
                </a:cubicBezTo>
                <a:cubicBezTo>
                  <a:pt x="48" y="507"/>
                  <a:pt x="44" y="508"/>
                  <a:pt x="39" y="508"/>
                </a:cubicBezTo>
                <a:cubicBezTo>
                  <a:pt x="39" y="509"/>
                  <a:pt x="39" y="509"/>
                  <a:pt x="38" y="508"/>
                </a:cubicBezTo>
                <a:cubicBezTo>
                  <a:pt x="37" y="509"/>
                  <a:pt x="35" y="510"/>
                  <a:pt x="34" y="511"/>
                </a:cubicBezTo>
                <a:cubicBezTo>
                  <a:pt x="33" y="512"/>
                  <a:pt x="32" y="514"/>
                  <a:pt x="31" y="515"/>
                </a:cubicBezTo>
                <a:cubicBezTo>
                  <a:pt x="30" y="515"/>
                  <a:pt x="29" y="516"/>
                  <a:pt x="28" y="516"/>
                </a:cubicBezTo>
                <a:cubicBezTo>
                  <a:pt x="25" y="516"/>
                  <a:pt x="22" y="515"/>
                  <a:pt x="19" y="515"/>
                </a:cubicBezTo>
                <a:lnTo>
                  <a:pt x="14" y="523"/>
                </a:lnTo>
                <a:cubicBezTo>
                  <a:pt x="15" y="525"/>
                  <a:pt x="16" y="526"/>
                  <a:pt x="18" y="526"/>
                </a:cubicBezTo>
                <a:cubicBezTo>
                  <a:pt x="24" y="526"/>
                  <a:pt x="31" y="526"/>
                  <a:pt x="37" y="526"/>
                </a:cubicBezTo>
                <a:cubicBezTo>
                  <a:pt x="41" y="526"/>
                  <a:pt x="46" y="526"/>
                  <a:pt x="50" y="527"/>
                </a:cubicBezTo>
                <a:cubicBezTo>
                  <a:pt x="56" y="528"/>
                  <a:pt x="61" y="528"/>
                  <a:pt x="67" y="526"/>
                </a:cubicBezTo>
                <a:cubicBezTo>
                  <a:pt x="69" y="526"/>
                  <a:pt x="71" y="525"/>
                  <a:pt x="74" y="524"/>
                </a:cubicBezTo>
                <a:cubicBezTo>
                  <a:pt x="75" y="523"/>
                  <a:pt x="76" y="523"/>
                  <a:pt x="78" y="522"/>
                </a:cubicBezTo>
                <a:cubicBezTo>
                  <a:pt x="80" y="522"/>
                  <a:pt x="82" y="523"/>
                  <a:pt x="84" y="524"/>
                </a:cubicBezTo>
                <a:cubicBezTo>
                  <a:pt x="85" y="524"/>
                  <a:pt x="86" y="524"/>
                  <a:pt x="87" y="525"/>
                </a:cubicBezTo>
                <a:cubicBezTo>
                  <a:pt x="87" y="528"/>
                  <a:pt x="86" y="531"/>
                  <a:pt x="84" y="533"/>
                </a:cubicBezTo>
                <a:cubicBezTo>
                  <a:pt x="82" y="534"/>
                  <a:pt x="80" y="535"/>
                  <a:pt x="78" y="536"/>
                </a:cubicBezTo>
                <a:cubicBezTo>
                  <a:pt x="76" y="536"/>
                  <a:pt x="75" y="537"/>
                  <a:pt x="73" y="537"/>
                </a:cubicBezTo>
                <a:cubicBezTo>
                  <a:pt x="66" y="538"/>
                  <a:pt x="58" y="539"/>
                  <a:pt x="51" y="541"/>
                </a:cubicBezTo>
                <a:cubicBezTo>
                  <a:pt x="49" y="542"/>
                  <a:pt x="47" y="542"/>
                  <a:pt x="44" y="543"/>
                </a:cubicBezTo>
                <a:cubicBezTo>
                  <a:pt x="43" y="544"/>
                  <a:pt x="42" y="544"/>
                  <a:pt x="41" y="545"/>
                </a:cubicBezTo>
                <a:lnTo>
                  <a:pt x="62" y="548"/>
                </a:lnTo>
                <a:cubicBezTo>
                  <a:pt x="55" y="549"/>
                  <a:pt x="49" y="551"/>
                  <a:pt x="42" y="554"/>
                </a:cubicBezTo>
                <a:cubicBezTo>
                  <a:pt x="41" y="554"/>
                  <a:pt x="39" y="555"/>
                  <a:pt x="38" y="556"/>
                </a:cubicBezTo>
                <a:lnTo>
                  <a:pt x="40" y="561"/>
                </a:lnTo>
                <a:cubicBezTo>
                  <a:pt x="45" y="560"/>
                  <a:pt x="51" y="560"/>
                  <a:pt x="56" y="562"/>
                </a:cubicBezTo>
                <a:cubicBezTo>
                  <a:pt x="58" y="562"/>
                  <a:pt x="60" y="561"/>
                  <a:pt x="61" y="560"/>
                </a:cubicBezTo>
                <a:cubicBezTo>
                  <a:pt x="63" y="559"/>
                  <a:pt x="65" y="559"/>
                  <a:pt x="67" y="559"/>
                </a:cubicBezTo>
                <a:cubicBezTo>
                  <a:pt x="70" y="559"/>
                  <a:pt x="73" y="559"/>
                  <a:pt x="76" y="560"/>
                </a:cubicBezTo>
                <a:cubicBezTo>
                  <a:pt x="77" y="560"/>
                  <a:pt x="78" y="561"/>
                  <a:pt x="79" y="561"/>
                </a:cubicBezTo>
                <a:lnTo>
                  <a:pt x="78" y="565"/>
                </a:lnTo>
                <a:cubicBezTo>
                  <a:pt x="79" y="567"/>
                  <a:pt x="81" y="568"/>
                  <a:pt x="82" y="570"/>
                </a:cubicBezTo>
                <a:cubicBezTo>
                  <a:pt x="83" y="571"/>
                  <a:pt x="84" y="572"/>
                  <a:pt x="85" y="574"/>
                </a:cubicBezTo>
                <a:cubicBezTo>
                  <a:pt x="89" y="574"/>
                  <a:pt x="93" y="574"/>
                  <a:pt x="98" y="576"/>
                </a:cubicBezTo>
                <a:cubicBezTo>
                  <a:pt x="99" y="576"/>
                  <a:pt x="101" y="577"/>
                  <a:pt x="103" y="576"/>
                </a:cubicBezTo>
                <a:cubicBezTo>
                  <a:pt x="106" y="576"/>
                  <a:pt x="108" y="576"/>
                  <a:pt x="111" y="576"/>
                </a:cubicBezTo>
                <a:cubicBezTo>
                  <a:pt x="115" y="577"/>
                  <a:pt x="120" y="577"/>
                  <a:pt x="125" y="578"/>
                </a:cubicBezTo>
                <a:cubicBezTo>
                  <a:pt x="129" y="579"/>
                  <a:pt x="132" y="579"/>
                  <a:pt x="135" y="580"/>
                </a:cubicBezTo>
                <a:lnTo>
                  <a:pt x="143" y="575"/>
                </a:lnTo>
                <a:cubicBezTo>
                  <a:pt x="147" y="577"/>
                  <a:pt x="151" y="578"/>
                  <a:pt x="155" y="579"/>
                </a:cubicBezTo>
                <a:cubicBezTo>
                  <a:pt x="156" y="579"/>
                  <a:pt x="157" y="579"/>
                  <a:pt x="158" y="579"/>
                </a:cubicBezTo>
                <a:lnTo>
                  <a:pt x="163" y="573"/>
                </a:lnTo>
                <a:cubicBezTo>
                  <a:pt x="167" y="575"/>
                  <a:pt x="171" y="577"/>
                  <a:pt x="175" y="579"/>
                </a:cubicBezTo>
                <a:cubicBezTo>
                  <a:pt x="177" y="580"/>
                  <a:pt x="178" y="580"/>
                  <a:pt x="180" y="579"/>
                </a:cubicBezTo>
                <a:lnTo>
                  <a:pt x="180" y="569"/>
                </a:lnTo>
                <a:cubicBezTo>
                  <a:pt x="189" y="571"/>
                  <a:pt x="197" y="571"/>
                  <a:pt x="206" y="569"/>
                </a:cubicBezTo>
                <a:cubicBezTo>
                  <a:pt x="208" y="569"/>
                  <a:pt x="209" y="568"/>
                  <a:pt x="210" y="567"/>
                </a:cubicBezTo>
                <a:cubicBezTo>
                  <a:pt x="212" y="566"/>
                  <a:pt x="214" y="565"/>
                  <a:pt x="214" y="563"/>
                </a:cubicBezTo>
                <a:lnTo>
                  <a:pt x="211" y="543"/>
                </a:lnTo>
                <a:lnTo>
                  <a:pt x="206" y="543"/>
                </a:lnTo>
                <a:lnTo>
                  <a:pt x="209" y="542"/>
                </a:lnTo>
                <a:lnTo>
                  <a:pt x="206" y="543"/>
                </a:lnTo>
                <a:lnTo>
                  <a:pt x="211" y="543"/>
                </a:lnTo>
                <a:cubicBezTo>
                  <a:pt x="214" y="544"/>
                  <a:pt x="217" y="545"/>
                  <a:pt x="220" y="547"/>
                </a:cubicBezTo>
                <a:cubicBezTo>
                  <a:pt x="226" y="549"/>
                  <a:pt x="228" y="552"/>
                  <a:pt x="228" y="556"/>
                </a:cubicBezTo>
                <a:cubicBezTo>
                  <a:pt x="228" y="556"/>
                  <a:pt x="227" y="557"/>
                  <a:pt x="226" y="559"/>
                </a:cubicBezTo>
                <a:cubicBezTo>
                  <a:pt x="225" y="560"/>
                  <a:pt x="225" y="561"/>
                  <a:pt x="225" y="562"/>
                </a:cubicBezTo>
                <a:cubicBezTo>
                  <a:pt x="224" y="564"/>
                  <a:pt x="226" y="565"/>
                  <a:pt x="231" y="565"/>
                </a:cubicBezTo>
                <a:cubicBezTo>
                  <a:pt x="234" y="565"/>
                  <a:pt x="238" y="565"/>
                  <a:pt x="244" y="564"/>
                </a:cubicBezTo>
                <a:cubicBezTo>
                  <a:pt x="251" y="564"/>
                  <a:pt x="254" y="563"/>
                  <a:pt x="255" y="563"/>
                </a:cubicBezTo>
                <a:cubicBezTo>
                  <a:pt x="259" y="563"/>
                  <a:pt x="262" y="561"/>
                  <a:pt x="264" y="557"/>
                </a:cubicBezTo>
                <a:cubicBezTo>
                  <a:pt x="267" y="551"/>
                  <a:pt x="269" y="548"/>
                  <a:pt x="270" y="547"/>
                </a:cubicBezTo>
                <a:cubicBezTo>
                  <a:pt x="271" y="548"/>
                  <a:pt x="272" y="550"/>
                  <a:pt x="274" y="553"/>
                </a:cubicBezTo>
                <a:cubicBezTo>
                  <a:pt x="276" y="555"/>
                  <a:pt x="278" y="557"/>
                  <a:pt x="280" y="557"/>
                </a:cubicBezTo>
                <a:cubicBezTo>
                  <a:pt x="284" y="557"/>
                  <a:pt x="289" y="556"/>
                  <a:pt x="295" y="553"/>
                </a:cubicBezTo>
                <a:cubicBezTo>
                  <a:pt x="301" y="550"/>
                  <a:pt x="304" y="547"/>
                  <a:pt x="304" y="543"/>
                </a:cubicBezTo>
                <a:cubicBezTo>
                  <a:pt x="305" y="541"/>
                  <a:pt x="304" y="540"/>
                  <a:pt x="303" y="539"/>
                </a:cubicBezTo>
                <a:cubicBezTo>
                  <a:pt x="302" y="538"/>
                  <a:pt x="301" y="537"/>
                  <a:pt x="300" y="536"/>
                </a:cubicBezTo>
                <a:cubicBezTo>
                  <a:pt x="301" y="536"/>
                  <a:pt x="301" y="536"/>
                  <a:pt x="302" y="536"/>
                </a:cubicBezTo>
                <a:cubicBezTo>
                  <a:pt x="307" y="538"/>
                  <a:pt x="310" y="538"/>
                  <a:pt x="312" y="539"/>
                </a:cubicBezTo>
                <a:cubicBezTo>
                  <a:pt x="319" y="538"/>
                  <a:pt x="324" y="538"/>
                  <a:pt x="328" y="539"/>
                </a:cubicBezTo>
                <a:cubicBezTo>
                  <a:pt x="332" y="539"/>
                  <a:pt x="338" y="541"/>
                  <a:pt x="343" y="544"/>
                </a:cubicBezTo>
                <a:cubicBezTo>
                  <a:pt x="348" y="546"/>
                  <a:pt x="353" y="548"/>
                  <a:pt x="357" y="549"/>
                </a:cubicBezTo>
                <a:cubicBezTo>
                  <a:pt x="368" y="550"/>
                  <a:pt x="373" y="543"/>
                  <a:pt x="373" y="529"/>
                </a:cubicBezTo>
                <a:cubicBezTo>
                  <a:pt x="374" y="530"/>
                  <a:pt x="376" y="532"/>
                  <a:pt x="378" y="533"/>
                </a:cubicBezTo>
                <a:cubicBezTo>
                  <a:pt x="380" y="534"/>
                  <a:pt x="380" y="536"/>
                  <a:pt x="380" y="539"/>
                </a:cubicBezTo>
                <a:lnTo>
                  <a:pt x="380" y="544"/>
                </a:lnTo>
                <a:cubicBezTo>
                  <a:pt x="379" y="547"/>
                  <a:pt x="380" y="549"/>
                  <a:pt x="382" y="549"/>
                </a:cubicBezTo>
                <a:cubicBezTo>
                  <a:pt x="384" y="549"/>
                  <a:pt x="386" y="548"/>
                  <a:pt x="386" y="544"/>
                </a:cubicBezTo>
                <a:cubicBezTo>
                  <a:pt x="387" y="540"/>
                  <a:pt x="389" y="539"/>
                  <a:pt x="392" y="539"/>
                </a:cubicBezTo>
                <a:cubicBezTo>
                  <a:pt x="394" y="539"/>
                  <a:pt x="396" y="541"/>
                  <a:pt x="396" y="543"/>
                </a:cubicBezTo>
                <a:cubicBezTo>
                  <a:pt x="397" y="546"/>
                  <a:pt x="398" y="547"/>
                  <a:pt x="399" y="548"/>
                </a:cubicBezTo>
                <a:cubicBezTo>
                  <a:pt x="401" y="549"/>
                  <a:pt x="403" y="550"/>
                  <a:pt x="405" y="551"/>
                </a:cubicBezTo>
                <a:cubicBezTo>
                  <a:pt x="407" y="552"/>
                  <a:pt x="408" y="553"/>
                  <a:pt x="409" y="554"/>
                </a:cubicBezTo>
                <a:cubicBezTo>
                  <a:pt x="410" y="557"/>
                  <a:pt x="414" y="559"/>
                  <a:pt x="419" y="560"/>
                </a:cubicBezTo>
                <a:cubicBezTo>
                  <a:pt x="422" y="560"/>
                  <a:pt x="424" y="561"/>
                  <a:pt x="425" y="562"/>
                </a:cubicBezTo>
                <a:cubicBezTo>
                  <a:pt x="428" y="564"/>
                  <a:pt x="431" y="565"/>
                  <a:pt x="432" y="565"/>
                </a:cubicBezTo>
                <a:cubicBezTo>
                  <a:pt x="432" y="565"/>
                  <a:pt x="435" y="563"/>
                  <a:pt x="441" y="559"/>
                </a:cubicBezTo>
                <a:cubicBezTo>
                  <a:pt x="441" y="559"/>
                  <a:pt x="441" y="558"/>
                  <a:pt x="440" y="555"/>
                </a:cubicBezTo>
                <a:cubicBezTo>
                  <a:pt x="438" y="553"/>
                  <a:pt x="438" y="551"/>
                  <a:pt x="438" y="550"/>
                </a:cubicBezTo>
                <a:cubicBezTo>
                  <a:pt x="438" y="549"/>
                  <a:pt x="439" y="547"/>
                  <a:pt x="441" y="544"/>
                </a:cubicBezTo>
                <a:cubicBezTo>
                  <a:pt x="436" y="542"/>
                  <a:pt x="434" y="541"/>
                  <a:pt x="433" y="541"/>
                </a:cubicBezTo>
                <a:cubicBezTo>
                  <a:pt x="431" y="539"/>
                  <a:pt x="429" y="537"/>
                  <a:pt x="429" y="534"/>
                </a:cubicBezTo>
                <a:cubicBezTo>
                  <a:pt x="430" y="532"/>
                  <a:pt x="431" y="530"/>
                  <a:pt x="433" y="529"/>
                </a:cubicBezTo>
                <a:lnTo>
                  <a:pt x="436" y="529"/>
                </a:lnTo>
                <a:cubicBezTo>
                  <a:pt x="435" y="532"/>
                  <a:pt x="436" y="534"/>
                  <a:pt x="441" y="534"/>
                </a:cubicBezTo>
                <a:cubicBezTo>
                  <a:pt x="442" y="534"/>
                  <a:pt x="445" y="532"/>
                  <a:pt x="451" y="528"/>
                </a:cubicBezTo>
                <a:cubicBezTo>
                  <a:pt x="457" y="524"/>
                  <a:pt x="460" y="521"/>
                  <a:pt x="462" y="521"/>
                </a:cubicBezTo>
                <a:cubicBezTo>
                  <a:pt x="462" y="519"/>
                  <a:pt x="463" y="518"/>
                  <a:pt x="465" y="517"/>
                </a:cubicBezTo>
                <a:cubicBezTo>
                  <a:pt x="467" y="515"/>
                  <a:pt x="468" y="514"/>
                  <a:pt x="469" y="513"/>
                </a:cubicBezTo>
                <a:cubicBezTo>
                  <a:pt x="470" y="512"/>
                  <a:pt x="472" y="509"/>
                  <a:pt x="475" y="504"/>
                </a:cubicBezTo>
                <a:cubicBezTo>
                  <a:pt x="476" y="499"/>
                  <a:pt x="478" y="495"/>
                  <a:pt x="479" y="493"/>
                </a:cubicBezTo>
                <a:cubicBezTo>
                  <a:pt x="480" y="488"/>
                  <a:pt x="482" y="485"/>
                  <a:pt x="485" y="482"/>
                </a:cubicBezTo>
                <a:cubicBezTo>
                  <a:pt x="487" y="480"/>
                  <a:pt x="489" y="477"/>
                  <a:pt x="492" y="472"/>
                </a:cubicBezTo>
                <a:cubicBezTo>
                  <a:pt x="495" y="467"/>
                  <a:pt x="497" y="464"/>
                  <a:pt x="499" y="462"/>
                </a:cubicBezTo>
                <a:cubicBezTo>
                  <a:pt x="503" y="459"/>
                  <a:pt x="506" y="455"/>
                  <a:pt x="509" y="453"/>
                </a:cubicBezTo>
                <a:cubicBezTo>
                  <a:pt x="512" y="449"/>
                  <a:pt x="515" y="445"/>
                  <a:pt x="515" y="441"/>
                </a:cubicBezTo>
                <a:cubicBezTo>
                  <a:pt x="515" y="437"/>
                  <a:pt x="515" y="434"/>
                  <a:pt x="515" y="433"/>
                </a:cubicBezTo>
                <a:cubicBezTo>
                  <a:pt x="519" y="421"/>
                  <a:pt x="522" y="413"/>
                  <a:pt x="522" y="410"/>
                </a:cubicBezTo>
                <a:cubicBezTo>
                  <a:pt x="522" y="408"/>
                  <a:pt x="522" y="405"/>
                  <a:pt x="521" y="402"/>
                </a:cubicBezTo>
                <a:cubicBezTo>
                  <a:pt x="521" y="398"/>
                  <a:pt x="521" y="395"/>
                  <a:pt x="521" y="393"/>
                </a:cubicBezTo>
                <a:cubicBezTo>
                  <a:pt x="521" y="389"/>
                  <a:pt x="523" y="383"/>
                  <a:pt x="526" y="377"/>
                </a:cubicBezTo>
                <a:cubicBezTo>
                  <a:pt x="528" y="371"/>
                  <a:pt x="530" y="368"/>
                  <a:pt x="530" y="368"/>
                </a:cubicBezTo>
                <a:cubicBezTo>
                  <a:pt x="529" y="363"/>
                  <a:pt x="529" y="360"/>
                  <a:pt x="529" y="358"/>
                </a:cubicBezTo>
                <a:cubicBezTo>
                  <a:pt x="529" y="357"/>
                  <a:pt x="531" y="354"/>
                  <a:pt x="535" y="350"/>
                </a:cubicBezTo>
                <a:cubicBezTo>
                  <a:pt x="539" y="346"/>
                  <a:pt x="541" y="344"/>
                  <a:pt x="541" y="344"/>
                </a:cubicBezTo>
                <a:cubicBezTo>
                  <a:pt x="541" y="343"/>
                  <a:pt x="539" y="340"/>
                  <a:pt x="536" y="336"/>
                </a:cubicBezTo>
                <a:cubicBezTo>
                  <a:pt x="532" y="330"/>
                  <a:pt x="531" y="325"/>
                  <a:pt x="532" y="318"/>
                </a:cubicBezTo>
                <a:cubicBezTo>
                  <a:pt x="534" y="315"/>
                  <a:pt x="535" y="312"/>
                  <a:pt x="535" y="310"/>
                </a:cubicBezTo>
                <a:cubicBezTo>
                  <a:pt x="535" y="309"/>
                  <a:pt x="535" y="308"/>
                  <a:pt x="534" y="307"/>
                </a:cubicBezTo>
                <a:lnTo>
                  <a:pt x="534" y="307"/>
                </a:lnTo>
                <a:close/>
                <a:moveTo>
                  <a:pt x="204" y="84"/>
                </a:moveTo>
                <a:lnTo>
                  <a:pt x="204" y="84"/>
                </a:lnTo>
                <a:lnTo>
                  <a:pt x="204" y="83"/>
                </a:lnTo>
                <a:cubicBezTo>
                  <a:pt x="204" y="83"/>
                  <a:pt x="204" y="82"/>
                  <a:pt x="204" y="82"/>
                </a:cubicBezTo>
                <a:cubicBezTo>
                  <a:pt x="204" y="83"/>
                  <a:pt x="204" y="83"/>
                  <a:pt x="204" y="84"/>
                </a:cubicBezTo>
                <a:lnTo>
                  <a:pt x="204" y="84"/>
                </a:lnTo>
                <a:close/>
                <a:moveTo>
                  <a:pt x="200" y="90"/>
                </a:moveTo>
                <a:lnTo>
                  <a:pt x="200" y="90"/>
                </a:lnTo>
                <a:cubicBezTo>
                  <a:pt x="199" y="90"/>
                  <a:pt x="198" y="91"/>
                  <a:pt x="196" y="91"/>
                </a:cubicBezTo>
                <a:lnTo>
                  <a:pt x="195" y="91"/>
                </a:lnTo>
                <a:cubicBezTo>
                  <a:pt x="194" y="92"/>
                  <a:pt x="193" y="93"/>
                  <a:pt x="191" y="93"/>
                </a:cubicBezTo>
                <a:cubicBezTo>
                  <a:pt x="190" y="94"/>
                  <a:pt x="188" y="96"/>
                  <a:pt x="185" y="99"/>
                </a:cubicBezTo>
                <a:cubicBezTo>
                  <a:pt x="183" y="103"/>
                  <a:pt x="181" y="104"/>
                  <a:pt x="179" y="105"/>
                </a:cubicBezTo>
                <a:cubicBezTo>
                  <a:pt x="178" y="104"/>
                  <a:pt x="178" y="103"/>
                  <a:pt x="178" y="103"/>
                </a:cubicBezTo>
                <a:cubicBezTo>
                  <a:pt x="178" y="100"/>
                  <a:pt x="179" y="98"/>
                  <a:pt x="181" y="94"/>
                </a:cubicBezTo>
                <a:cubicBezTo>
                  <a:pt x="183" y="90"/>
                  <a:pt x="185" y="88"/>
                  <a:pt x="185" y="88"/>
                </a:cubicBezTo>
                <a:cubicBezTo>
                  <a:pt x="187" y="81"/>
                  <a:pt x="191" y="78"/>
                  <a:pt x="198" y="79"/>
                </a:cubicBezTo>
                <a:cubicBezTo>
                  <a:pt x="200" y="79"/>
                  <a:pt x="202" y="80"/>
                  <a:pt x="204" y="83"/>
                </a:cubicBezTo>
                <a:lnTo>
                  <a:pt x="204" y="84"/>
                </a:lnTo>
                <a:cubicBezTo>
                  <a:pt x="204" y="86"/>
                  <a:pt x="202" y="88"/>
                  <a:pt x="200" y="90"/>
                </a:cubicBezTo>
                <a:lnTo>
                  <a:pt x="200" y="90"/>
                </a:lnTo>
                <a:close/>
                <a:moveTo>
                  <a:pt x="157" y="125"/>
                </a:moveTo>
                <a:lnTo>
                  <a:pt x="157" y="125"/>
                </a:lnTo>
                <a:cubicBezTo>
                  <a:pt x="161" y="123"/>
                  <a:pt x="166" y="123"/>
                  <a:pt x="170" y="123"/>
                </a:cubicBezTo>
                <a:cubicBezTo>
                  <a:pt x="180" y="125"/>
                  <a:pt x="185" y="129"/>
                  <a:pt x="184" y="138"/>
                </a:cubicBezTo>
                <a:cubicBezTo>
                  <a:pt x="184" y="140"/>
                  <a:pt x="183" y="141"/>
                  <a:pt x="182" y="144"/>
                </a:cubicBezTo>
                <a:cubicBezTo>
                  <a:pt x="182" y="144"/>
                  <a:pt x="181" y="144"/>
                  <a:pt x="181" y="144"/>
                </a:cubicBezTo>
                <a:cubicBezTo>
                  <a:pt x="179" y="146"/>
                  <a:pt x="178" y="148"/>
                  <a:pt x="176" y="147"/>
                </a:cubicBezTo>
                <a:cubicBezTo>
                  <a:pt x="176" y="147"/>
                  <a:pt x="175" y="147"/>
                  <a:pt x="173" y="145"/>
                </a:cubicBezTo>
                <a:cubicBezTo>
                  <a:pt x="172" y="145"/>
                  <a:pt x="169" y="142"/>
                  <a:pt x="165" y="134"/>
                </a:cubicBezTo>
                <a:cubicBezTo>
                  <a:pt x="161" y="131"/>
                  <a:pt x="158" y="128"/>
                  <a:pt x="157" y="125"/>
                </a:cubicBezTo>
                <a:lnTo>
                  <a:pt x="157" y="125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8" name="Freeform 455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9 w 1022"/>
              <a:gd name="T3" fmla="*/ 37 h 1697"/>
              <a:gd name="T4" fmla="*/ 922 w 1022"/>
              <a:gd name="T5" fmla="*/ 195 h 1697"/>
              <a:gd name="T6" fmla="*/ 908 w 1022"/>
              <a:gd name="T7" fmla="*/ 183 h 1697"/>
              <a:gd name="T8" fmla="*/ 936 w 1022"/>
              <a:gd name="T9" fmla="*/ 203 h 1697"/>
              <a:gd name="T10" fmla="*/ 843 w 1022"/>
              <a:gd name="T11" fmla="*/ 102 h 1697"/>
              <a:gd name="T12" fmla="*/ 869 w 1022"/>
              <a:gd name="T13" fmla="*/ 82 h 1697"/>
              <a:gd name="T14" fmla="*/ 871 w 1022"/>
              <a:gd name="T15" fmla="*/ 161 h 1697"/>
              <a:gd name="T16" fmla="*/ 896 w 1022"/>
              <a:gd name="T17" fmla="*/ 101 h 1697"/>
              <a:gd name="T18" fmla="*/ 847 w 1022"/>
              <a:gd name="T19" fmla="*/ 104 h 1697"/>
              <a:gd name="T20" fmla="*/ 990 w 1022"/>
              <a:gd name="T21" fmla="*/ 617 h 1697"/>
              <a:gd name="T22" fmla="*/ 980 w 1022"/>
              <a:gd name="T23" fmla="*/ 509 h 1697"/>
              <a:gd name="T24" fmla="*/ 964 w 1022"/>
              <a:gd name="T25" fmla="*/ 340 h 1697"/>
              <a:gd name="T26" fmla="*/ 906 w 1022"/>
              <a:gd name="T27" fmla="*/ 224 h 1697"/>
              <a:gd name="T28" fmla="*/ 836 w 1022"/>
              <a:gd name="T29" fmla="*/ 143 h 1697"/>
              <a:gd name="T30" fmla="*/ 731 w 1022"/>
              <a:gd name="T31" fmla="*/ 166 h 1697"/>
              <a:gd name="T32" fmla="*/ 650 w 1022"/>
              <a:gd name="T33" fmla="*/ 197 h 1697"/>
              <a:gd name="T34" fmla="*/ 624 w 1022"/>
              <a:gd name="T35" fmla="*/ 116 h 1697"/>
              <a:gd name="T36" fmla="*/ 534 w 1022"/>
              <a:gd name="T37" fmla="*/ 92 h 1697"/>
              <a:gd name="T38" fmla="*/ 503 w 1022"/>
              <a:gd name="T39" fmla="*/ 32 h 1697"/>
              <a:gd name="T40" fmla="*/ 387 w 1022"/>
              <a:gd name="T41" fmla="*/ 7 h 1697"/>
              <a:gd name="T42" fmla="*/ 401 w 1022"/>
              <a:gd name="T43" fmla="*/ 112 h 1697"/>
              <a:gd name="T44" fmla="*/ 434 w 1022"/>
              <a:gd name="T45" fmla="*/ 190 h 1697"/>
              <a:gd name="T46" fmla="*/ 446 w 1022"/>
              <a:gd name="T47" fmla="*/ 211 h 1697"/>
              <a:gd name="T48" fmla="*/ 352 w 1022"/>
              <a:gd name="T49" fmla="*/ 240 h 1697"/>
              <a:gd name="T50" fmla="*/ 299 w 1022"/>
              <a:gd name="T51" fmla="*/ 244 h 1697"/>
              <a:gd name="T52" fmla="*/ 219 w 1022"/>
              <a:gd name="T53" fmla="*/ 198 h 1697"/>
              <a:gd name="T54" fmla="*/ 200 w 1022"/>
              <a:gd name="T55" fmla="*/ 273 h 1697"/>
              <a:gd name="T56" fmla="*/ 133 w 1022"/>
              <a:gd name="T57" fmla="*/ 391 h 1697"/>
              <a:gd name="T58" fmla="*/ 131 w 1022"/>
              <a:gd name="T59" fmla="*/ 491 h 1697"/>
              <a:gd name="T60" fmla="*/ 42 w 1022"/>
              <a:gd name="T61" fmla="*/ 541 h 1697"/>
              <a:gd name="T62" fmla="*/ 8 w 1022"/>
              <a:gd name="T63" fmla="*/ 682 h 1697"/>
              <a:gd name="T64" fmla="*/ 29 w 1022"/>
              <a:gd name="T65" fmla="*/ 723 h 1697"/>
              <a:gd name="T66" fmla="*/ 41 w 1022"/>
              <a:gd name="T67" fmla="*/ 751 h 1697"/>
              <a:gd name="T68" fmla="*/ 29 w 1022"/>
              <a:gd name="T69" fmla="*/ 780 h 1697"/>
              <a:gd name="T70" fmla="*/ 5 w 1022"/>
              <a:gd name="T71" fmla="*/ 807 h 1697"/>
              <a:gd name="T72" fmla="*/ 16 w 1022"/>
              <a:gd name="T73" fmla="*/ 851 h 1697"/>
              <a:gd name="T74" fmla="*/ 37 w 1022"/>
              <a:gd name="T75" fmla="*/ 878 h 1697"/>
              <a:gd name="T76" fmla="*/ 19 w 1022"/>
              <a:gd name="T77" fmla="*/ 919 h 1697"/>
              <a:gd name="T78" fmla="*/ 85 w 1022"/>
              <a:gd name="T79" fmla="*/ 997 h 1697"/>
              <a:gd name="T80" fmla="*/ 160 w 1022"/>
              <a:gd name="T81" fmla="*/ 1112 h 1697"/>
              <a:gd name="T82" fmla="*/ 162 w 1022"/>
              <a:gd name="T83" fmla="*/ 1292 h 1697"/>
              <a:gd name="T84" fmla="*/ 251 w 1022"/>
              <a:gd name="T85" fmla="*/ 1279 h 1697"/>
              <a:gd name="T86" fmla="*/ 349 w 1022"/>
              <a:gd name="T87" fmla="*/ 1325 h 1697"/>
              <a:gd name="T88" fmla="*/ 423 w 1022"/>
              <a:gd name="T89" fmla="*/ 1355 h 1697"/>
              <a:gd name="T90" fmla="*/ 493 w 1022"/>
              <a:gd name="T91" fmla="*/ 1330 h 1697"/>
              <a:gd name="T92" fmla="*/ 653 w 1022"/>
              <a:gd name="T93" fmla="*/ 1327 h 1697"/>
              <a:gd name="T94" fmla="*/ 734 w 1022"/>
              <a:gd name="T95" fmla="*/ 1324 h 1697"/>
              <a:gd name="T96" fmla="*/ 761 w 1022"/>
              <a:gd name="T97" fmla="*/ 1290 h 1697"/>
              <a:gd name="T98" fmla="*/ 870 w 1022"/>
              <a:gd name="T99" fmla="*/ 1148 h 1697"/>
              <a:gd name="T100" fmla="*/ 781 w 1022"/>
              <a:gd name="T101" fmla="*/ 1041 h 1697"/>
              <a:gd name="T102" fmla="*/ 703 w 1022"/>
              <a:gd name="T103" fmla="*/ 893 h 1697"/>
              <a:gd name="T104" fmla="*/ 752 w 1022"/>
              <a:gd name="T105" fmla="*/ 833 h 1697"/>
              <a:gd name="T106" fmla="*/ 854 w 1022"/>
              <a:gd name="T107" fmla="*/ 789 h 1697"/>
              <a:gd name="T108" fmla="*/ 942 w 1022"/>
              <a:gd name="T109" fmla="*/ 745 h 1697"/>
              <a:gd name="T110" fmla="*/ 1022 w 1022"/>
              <a:gd name="T111" fmla="*/ 688 h 1697"/>
              <a:gd name="T112" fmla="*/ 941 w 1022"/>
              <a:gd name="T113" fmla="*/ 1560 h 1697"/>
              <a:gd name="T114" fmla="*/ 242 w 1022"/>
              <a:gd name="T115" fmla="*/ 191 h 1697"/>
              <a:gd name="T116" fmla="*/ 268 w 1022"/>
              <a:gd name="T117" fmla="*/ 188 h 1697"/>
              <a:gd name="T118" fmla="*/ 221 w 1022"/>
              <a:gd name="T119" fmla="*/ 189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close/>
              </a:path>
            </a:pathLst>
          </a:custGeom>
          <a:solidFill>
            <a:srgbClr val="DADAF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9" name="Freeform 456"/>
          <p:cNvSpPr>
            <a:spLocks noEditPoints="1"/>
          </p:cNvSpPr>
          <p:nvPr/>
        </p:nvSpPr>
        <p:spPr bwMode="auto">
          <a:xfrm>
            <a:off x="8149359" y="3092057"/>
            <a:ext cx="1069082" cy="1774816"/>
          </a:xfrm>
          <a:custGeom>
            <a:avLst/>
            <a:gdLst>
              <a:gd name="T0" fmla="*/ 784 w 1022"/>
              <a:gd name="T1" fmla="*/ 122 h 1697"/>
              <a:gd name="T2" fmla="*/ 368 w 1022"/>
              <a:gd name="T3" fmla="*/ 24 h 1697"/>
              <a:gd name="T4" fmla="*/ 908 w 1022"/>
              <a:gd name="T5" fmla="*/ 183 h 1697"/>
              <a:gd name="T6" fmla="*/ 915 w 1022"/>
              <a:gd name="T7" fmla="*/ 182 h 1697"/>
              <a:gd name="T8" fmla="*/ 938 w 1022"/>
              <a:gd name="T9" fmla="*/ 226 h 1697"/>
              <a:gd name="T10" fmla="*/ 286 w 1022"/>
              <a:gd name="T11" fmla="*/ 188 h 1697"/>
              <a:gd name="T12" fmla="*/ 836 w 1022"/>
              <a:gd name="T13" fmla="*/ 117 h 1697"/>
              <a:gd name="T14" fmla="*/ 860 w 1022"/>
              <a:gd name="T15" fmla="*/ 101 h 1697"/>
              <a:gd name="T16" fmla="*/ 886 w 1022"/>
              <a:gd name="T17" fmla="*/ 145 h 1697"/>
              <a:gd name="T18" fmla="*/ 881 w 1022"/>
              <a:gd name="T19" fmla="*/ 111 h 1697"/>
              <a:gd name="T20" fmla="*/ 839 w 1022"/>
              <a:gd name="T21" fmla="*/ 1697 h 1697"/>
              <a:gd name="T22" fmla="*/ 977 w 1022"/>
              <a:gd name="T23" fmla="*/ 594 h 1697"/>
              <a:gd name="T24" fmla="*/ 984 w 1022"/>
              <a:gd name="T25" fmla="*/ 466 h 1697"/>
              <a:gd name="T26" fmla="*/ 963 w 1022"/>
              <a:gd name="T27" fmla="*/ 318 h 1697"/>
              <a:gd name="T28" fmla="*/ 914 w 1022"/>
              <a:gd name="T29" fmla="*/ 213 h 1697"/>
              <a:gd name="T30" fmla="*/ 815 w 1022"/>
              <a:gd name="T31" fmla="*/ 128 h 1697"/>
              <a:gd name="T32" fmla="*/ 714 w 1022"/>
              <a:gd name="T33" fmla="*/ 160 h 1697"/>
              <a:gd name="T34" fmla="*/ 628 w 1022"/>
              <a:gd name="T35" fmla="*/ 182 h 1697"/>
              <a:gd name="T36" fmla="*/ 604 w 1022"/>
              <a:gd name="T37" fmla="*/ 120 h 1697"/>
              <a:gd name="T38" fmla="*/ 502 w 1022"/>
              <a:gd name="T39" fmla="*/ 87 h 1697"/>
              <a:gd name="T40" fmla="*/ 470 w 1022"/>
              <a:gd name="T41" fmla="*/ 22 h 1697"/>
              <a:gd name="T42" fmla="*/ 401 w 1022"/>
              <a:gd name="T43" fmla="*/ 52 h 1697"/>
              <a:gd name="T44" fmla="*/ 393 w 1022"/>
              <a:gd name="T45" fmla="*/ 136 h 1697"/>
              <a:gd name="T46" fmla="*/ 447 w 1022"/>
              <a:gd name="T47" fmla="*/ 210 h 1697"/>
              <a:gd name="T48" fmla="*/ 432 w 1022"/>
              <a:gd name="T49" fmla="*/ 192 h 1697"/>
              <a:gd name="T50" fmla="*/ 344 w 1022"/>
              <a:gd name="T51" fmla="*/ 249 h 1697"/>
              <a:gd name="T52" fmla="*/ 308 w 1022"/>
              <a:gd name="T53" fmla="*/ 233 h 1697"/>
              <a:gd name="T54" fmla="*/ 200 w 1022"/>
              <a:gd name="T55" fmla="*/ 215 h 1697"/>
              <a:gd name="T56" fmla="*/ 195 w 1022"/>
              <a:gd name="T57" fmla="*/ 295 h 1697"/>
              <a:gd name="T58" fmla="*/ 147 w 1022"/>
              <a:gd name="T59" fmla="*/ 411 h 1697"/>
              <a:gd name="T60" fmla="*/ 91 w 1022"/>
              <a:gd name="T61" fmla="*/ 506 h 1697"/>
              <a:gd name="T62" fmla="*/ 48 w 1022"/>
              <a:gd name="T63" fmla="*/ 582 h 1697"/>
              <a:gd name="T64" fmla="*/ 11 w 1022"/>
              <a:gd name="T65" fmla="*/ 698 h 1697"/>
              <a:gd name="T66" fmla="*/ 30 w 1022"/>
              <a:gd name="T67" fmla="*/ 727 h 1697"/>
              <a:gd name="T68" fmla="*/ 42 w 1022"/>
              <a:gd name="T69" fmla="*/ 755 h 1697"/>
              <a:gd name="T70" fmla="*/ 21 w 1022"/>
              <a:gd name="T71" fmla="*/ 785 h 1697"/>
              <a:gd name="T72" fmla="*/ 3 w 1022"/>
              <a:gd name="T73" fmla="*/ 821 h 1697"/>
              <a:gd name="T74" fmla="*/ 18 w 1022"/>
              <a:gd name="T75" fmla="*/ 856 h 1697"/>
              <a:gd name="T76" fmla="*/ 35 w 1022"/>
              <a:gd name="T77" fmla="*/ 887 h 1697"/>
              <a:gd name="T78" fmla="*/ 18 w 1022"/>
              <a:gd name="T79" fmla="*/ 924 h 1697"/>
              <a:gd name="T80" fmla="*/ 110 w 1022"/>
              <a:gd name="T81" fmla="*/ 1003 h 1697"/>
              <a:gd name="T82" fmla="*/ 117 w 1022"/>
              <a:gd name="T83" fmla="*/ 1197 h 1697"/>
              <a:gd name="T84" fmla="*/ 199 w 1022"/>
              <a:gd name="T85" fmla="*/ 1288 h 1697"/>
              <a:gd name="T86" fmla="*/ 265 w 1022"/>
              <a:gd name="T87" fmla="*/ 1279 h 1697"/>
              <a:gd name="T88" fmla="*/ 369 w 1022"/>
              <a:gd name="T89" fmla="*/ 1313 h 1697"/>
              <a:gd name="T90" fmla="*/ 418 w 1022"/>
              <a:gd name="T91" fmla="*/ 1368 h 1697"/>
              <a:gd name="T92" fmla="*/ 540 w 1022"/>
              <a:gd name="T93" fmla="*/ 1353 h 1697"/>
              <a:gd name="T94" fmla="*/ 665 w 1022"/>
              <a:gd name="T95" fmla="*/ 1317 h 1697"/>
              <a:gd name="T96" fmla="*/ 735 w 1022"/>
              <a:gd name="T97" fmla="*/ 1337 h 1697"/>
              <a:gd name="T98" fmla="*/ 745 w 1022"/>
              <a:gd name="T99" fmla="*/ 1237 h 1697"/>
              <a:gd name="T100" fmla="*/ 868 w 1022"/>
              <a:gd name="T101" fmla="*/ 1127 h 1697"/>
              <a:gd name="T102" fmla="*/ 773 w 1022"/>
              <a:gd name="T103" fmla="*/ 1028 h 1697"/>
              <a:gd name="T104" fmla="*/ 686 w 1022"/>
              <a:gd name="T105" fmla="*/ 857 h 1697"/>
              <a:gd name="T106" fmla="*/ 777 w 1022"/>
              <a:gd name="T107" fmla="*/ 836 h 1697"/>
              <a:gd name="T108" fmla="*/ 881 w 1022"/>
              <a:gd name="T109" fmla="*/ 786 h 1697"/>
              <a:gd name="T110" fmla="*/ 952 w 1022"/>
              <a:gd name="T111" fmla="*/ 733 h 1697"/>
              <a:gd name="T112" fmla="*/ 400 w 1022"/>
              <a:gd name="T113" fmla="*/ 81 h 1697"/>
              <a:gd name="T114" fmla="*/ 941 w 1022"/>
              <a:gd name="T115" fmla="*/ 1561 h 1697"/>
              <a:gd name="T116" fmla="*/ 158 w 1022"/>
              <a:gd name="T117" fmla="*/ 212 h 1697"/>
              <a:gd name="T118" fmla="*/ 181 w 1022"/>
              <a:gd name="T119" fmla="*/ 196 h 1697"/>
              <a:gd name="T120" fmla="*/ 242 w 1022"/>
              <a:gd name="T121" fmla="*/ 191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2" h="1697">
                <a:moveTo>
                  <a:pt x="627" y="110"/>
                </a:moveTo>
                <a:lnTo>
                  <a:pt x="627" y="110"/>
                </a:lnTo>
                <a:cubicBezTo>
                  <a:pt x="629" y="112"/>
                  <a:pt x="633" y="112"/>
                  <a:pt x="640" y="113"/>
                </a:cubicBezTo>
                <a:cubicBezTo>
                  <a:pt x="646" y="114"/>
                  <a:pt x="651" y="114"/>
                  <a:pt x="653" y="114"/>
                </a:cubicBezTo>
                <a:cubicBezTo>
                  <a:pt x="650" y="108"/>
                  <a:pt x="648" y="103"/>
                  <a:pt x="646" y="100"/>
                </a:cubicBezTo>
                <a:cubicBezTo>
                  <a:pt x="643" y="94"/>
                  <a:pt x="639" y="91"/>
                  <a:pt x="635" y="90"/>
                </a:cubicBezTo>
                <a:cubicBezTo>
                  <a:pt x="634" y="90"/>
                  <a:pt x="632" y="91"/>
                  <a:pt x="629" y="92"/>
                </a:cubicBezTo>
                <a:cubicBezTo>
                  <a:pt x="629" y="92"/>
                  <a:pt x="628" y="92"/>
                  <a:pt x="627" y="92"/>
                </a:cubicBezTo>
                <a:cubicBezTo>
                  <a:pt x="627" y="92"/>
                  <a:pt x="627" y="92"/>
                  <a:pt x="627" y="92"/>
                </a:cubicBezTo>
                <a:cubicBezTo>
                  <a:pt x="626" y="92"/>
                  <a:pt x="625" y="92"/>
                  <a:pt x="625" y="93"/>
                </a:cubicBezTo>
                <a:cubicBezTo>
                  <a:pt x="623" y="93"/>
                  <a:pt x="622" y="95"/>
                  <a:pt x="622" y="99"/>
                </a:cubicBezTo>
                <a:cubicBezTo>
                  <a:pt x="621" y="104"/>
                  <a:pt x="623" y="108"/>
                  <a:pt x="627" y="110"/>
                </a:cubicBezTo>
                <a:lnTo>
                  <a:pt x="627" y="110"/>
                </a:lnTo>
                <a:close/>
                <a:moveTo>
                  <a:pt x="784" y="122"/>
                </a:moveTo>
                <a:lnTo>
                  <a:pt x="784" y="122"/>
                </a:lnTo>
                <a:cubicBezTo>
                  <a:pt x="786" y="122"/>
                  <a:pt x="788" y="121"/>
                  <a:pt x="791" y="121"/>
                </a:cubicBezTo>
                <a:cubicBezTo>
                  <a:pt x="796" y="121"/>
                  <a:pt x="803" y="120"/>
                  <a:pt x="813" y="120"/>
                </a:cubicBezTo>
                <a:cubicBezTo>
                  <a:pt x="798" y="116"/>
                  <a:pt x="786" y="113"/>
                  <a:pt x="778" y="112"/>
                </a:cubicBezTo>
                <a:cubicBezTo>
                  <a:pt x="777" y="112"/>
                  <a:pt x="775" y="115"/>
                  <a:pt x="771" y="122"/>
                </a:cubicBezTo>
                <a:cubicBezTo>
                  <a:pt x="769" y="125"/>
                  <a:pt x="767" y="130"/>
                  <a:pt x="764" y="135"/>
                </a:cubicBezTo>
                <a:lnTo>
                  <a:pt x="763" y="135"/>
                </a:lnTo>
                <a:cubicBezTo>
                  <a:pt x="764" y="135"/>
                  <a:pt x="764" y="135"/>
                  <a:pt x="764" y="135"/>
                </a:cubicBezTo>
                <a:cubicBezTo>
                  <a:pt x="767" y="128"/>
                  <a:pt x="774" y="124"/>
                  <a:pt x="784" y="122"/>
                </a:cubicBezTo>
                <a:lnTo>
                  <a:pt x="784" y="122"/>
                </a:lnTo>
                <a:close/>
                <a:moveTo>
                  <a:pt x="376" y="35"/>
                </a:moveTo>
                <a:lnTo>
                  <a:pt x="376" y="35"/>
                </a:lnTo>
                <a:cubicBezTo>
                  <a:pt x="374" y="33"/>
                  <a:pt x="373" y="30"/>
                  <a:pt x="373" y="25"/>
                </a:cubicBezTo>
                <a:cubicBezTo>
                  <a:pt x="372" y="24"/>
                  <a:pt x="371" y="24"/>
                  <a:pt x="368" y="24"/>
                </a:cubicBezTo>
                <a:cubicBezTo>
                  <a:pt x="363" y="23"/>
                  <a:pt x="359" y="26"/>
                  <a:pt x="357" y="34"/>
                </a:cubicBezTo>
                <a:cubicBezTo>
                  <a:pt x="359" y="34"/>
                  <a:pt x="363" y="35"/>
                  <a:pt x="369" y="37"/>
                </a:cubicBezTo>
                <a:cubicBezTo>
                  <a:pt x="374" y="37"/>
                  <a:pt x="376" y="37"/>
                  <a:pt x="376" y="35"/>
                </a:cubicBezTo>
                <a:lnTo>
                  <a:pt x="376" y="35"/>
                </a:lnTo>
                <a:close/>
                <a:moveTo>
                  <a:pt x="351" y="47"/>
                </a:moveTo>
                <a:lnTo>
                  <a:pt x="351" y="47"/>
                </a:lnTo>
                <a:lnTo>
                  <a:pt x="352" y="41"/>
                </a:lnTo>
                <a:cubicBezTo>
                  <a:pt x="352" y="39"/>
                  <a:pt x="352" y="37"/>
                  <a:pt x="352" y="35"/>
                </a:cubicBezTo>
                <a:cubicBezTo>
                  <a:pt x="351" y="35"/>
                  <a:pt x="351" y="34"/>
                  <a:pt x="351" y="34"/>
                </a:cubicBezTo>
                <a:cubicBezTo>
                  <a:pt x="348" y="36"/>
                  <a:pt x="346" y="37"/>
                  <a:pt x="346" y="38"/>
                </a:cubicBezTo>
                <a:cubicBezTo>
                  <a:pt x="346" y="42"/>
                  <a:pt x="348" y="45"/>
                  <a:pt x="351" y="47"/>
                </a:cubicBezTo>
                <a:lnTo>
                  <a:pt x="351" y="47"/>
                </a:lnTo>
                <a:close/>
                <a:moveTo>
                  <a:pt x="908" y="183"/>
                </a:moveTo>
                <a:lnTo>
                  <a:pt x="908" y="183"/>
                </a:lnTo>
                <a:cubicBezTo>
                  <a:pt x="911" y="185"/>
                  <a:pt x="913" y="191"/>
                  <a:pt x="915" y="199"/>
                </a:cubicBezTo>
                <a:lnTo>
                  <a:pt x="916" y="200"/>
                </a:lnTo>
                <a:cubicBezTo>
                  <a:pt x="917" y="197"/>
                  <a:pt x="918" y="195"/>
                  <a:pt x="918" y="195"/>
                </a:cubicBezTo>
                <a:cubicBezTo>
                  <a:pt x="918" y="195"/>
                  <a:pt x="919" y="195"/>
                  <a:pt x="922" y="195"/>
                </a:cubicBezTo>
                <a:cubicBezTo>
                  <a:pt x="928" y="196"/>
                  <a:pt x="933" y="198"/>
                  <a:pt x="936" y="201"/>
                </a:cubicBezTo>
                <a:cubicBezTo>
                  <a:pt x="936" y="201"/>
                  <a:pt x="936" y="201"/>
                  <a:pt x="936" y="201"/>
                </a:cubicBezTo>
                <a:lnTo>
                  <a:pt x="937" y="201"/>
                </a:lnTo>
                <a:cubicBezTo>
                  <a:pt x="937" y="201"/>
                  <a:pt x="937" y="201"/>
                  <a:pt x="937" y="202"/>
                </a:cubicBezTo>
                <a:lnTo>
                  <a:pt x="937" y="202"/>
                </a:lnTo>
                <a:cubicBezTo>
                  <a:pt x="937" y="202"/>
                  <a:pt x="937" y="202"/>
                  <a:pt x="937" y="202"/>
                </a:cubicBezTo>
                <a:cubicBezTo>
                  <a:pt x="937" y="202"/>
                  <a:pt x="937" y="202"/>
                  <a:pt x="937" y="202"/>
                </a:cubicBezTo>
                <a:cubicBezTo>
                  <a:pt x="936" y="199"/>
                  <a:pt x="934" y="197"/>
                  <a:pt x="931" y="195"/>
                </a:cubicBezTo>
                <a:cubicBezTo>
                  <a:pt x="927" y="193"/>
                  <a:pt x="924" y="191"/>
                  <a:pt x="922" y="189"/>
                </a:cubicBezTo>
                <a:cubicBezTo>
                  <a:pt x="919" y="186"/>
                  <a:pt x="917" y="184"/>
                  <a:pt x="915" y="182"/>
                </a:cubicBezTo>
                <a:cubicBezTo>
                  <a:pt x="912" y="179"/>
                  <a:pt x="910" y="178"/>
                  <a:pt x="908" y="178"/>
                </a:cubicBezTo>
                <a:cubicBezTo>
                  <a:pt x="908" y="178"/>
                  <a:pt x="908" y="178"/>
                  <a:pt x="908" y="179"/>
                </a:cubicBezTo>
                <a:lnTo>
                  <a:pt x="908" y="179"/>
                </a:lnTo>
                <a:lnTo>
                  <a:pt x="908" y="183"/>
                </a:lnTo>
                <a:lnTo>
                  <a:pt x="908" y="183"/>
                </a:lnTo>
                <a:close/>
                <a:moveTo>
                  <a:pt x="935" y="202"/>
                </a:moveTo>
                <a:lnTo>
                  <a:pt x="935" y="202"/>
                </a:lnTo>
                <a:cubicBezTo>
                  <a:pt x="932" y="206"/>
                  <a:pt x="930" y="209"/>
                  <a:pt x="931" y="213"/>
                </a:cubicBezTo>
                <a:cubicBezTo>
                  <a:pt x="927" y="213"/>
                  <a:pt x="924" y="213"/>
                  <a:pt x="922" y="212"/>
                </a:cubicBezTo>
                <a:cubicBezTo>
                  <a:pt x="922" y="213"/>
                  <a:pt x="922" y="215"/>
                  <a:pt x="922" y="217"/>
                </a:cubicBezTo>
                <a:cubicBezTo>
                  <a:pt x="922" y="219"/>
                  <a:pt x="921" y="221"/>
                  <a:pt x="918" y="223"/>
                </a:cubicBezTo>
                <a:cubicBezTo>
                  <a:pt x="913" y="225"/>
                  <a:pt x="911" y="226"/>
                  <a:pt x="911" y="226"/>
                </a:cubicBezTo>
                <a:cubicBezTo>
                  <a:pt x="913" y="228"/>
                  <a:pt x="916" y="230"/>
                  <a:pt x="919" y="230"/>
                </a:cubicBezTo>
                <a:cubicBezTo>
                  <a:pt x="923" y="230"/>
                  <a:pt x="929" y="229"/>
                  <a:pt x="938" y="226"/>
                </a:cubicBezTo>
                <a:cubicBezTo>
                  <a:pt x="942" y="226"/>
                  <a:pt x="945" y="228"/>
                  <a:pt x="949" y="230"/>
                </a:cubicBezTo>
                <a:cubicBezTo>
                  <a:pt x="948" y="227"/>
                  <a:pt x="947" y="224"/>
                  <a:pt x="947" y="222"/>
                </a:cubicBezTo>
                <a:lnTo>
                  <a:pt x="948" y="216"/>
                </a:lnTo>
                <a:cubicBezTo>
                  <a:pt x="946" y="215"/>
                  <a:pt x="944" y="214"/>
                  <a:pt x="943" y="213"/>
                </a:cubicBezTo>
                <a:cubicBezTo>
                  <a:pt x="943" y="213"/>
                  <a:pt x="940" y="209"/>
                  <a:pt x="936" y="203"/>
                </a:cubicBezTo>
                <a:cubicBezTo>
                  <a:pt x="935" y="203"/>
                  <a:pt x="935" y="203"/>
                  <a:pt x="935" y="202"/>
                </a:cubicBezTo>
                <a:lnTo>
                  <a:pt x="935" y="202"/>
                </a:lnTo>
                <a:close/>
                <a:moveTo>
                  <a:pt x="293" y="192"/>
                </a:moveTo>
                <a:lnTo>
                  <a:pt x="293" y="192"/>
                </a:lnTo>
                <a:lnTo>
                  <a:pt x="294" y="192"/>
                </a:lnTo>
                <a:cubicBezTo>
                  <a:pt x="292" y="189"/>
                  <a:pt x="289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85" y="189"/>
                  <a:pt x="286" y="190"/>
                  <a:pt x="287" y="192"/>
                </a:cubicBezTo>
                <a:lnTo>
                  <a:pt x="293" y="192"/>
                </a:lnTo>
                <a:lnTo>
                  <a:pt x="293" y="192"/>
                </a:lnTo>
                <a:close/>
                <a:moveTo>
                  <a:pt x="836" y="117"/>
                </a:moveTo>
                <a:lnTo>
                  <a:pt x="836" y="117"/>
                </a:lnTo>
                <a:cubicBezTo>
                  <a:pt x="837" y="116"/>
                  <a:pt x="839" y="113"/>
                  <a:pt x="840" y="109"/>
                </a:cubicBezTo>
                <a:cubicBezTo>
                  <a:pt x="841" y="106"/>
                  <a:pt x="842" y="104"/>
                  <a:pt x="843" y="102"/>
                </a:cubicBezTo>
                <a:cubicBezTo>
                  <a:pt x="843" y="102"/>
                  <a:pt x="843" y="102"/>
                  <a:pt x="843" y="102"/>
                </a:cubicBezTo>
                <a:cubicBezTo>
                  <a:pt x="843" y="101"/>
                  <a:pt x="844" y="100"/>
                  <a:pt x="844" y="100"/>
                </a:cubicBezTo>
                <a:cubicBezTo>
                  <a:pt x="843" y="100"/>
                  <a:pt x="842" y="99"/>
                  <a:pt x="842" y="98"/>
                </a:cubicBezTo>
                <a:cubicBezTo>
                  <a:pt x="842" y="97"/>
                  <a:pt x="841" y="96"/>
                  <a:pt x="841" y="95"/>
                </a:cubicBezTo>
                <a:cubicBezTo>
                  <a:pt x="838" y="96"/>
                  <a:pt x="836" y="102"/>
                  <a:pt x="835" y="112"/>
                </a:cubicBezTo>
                <a:cubicBezTo>
                  <a:pt x="835" y="114"/>
                  <a:pt x="835" y="115"/>
                  <a:pt x="835" y="116"/>
                </a:cubicBezTo>
                <a:lnTo>
                  <a:pt x="836" y="117"/>
                </a:lnTo>
                <a:lnTo>
                  <a:pt x="836" y="117"/>
                </a:lnTo>
                <a:close/>
                <a:moveTo>
                  <a:pt x="860" y="101"/>
                </a:moveTo>
                <a:lnTo>
                  <a:pt x="860" y="101"/>
                </a:lnTo>
                <a:lnTo>
                  <a:pt x="861" y="101"/>
                </a:lnTo>
                <a:cubicBezTo>
                  <a:pt x="861" y="99"/>
                  <a:pt x="863" y="97"/>
                  <a:pt x="865" y="95"/>
                </a:cubicBezTo>
                <a:cubicBezTo>
                  <a:pt x="868" y="94"/>
                  <a:pt x="869" y="93"/>
                  <a:pt x="869" y="93"/>
                </a:cubicBezTo>
                <a:cubicBezTo>
                  <a:pt x="869" y="89"/>
                  <a:pt x="869" y="86"/>
                  <a:pt x="870" y="84"/>
                </a:cubicBezTo>
                <a:lnTo>
                  <a:pt x="869" y="82"/>
                </a:lnTo>
                <a:cubicBezTo>
                  <a:pt x="868" y="81"/>
                  <a:pt x="867" y="81"/>
                  <a:pt x="865" y="81"/>
                </a:cubicBezTo>
                <a:cubicBezTo>
                  <a:pt x="864" y="80"/>
                  <a:pt x="862" y="81"/>
                  <a:pt x="859" y="83"/>
                </a:cubicBezTo>
                <a:cubicBezTo>
                  <a:pt x="855" y="85"/>
                  <a:pt x="853" y="87"/>
                  <a:pt x="853" y="87"/>
                </a:cubicBezTo>
                <a:cubicBezTo>
                  <a:pt x="853" y="89"/>
                  <a:pt x="854" y="92"/>
                  <a:pt x="856" y="94"/>
                </a:cubicBezTo>
                <a:cubicBezTo>
                  <a:pt x="858" y="96"/>
                  <a:pt x="860" y="99"/>
                  <a:pt x="860" y="101"/>
                </a:cubicBezTo>
                <a:lnTo>
                  <a:pt x="860" y="101"/>
                </a:lnTo>
                <a:close/>
                <a:moveTo>
                  <a:pt x="851" y="112"/>
                </a:moveTo>
                <a:lnTo>
                  <a:pt x="851" y="112"/>
                </a:lnTo>
                <a:cubicBezTo>
                  <a:pt x="852" y="113"/>
                  <a:pt x="851" y="116"/>
                  <a:pt x="851" y="121"/>
                </a:cubicBezTo>
                <a:cubicBezTo>
                  <a:pt x="850" y="126"/>
                  <a:pt x="849" y="131"/>
                  <a:pt x="847" y="134"/>
                </a:cubicBezTo>
                <a:cubicBezTo>
                  <a:pt x="845" y="136"/>
                  <a:pt x="844" y="138"/>
                  <a:pt x="844" y="140"/>
                </a:cubicBezTo>
                <a:cubicBezTo>
                  <a:pt x="843" y="145"/>
                  <a:pt x="845" y="149"/>
                  <a:pt x="851" y="154"/>
                </a:cubicBezTo>
                <a:lnTo>
                  <a:pt x="851" y="154"/>
                </a:lnTo>
                <a:cubicBezTo>
                  <a:pt x="856" y="158"/>
                  <a:pt x="861" y="160"/>
                  <a:pt x="867" y="161"/>
                </a:cubicBezTo>
                <a:cubicBezTo>
                  <a:pt x="868" y="161"/>
                  <a:pt x="869" y="161"/>
                  <a:pt x="871" y="161"/>
                </a:cubicBezTo>
                <a:cubicBezTo>
                  <a:pt x="872" y="161"/>
                  <a:pt x="872" y="160"/>
                  <a:pt x="872" y="159"/>
                </a:cubicBezTo>
                <a:cubicBezTo>
                  <a:pt x="872" y="154"/>
                  <a:pt x="871" y="151"/>
                  <a:pt x="871" y="149"/>
                </a:cubicBezTo>
                <a:cubicBezTo>
                  <a:pt x="872" y="147"/>
                  <a:pt x="873" y="146"/>
                  <a:pt x="876" y="144"/>
                </a:cubicBezTo>
                <a:cubicBezTo>
                  <a:pt x="879" y="142"/>
                  <a:pt x="881" y="141"/>
                  <a:pt x="882" y="141"/>
                </a:cubicBezTo>
                <a:cubicBezTo>
                  <a:pt x="884" y="141"/>
                  <a:pt x="885" y="143"/>
                  <a:pt x="886" y="145"/>
                </a:cubicBezTo>
                <a:cubicBezTo>
                  <a:pt x="887" y="147"/>
                  <a:pt x="889" y="148"/>
                  <a:pt x="893" y="148"/>
                </a:cubicBezTo>
                <a:cubicBezTo>
                  <a:pt x="895" y="148"/>
                  <a:pt x="898" y="148"/>
                  <a:pt x="902" y="146"/>
                </a:cubicBezTo>
                <a:cubicBezTo>
                  <a:pt x="905" y="144"/>
                  <a:pt x="906" y="143"/>
                  <a:pt x="904" y="143"/>
                </a:cubicBezTo>
                <a:lnTo>
                  <a:pt x="904" y="142"/>
                </a:lnTo>
                <a:cubicBezTo>
                  <a:pt x="905" y="138"/>
                  <a:pt x="902" y="134"/>
                  <a:pt x="897" y="130"/>
                </a:cubicBezTo>
                <a:cubicBezTo>
                  <a:pt x="890" y="126"/>
                  <a:pt x="888" y="122"/>
                  <a:pt x="888" y="120"/>
                </a:cubicBezTo>
                <a:cubicBezTo>
                  <a:pt x="888" y="116"/>
                  <a:pt x="890" y="114"/>
                  <a:pt x="893" y="113"/>
                </a:cubicBezTo>
                <a:cubicBezTo>
                  <a:pt x="896" y="112"/>
                  <a:pt x="898" y="110"/>
                  <a:pt x="898" y="108"/>
                </a:cubicBezTo>
                <a:cubicBezTo>
                  <a:pt x="898" y="106"/>
                  <a:pt x="898" y="104"/>
                  <a:pt x="896" y="101"/>
                </a:cubicBezTo>
                <a:cubicBezTo>
                  <a:pt x="895" y="99"/>
                  <a:pt x="893" y="97"/>
                  <a:pt x="891" y="97"/>
                </a:cubicBezTo>
                <a:cubicBezTo>
                  <a:pt x="888" y="97"/>
                  <a:pt x="886" y="97"/>
                  <a:pt x="884" y="98"/>
                </a:cubicBezTo>
                <a:cubicBezTo>
                  <a:pt x="882" y="98"/>
                  <a:pt x="879" y="99"/>
                  <a:pt x="876" y="98"/>
                </a:cubicBezTo>
                <a:cubicBezTo>
                  <a:pt x="875" y="100"/>
                  <a:pt x="876" y="102"/>
                  <a:pt x="878" y="105"/>
                </a:cubicBezTo>
                <a:cubicBezTo>
                  <a:pt x="881" y="107"/>
                  <a:pt x="882" y="109"/>
                  <a:pt x="881" y="111"/>
                </a:cubicBezTo>
                <a:cubicBezTo>
                  <a:pt x="881" y="115"/>
                  <a:pt x="880" y="117"/>
                  <a:pt x="877" y="117"/>
                </a:cubicBezTo>
                <a:cubicBezTo>
                  <a:pt x="876" y="117"/>
                  <a:pt x="874" y="115"/>
                  <a:pt x="871" y="110"/>
                </a:cubicBezTo>
                <a:cubicBezTo>
                  <a:pt x="869" y="107"/>
                  <a:pt x="867" y="104"/>
                  <a:pt x="867" y="103"/>
                </a:cubicBezTo>
                <a:cubicBezTo>
                  <a:pt x="865" y="103"/>
                  <a:pt x="864" y="104"/>
                  <a:pt x="863" y="105"/>
                </a:cubicBezTo>
                <a:cubicBezTo>
                  <a:pt x="862" y="105"/>
                  <a:pt x="862" y="107"/>
                  <a:pt x="862" y="108"/>
                </a:cubicBezTo>
                <a:cubicBezTo>
                  <a:pt x="861" y="109"/>
                  <a:pt x="860" y="109"/>
                  <a:pt x="859" y="109"/>
                </a:cubicBezTo>
                <a:cubicBezTo>
                  <a:pt x="855" y="105"/>
                  <a:pt x="852" y="102"/>
                  <a:pt x="849" y="102"/>
                </a:cubicBezTo>
                <a:cubicBezTo>
                  <a:pt x="848" y="102"/>
                  <a:pt x="847" y="102"/>
                  <a:pt x="846" y="104"/>
                </a:cubicBezTo>
                <a:cubicBezTo>
                  <a:pt x="846" y="104"/>
                  <a:pt x="846" y="104"/>
                  <a:pt x="847" y="104"/>
                </a:cubicBezTo>
                <a:cubicBezTo>
                  <a:pt x="849" y="107"/>
                  <a:pt x="851" y="110"/>
                  <a:pt x="851" y="112"/>
                </a:cubicBezTo>
                <a:lnTo>
                  <a:pt x="851" y="112"/>
                </a:lnTo>
                <a:close/>
                <a:moveTo>
                  <a:pt x="839" y="1697"/>
                </a:moveTo>
                <a:lnTo>
                  <a:pt x="839" y="1697"/>
                </a:lnTo>
                <a:lnTo>
                  <a:pt x="839" y="1697"/>
                </a:lnTo>
                <a:cubicBezTo>
                  <a:pt x="839" y="1697"/>
                  <a:pt x="839" y="1696"/>
                  <a:pt x="839" y="1696"/>
                </a:cubicBezTo>
                <a:cubicBezTo>
                  <a:pt x="838" y="1697"/>
                  <a:pt x="839" y="1697"/>
                  <a:pt x="839" y="1697"/>
                </a:cubicBezTo>
                <a:lnTo>
                  <a:pt x="839" y="1697"/>
                </a:lnTo>
                <a:close/>
                <a:moveTo>
                  <a:pt x="1015" y="673"/>
                </a:moveTo>
                <a:lnTo>
                  <a:pt x="1015" y="673"/>
                </a:lnTo>
                <a:cubicBezTo>
                  <a:pt x="1015" y="666"/>
                  <a:pt x="1015" y="661"/>
                  <a:pt x="1014" y="658"/>
                </a:cubicBezTo>
                <a:cubicBezTo>
                  <a:pt x="1008" y="655"/>
                  <a:pt x="1003" y="654"/>
                  <a:pt x="1000" y="652"/>
                </a:cubicBezTo>
                <a:cubicBezTo>
                  <a:pt x="994" y="650"/>
                  <a:pt x="992" y="647"/>
                  <a:pt x="992" y="643"/>
                </a:cubicBezTo>
                <a:cubicBezTo>
                  <a:pt x="992" y="639"/>
                  <a:pt x="991" y="637"/>
                  <a:pt x="992" y="635"/>
                </a:cubicBezTo>
                <a:cubicBezTo>
                  <a:pt x="993" y="630"/>
                  <a:pt x="994" y="626"/>
                  <a:pt x="994" y="625"/>
                </a:cubicBezTo>
                <a:cubicBezTo>
                  <a:pt x="994" y="621"/>
                  <a:pt x="993" y="618"/>
                  <a:pt x="990" y="617"/>
                </a:cubicBezTo>
                <a:cubicBezTo>
                  <a:pt x="986" y="616"/>
                  <a:pt x="985" y="613"/>
                  <a:pt x="985" y="609"/>
                </a:cubicBezTo>
                <a:cubicBezTo>
                  <a:pt x="985" y="607"/>
                  <a:pt x="984" y="604"/>
                  <a:pt x="981" y="600"/>
                </a:cubicBezTo>
                <a:cubicBezTo>
                  <a:pt x="979" y="596"/>
                  <a:pt x="977" y="594"/>
                  <a:pt x="977" y="594"/>
                </a:cubicBezTo>
                <a:cubicBezTo>
                  <a:pt x="977" y="594"/>
                  <a:pt x="979" y="592"/>
                  <a:pt x="983" y="590"/>
                </a:cubicBezTo>
                <a:cubicBezTo>
                  <a:pt x="986" y="588"/>
                  <a:pt x="988" y="585"/>
                  <a:pt x="988" y="580"/>
                </a:cubicBezTo>
                <a:cubicBezTo>
                  <a:pt x="987" y="573"/>
                  <a:pt x="986" y="570"/>
                  <a:pt x="986" y="569"/>
                </a:cubicBezTo>
                <a:cubicBezTo>
                  <a:pt x="987" y="563"/>
                  <a:pt x="988" y="559"/>
                  <a:pt x="991" y="557"/>
                </a:cubicBezTo>
                <a:cubicBezTo>
                  <a:pt x="993" y="556"/>
                  <a:pt x="993" y="554"/>
                  <a:pt x="994" y="551"/>
                </a:cubicBezTo>
                <a:cubicBezTo>
                  <a:pt x="994" y="550"/>
                  <a:pt x="994" y="550"/>
                  <a:pt x="995" y="549"/>
                </a:cubicBezTo>
                <a:cubicBezTo>
                  <a:pt x="993" y="548"/>
                  <a:pt x="992" y="547"/>
                  <a:pt x="991" y="544"/>
                </a:cubicBezTo>
                <a:cubicBezTo>
                  <a:pt x="989" y="540"/>
                  <a:pt x="989" y="537"/>
                  <a:pt x="989" y="533"/>
                </a:cubicBezTo>
                <a:cubicBezTo>
                  <a:pt x="990" y="529"/>
                  <a:pt x="991" y="525"/>
                  <a:pt x="991" y="524"/>
                </a:cubicBezTo>
                <a:cubicBezTo>
                  <a:pt x="992" y="519"/>
                  <a:pt x="991" y="517"/>
                  <a:pt x="989" y="516"/>
                </a:cubicBezTo>
                <a:cubicBezTo>
                  <a:pt x="985" y="516"/>
                  <a:pt x="982" y="513"/>
                  <a:pt x="980" y="509"/>
                </a:cubicBezTo>
                <a:cubicBezTo>
                  <a:pt x="975" y="500"/>
                  <a:pt x="972" y="494"/>
                  <a:pt x="972" y="490"/>
                </a:cubicBezTo>
                <a:cubicBezTo>
                  <a:pt x="973" y="488"/>
                  <a:pt x="974" y="486"/>
                  <a:pt x="978" y="481"/>
                </a:cubicBezTo>
                <a:cubicBezTo>
                  <a:pt x="981" y="478"/>
                  <a:pt x="983" y="473"/>
                  <a:pt x="984" y="466"/>
                </a:cubicBezTo>
                <a:cubicBezTo>
                  <a:pt x="984" y="459"/>
                  <a:pt x="984" y="456"/>
                  <a:pt x="984" y="455"/>
                </a:cubicBezTo>
                <a:cubicBezTo>
                  <a:pt x="982" y="454"/>
                  <a:pt x="978" y="451"/>
                  <a:pt x="974" y="446"/>
                </a:cubicBezTo>
                <a:cubicBezTo>
                  <a:pt x="967" y="440"/>
                  <a:pt x="962" y="434"/>
                  <a:pt x="959" y="431"/>
                </a:cubicBezTo>
                <a:cubicBezTo>
                  <a:pt x="956" y="427"/>
                  <a:pt x="953" y="424"/>
                  <a:pt x="949" y="421"/>
                </a:cubicBezTo>
                <a:cubicBezTo>
                  <a:pt x="945" y="419"/>
                  <a:pt x="942" y="417"/>
                  <a:pt x="941" y="416"/>
                </a:cubicBezTo>
                <a:cubicBezTo>
                  <a:pt x="936" y="412"/>
                  <a:pt x="934" y="405"/>
                  <a:pt x="935" y="396"/>
                </a:cubicBezTo>
                <a:cubicBezTo>
                  <a:pt x="936" y="392"/>
                  <a:pt x="940" y="386"/>
                  <a:pt x="949" y="380"/>
                </a:cubicBezTo>
                <a:cubicBezTo>
                  <a:pt x="958" y="374"/>
                  <a:pt x="962" y="367"/>
                  <a:pt x="963" y="361"/>
                </a:cubicBezTo>
                <a:cubicBezTo>
                  <a:pt x="963" y="359"/>
                  <a:pt x="963" y="357"/>
                  <a:pt x="962" y="354"/>
                </a:cubicBezTo>
                <a:cubicBezTo>
                  <a:pt x="961" y="351"/>
                  <a:pt x="960" y="348"/>
                  <a:pt x="960" y="347"/>
                </a:cubicBezTo>
                <a:cubicBezTo>
                  <a:pt x="961" y="346"/>
                  <a:pt x="962" y="343"/>
                  <a:pt x="964" y="340"/>
                </a:cubicBezTo>
                <a:cubicBezTo>
                  <a:pt x="966" y="337"/>
                  <a:pt x="967" y="335"/>
                  <a:pt x="968" y="333"/>
                </a:cubicBezTo>
                <a:cubicBezTo>
                  <a:pt x="968" y="331"/>
                  <a:pt x="967" y="329"/>
                  <a:pt x="965" y="327"/>
                </a:cubicBezTo>
                <a:cubicBezTo>
                  <a:pt x="963" y="324"/>
                  <a:pt x="962" y="321"/>
                  <a:pt x="963" y="318"/>
                </a:cubicBezTo>
                <a:cubicBezTo>
                  <a:pt x="963" y="316"/>
                  <a:pt x="962" y="314"/>
                  <a:pt x="962" y="313"/>
                </a:cubicBezTo>
                <a:cubicBezTo>
                  <a:pt x="960" y="311"/>
                  <a:pt x="959" y="307"/>
                  <a:pt x="959" y="301"/>
                </a:cubicBezTo>
                <a:cubicBezTo>
                  <a:pt x="959" y="293"/>
                  <a:pt x="958" y="287"/>
                  <a:pt x="957" y="285"/>
                </a:cubicBezTo>
                <a:cubicBezTo>
                  <a:pt x="956" y="281"/>
                  <a:pt x="955" y="277"/>
                  <a:pt x="953" y="270"/>
                </a:cubicBezTo>
                <a:cubicBezTo>
                  <a:pt x="952" y="263"/>
                  <a:pt x="952" y="258"/>
                  <a:pt x="952" y="255"/>
                </a:cubicBezTo>
                <a:cubicBezTo>
                  <a:pt x="953" y="254"/>
                  <a:pt x="953" y="253"/>
                  <a:pt x="953" y="252"/>
                </a:cubicBezTo>
                <a:cubicBezTo>
                  <a:pt x="947" y="252"/>
                  <a:pt x="944" y="252"/>
                  <a:pt x="943" y="252"/>
                </a:cubicBezTo>
                <a:cubicBezTo>
                  <a:pt x="935" y="251"/>
                  <a:pt x="928" y="248"/>
                  <a:pt x="921" y="242"/>
                </a:cubicBezTo>
                <a:cubicBezTo>
                  <a:pt x="918" y="241"/>
                  <a:pt x="915" y="238"/>
                  <a:pt x="911" y="234"/>
                </a:cubicBezTo>
                <a:cubicBezTo>
                  <a:pt x="907" y="230"/>
                  <a:pt x="905" y="227"/>
                  <a:pt x="906" y="226"/>
                </a:cubicBezTo>
                <a:cubicBezTo>
                  <a:pt x="906" y="225"/>
                  <a:pt x="906" y="225"/>
                  <a:pt x="906" y="224"/>
                </a:cubicBezTo>
                <a:cubicBezTo>
                  <a:pt x="907" y="224"/>
                  <a:pt x="907" y="224"/>
                  <a:pt x="907" y="223"/>
                </a:cubicBezTo>
                <a:cubicBezTo>
                  <a:pt x="908" y="222"/>
                  <a:pt x="909" y="221"/>
                  <a:pt x="910" y="220"/>
                </a:cubicBezTo>
                <a:cubicBezTo>
                  <a:pt x="913" y="217"/>
                  <a:pt x="914" y="215"/>
                  <a:pt x="914" y="213"/>
                </a:cubicBezTo>
                <a:cubicBezTo>
                  <a:pt x="915" y="211"/>
                  <a:pt x="913" y="208"/>
                  <a:pt x="909" y="206"/>
                </a:cubicBezTo>
                <a:cubicBezTo>
                  <a:pt x="905" y="203"/>
                  <a:pt x="903" y="199"/>
                  <a:pt x="904" y="194"/>
                </a:cubicBezTo>
                <a:cubicBezTo>
                  <a:pt x="906" y="191"/>
                  <a:pt x="907" y="188"/>
                  <a:pt x="907" y="187"/>
                </a:cubicBezTo>
                <a:cubicBezTo>
                  <a:pt x="907" y="187"/>
                  <a:pt x="906" y="186"/>
                  <a:pt x="905" y="185"/>
                </a:cubicBezTo>
                <a:lnTo>
                  <a:pt x="905" y="185"/>
                </a:lnTo>
                <a:cubicBezTo>
                  <a:pt x="903" y="182"/>
                  <a:pt x="900" y="178"/>
                  <a:pt x="895" y="171"/>
                </a:cubicBezTo>
                <a:cubicBezTo>
                  <a:pt x="893" y="171"/>
                  <a:pt x="889" y="173"/>
                  <a:pt x="884" y="178"/>
                </a:cubicBezTo>
                <a:cubicBezTo>
                  <a:pt x="881" y="180"/>
                  <a:pt x="878" y="182"/>
                  <a:pt x="876" y="184"/>
                </a:cubicBezTo>
                <a:cubicBezTo>
                  <a:pt x="866" y="171"/>
                  <a:pt x="857" y="163"/>
                  <a:pt x="849" y="158"/>
                </a:cubicBezTo>
                <a:cubicBezTo>
                  <a:pt x="847" y="157"/>
                  <a:pt x="846" y="156"/>
                  <a:pt x="845" y="156"/>
                </a:cubicBezTo>
                <a:cubicBezTo>
                  <a:pt x="842" y="154"/>
                  <a:pt x="839" y="150"/>
                  <a:pt x="836" y="143"/>
                </a:cubicBezTo>
                <a:cubicBezTo>
                  <a:pt x="835" y="142"/>
                  <a:pt x="835" y="140"/>
                  <a:pt x="834" y="138"/>
                </a:cubicBezTo>
                <a:cubicBezTo>
                  <a:pt x="831" y="130"/>
                  <a:pt x="827" y="125"/>
                  <a:pt x="820" y="125"/>
                </a:cubicBezTo>
                <a:cubicBezTo>
                  <a:pt x="819" y="125"/>
                  <a:pt x="817" y="126"/>
                  <a:pt x="815" y="128"/>
                </a:cubicBezTo>
                <a:cubicBezTo>
                  <a:pt x="812" y="131"/>
                  <a:pt x="811" y="132"/>
                  <a:pt x="810" y="132"/>
                </a:cubicBezTo>
                <a:cubicBezTo>
                  <a:pt x="804" y="130"/>
                  <a:pt x="798" y="128"/>
                  <a:pt x="792" y="128"/>
                </a:cubicBezTo>
                <a:cubicBezTo>
                  <a:pt x="791" y="127"/>
                  <a:pt x="789" y="128"/>
                  <a:pt x="787" y="127"/>
                </a:cubicBezTo>
                <a:cubicBezTo>
                  <a:pt x="785" y="128"/>
                  <a:pt x="783" y="128"/>
                  <a:pt x="782" y="128"/>
                </a:cubicBezTo>
                <a:cubicBezTo>
                  <a:pt x="780" y="131"/>
                  <a:pt x="778" y="134"/>
                  <a:pt x="775" y="136"/>
                </a:cubicBezTo>
                <a:cubicBezTo>
                  <a:pt x="771" y="139"/>
                  <a:pt x="769" y="141"/>
                  <a:pt x="768" y="143"/>
                </a:cubicBezTo>
                <a:cubicBezTo>
                  <a:pt x="764" y="140"/>
                  <a:pt x="762" y="139"/>
                  <a:pt x="761" y="138"/>
                </a:cubicBezTo>
                <a:cubicBezTo>
                  <a:pt x="760" y="140"/>
                  <a:pt x="758" y="143"/>
                  <a:pt x="755" y="145"/>
                </a:cubicBezTo>
                <a:cubicBezTo>
                  <a:pt x="754" y="145"/>
                  <a:pt x="750" y="147"/>
                  <a:pt x="744" y="150"/>
                </a:cubicBezTo>
                <a:cubicBezTo>
                  <a:pt x="736" y="153"/>
                  <a:pt x="732" y="157"/>
                  <a:pt x="731" y="163"/>
                </a:cubicBezTo>
                <a:cubicBezTo>
                  <a:pt x="731" y="164"/>
                  <a:pt x="731" y="165"/>
                  <a:pt x="731" y="166"/>
                </a:cubicBezTo>
                <a:cubicBezTo>
                  <a:pt x="730" y="164"/>
                  <a:pt x="729" y="163"/>
                  <a:pt x="728" y="162"/>
                </a:cubicBezTo>
                <a:cubicBezTo>
                  <a:pt x="727" y="160"/>
                  <a:pt x="726" y="159"/>
                  <a:pt x="724" y="159"/>
                </a:cubicBezTo>
                <a:cubicBezTo>
                  <a:pt x="723" y="159"/>
                  <a:pt x="720" y="160"/>
                  <a:pt x="714" y="160"/>
                </a:cubicBezTo>
                <a:cubicBezTo>
                  <a:pt x="707" y="162"/>
                  <a:pt x="700" y="162"/>
                  <a:pt x="692" y="161"/>
                </a:cubicBezTo>
                <a:cubicBezTo>
                  <a:pt x="688" y="160"/>
                  <a:pt x="684" y="163"/>
                  <a:pt x="680" y="170"/>
                </a:cubicBezTo>
                <a:cubicBezTo>
                  <a:pt x="678" y="173"/>
                  <a:pt x="676" y="176"/>
                  <a:pt x="675" y="180"/>
                </a:cubicBezTo>
                <a:cubicBezTo>
                  <a:pt x="674" y="180"/>
                  <a:pt x="671" y="183"/>
                  <a:pt x="665" y="186"/>
                </a:cubicBezTo>
                <a:cubicBezTo>
                  <a:pt x="665" y="187"/>
                  <a:pt x="663" y="187"/>
                  <a:pt x="659" y="188"/>
                </a:cubicBezTo>
                <a:cubicBezTo>
                  <a:pt x="657" y="188"/>
                  <a:pt x="655" y="190"/>
                  <a:pt x="655" y="193"/>
                </a:cubicBezTo>
                <a:cubicBezTo>
                  <a:pt x="657" y="193"/>
                  <a:pt x="659" y="193"/>
                  <a:pt x="661" y="194"/>
                </a:cubicBezTo>
                <a:lnTo>
                  <a:pt x="660" y="202"/>
                </a:lnTo>
                <a:cubicBezTo>
                  <a:pt x="660" y="202"/>
                  <a:pt x="660" y="203"/>
                  <a:pt x="659" y="204"/>
                </a:cubicBezTo>
                <a:cubicBezTo>
                  <a:pt x="658" y="201"/>
                  <a:pt x="656" y="200"/>
                  <a:pt x="656" y="199"/>
                </a:cubicBezTo>
                <a:cubicBezTo>
                  <a:pt x="654" y="198"/>
                  <a:pt x="652" y="198"/>
                  <a:pt x="650" y="197"/>
                </a:cubicBezTo>
                <a:cubicBezTo>
                  <a:pt x="647" y="198"/>
                  <a:pt x="645" y="198"/>
                  <a:pt x="644" y="198"/>
                </a:cubicBezTo>
                <a:cubicBezTo>
                  <a:pt x="644" y="198"/>
                  <a:pt x="642" y="196"/>
                  <a:pt x="638" y="190"/>
                </a:cubicBezTo>
                <a:cubicBezTo>
                  <a:pt x="635" y="185"/>
                  <a:pt x="632" y="182"/>
                  <a:pt x="628" y="182"/>
                </a:cubicBezTo>
                <a:cubicBezTo>
                  <a:pt x="624" y="181"/>
                  <a:pt x="619" y="183"/>
                  <a:pt x="614" y="185"/>
                </a:cubicBezTo>
                <a:cubicBezTo>
                  <a:pt x="609" y="187"/>
                  <a:pt x="605" y="189"/>
                  <a:pt x="602" y="188"/>
                </a:cubicBezTo>
                <a:cubicBezTo>
                  <a:pt x="602" y="188"/>
                  <a:pt x="598" y="184"/>
                  <a:pt x="591" y="175"/>
                </a:cubicBezTo>
                <a:cubicBezTo>
                  <a:pt x="593" y="171"/>
                  <a:pt x="593" y="169"/>
                  <a:pt x="594" y="166"/>
                </a:cubicBezTo>
                <a:cubicBezTo>
                  <a:pt x="595" y="166"/>
                  <a:pt x="598" y="167"/>
                  <a:pt x="602" y="169"/>
                </a:cubicBezTo>
                <a:cubicBezTo>
                  <a:pt x="603" y="169"/>
                  <a:pt x="605" y="168"/>
                  <a:pt x="608" y="164"/>
                </a:cubicBezTo>
                <a:cubicBezTo>
                  <a:pt x="611" y="160"/>
                  <a:pt x="613" y="157"/>
                  <a:pt x="614" y="157"/>
                </a:cubicBezTo>
                <a:cubicBezTo>
                  <a:pt x="617" y="154"/>
                  <a:pt x="620" y="153"/>
                  <a:pt x="621" y="151"/>
                </a:cubicBezTo>
                <a:cubicBezTo>
                  <a:pt x="624" y="149"/>
                  <a:pt x="626" y="146"/>
                  <a:pt x="626" y="143"/>
                </a:cubicBezTo>
                <a:cubicBezTo>
                  <a:pt x="627" y="131"/>
                  <a:pt x="628" y="124"/>
                  <a:pt x="628" y="122"/>
                </a:cubicBezTo>
                <a:cubicBezTo>
                  <a:pt x="627" y="119"/>
                  <a:pt x="626" y="117"/>
                  <a:pt x="624" y="116"/>
                </a:cubicBezTo>
                <a:lnTo>
                  <a:pt x="624" y="116"/>
                </a:lnTo>
                <a:cubicBezTo>
                  <a:pt x="622" y="115"/>
                  <a:pt x="620" y="114"/>
                  <a:pt x="617" y="114"/>
                </a:cubicBezTo>
                <a:cubicBezTo>
                  <a:pt x="613" y="113"/>
                  <a:pt x="608" y="115"/>
                  <a:pt x="604" y="120"/>
                </a:cubicBezTo>
                <a:cubicBezTo>
                  <a:pt x="600" y="124"/>
                  <a:pt x="596" y="126"/>
                  <a:pt x="594" y="126"/>
                </a:cubicBezTo>
                <a:cubicBezTo>
                  <a:pt x="591" y="126"/>
                  <a:pt x="588" y="124"/>
                  <a:pt x="585" y="119"/>
                </a:cubicBezTo>
                <a:cubicBezTo>
                  <a:pt x="582" y="115"/>
                  <a:pt x="578" y="112"/>
                  <a:pt x="574" y="112"/>
                </a:cubicBezTo>
                <a:cubicBezTo>
                  <a:pt x="570" y="111"/>
                  <a:pt x="566" y="109"/>
                  <a:pt x="561" y="106"/>
                </a:cubicBezTo>
                <a:cubicBezTo>
                  <a:pt x="556" y="103"/>
                  <a:pt x="552" y="101"/>
                  <a:pt x="549" y="101"/>
                </a:cubicBezTo>
                <a:cubicBezTo>
                  <a:pt x="547" y="101"/>
                  <a:pt x="544" y="103"/>
                  <a:pt x="539" y="106"/>
                </a:cubicBezTo>
                <a:cubicBezTo>
                  <a:pt x="535" y="110"/>
                  <a:pt x="532" y="114"/>
                  <a:pt x="532" y="117"/>
                </a:cubicBezTo>
                <a:lnTo>
                  <a:pt x="531" y="117"/>
                </a:lnTo>
                <a:lnTo>
                  <a:pt x="533" y="106"/>
                </a:lnTo>
                <a:cubicBezTo>
                  <a:pt x="536" y="104"/>
                  <a:pt x="538" y="101"/>
                  <a:pt x="538" y="98"/>
                </a:cubicBezTo>
                <a:cubicBezTo>
                  <a:pt x="538" y="96"/>
                  <a:pt x="537" y="94"/>
                  <a:pt x="534" y="92"/>
                </a:cubicBezTo>
                <a:cubicBezTo>
                  <a:pt x="531" y="90"/>
                  <a:pt x="529" y="89"/>
                  <a:pt x="527" y="89"/>
                </a:cubicBezTo>
                <a:cubicBezTo>
                  <a:pt x="521" y="90"/>
                  <a:pt x="516" y="90"/>
                  <a:pt x="513" y="90"/>
                </a:cubicBezTo>
                <a:cubicBezTo>
                  <a:pt x="507" y="88"/>
                  <a:pt x="504" y="87"/>
                  <a:pt x="502" y="87"/>
                </a:cubicBezTo>
                <a:cubicBezTo>
                  <a:pt x="502" y="87"/>
                  <a:pt x="506" y="86"/>
                  <a:pt x="513" y="84"/>
                </a:cubicBezTo>
                <a:cubicBezTo>
                  <a:pt x="517" y="83"/>
                  <a:pt x="521" y="81"/>
                  <a:pt x="523" y="77"/>
                </a:cubicBezTo>
                <a:lnTo>
                  <a:pt x="525" y="57"/>
                </a:lnTo>
                <a:lnTo>
                  <a:pt x="519" y="56"/>
                </a:lnTo>
                <a:cubicBezTo>
                  <a:pt x="522" y="52"/>
                  <a:pt x="524" y="49"/>
                  <a:pt x="524" y="48"/>
                </a:cubicBezTo>
                <a:cubicBezTo>
                  <a:pt x="524" y="48"/>
                  <a:pt x="523" y="47"/>
                  <a:pt x="522" y="45"/>
                </a:cubicBezTo>
                <a:cubicBezTo>
                  <a:pt x="520" y="44"/>
                  <a:pt x="519" y="43"/>
                  <a:pt x="519" y="42"/>
                </a:cubicBezTo>
                <a:cubicBezTo>
                  <a:pt x="519" y="38"/>
                  <a:pt x="519" y="37"/>
                  <a:pt x="518" y="37"/>
                </a:cubicBezTo>
                <a:cubicBezTo>
                  <a:pt x="518" y="35"/>
                  <a:pt x="517" y="34"/>
                  <a:pt x="514" y="34"/>
                </a:cubicBezTo>
                <a:cubicBezTo>
                  <a:pt x="513" y="34"/>
                  <a:pt x="511" y="35"/>
                  <a:pt x="507" y="38"/>
                </a:cubicBezTo>
                <a:cubicBezTo>
                  <a:pt x="506" y="36"/>
                  <a:pt x="505" y="34"/>
                  <a:pt x="503" y="32"/>
                </a:cubicBezTo>
                <a:cubicBezTo>
                  <a:pt x="503" y="32"/>
                  <a:pt x="503" y="32"/>
                  <a:pt x="503" y="31"/>
                </a:cubicBezTo>
                <a:lnTo>
                  <a:pt x="502" y="31"/>
                </a:lnTo>
                <a:cubicBezTo>
                  <a:pt x="498" y="28"/>
                  <a:pt x="487" y="25"/>
                  <a:pt x="470" y="22"/>
                </a:cubicBezTo>
                <a:cubicBezTo>
                  <a:pt x="470" y="22"/>
                  <a:pt x="470" y="22"/>
                  <a:pt x="470" y="22"/>
                </a:cubicBezTo>
                <a:cubicBezTo>
                  <a:pt x="470" y="22"/>
                  <a:pt x="469" y="22"/>
                  <a:pt x="469" y="22"/>
                </a:cubicBezTo>
                <a:cubicBezTo>
                  <a:pt x="466" y="22"/>
                  <a:pt x="463" y="22"/>
                  <a:pt x="459" y="23"/>
                </a:cubicBezTo>
                <a:cubicBezTo>
                  <a:pt x="456" y="24"/>
                  <a:pt x="453" y="24"/>
                  <a:pt x="452" y="24"/>
                </a:cubicBezTo>
                <a:cubicBezTo>
                  <a:pt x="444" y="16"/>
                  <a:pt x="437" y="12"/>
                  <a:pt x="432" y="10"/>
                </a:cubicBezTo>
                <a:cubicBezTo>
                  <a:pt x="416" y="5"/>
                  <a:pt x="407" y="2"/>
                  <a:pt x="406" y="2"/>
                </a:cubicBezTo>
                <a:cubicBezTo>
                  <a:pt x="402" y="2"/>
                  <a:pt x="399" y="2"/>
                  <a:pt x="398" y="2"/>
                </a:cubicBezTo>
                <a:cubicBezTo>
                  <a:pt x="394" y="2"/>
                  <a:pt x="391" y="1"/>
                  <a:pt x="389" y="0"/>
                </a:cubicBezTo>
                <a:cubicBezTo>
                  <a:pt x="388" y="1"/>
                  <a:pt x="388" y="2"/>
                  <a:pt x="388" y="3"/>
                </a:cubicBezTo>
                <a:cubicBezTo>
                  <a:pt x="388" y="3"/>
                  <a:pt x="388" y="3"/>
                  <a:pt x="388" y="3"/>
                </a:cubicBezTo>
                <a:cubicBezTo>
                  <a:pt x="387" y="4"/>
                  <a:pt x="387" y="5"/>
                  <a:pt x="387" y="7"/>
                </a:cubicBezTo>
                <a:cubicBezTo>
                  <a:pt x="386" y="13"/>
                  <a:pt x="389" y="21"/>
                  <a:pt x="394" y="31"/>
                </a:cubicBezTo>
                <a:cubicBezTo>
                  <a:pt x="400" y="41"/>
                  <a:pt x="403" y="47"/>
                  <a:pt x="403" y="49"/>
                </a:cubicBezTo>
                <a:cubicBezTo>
                  <a:pt x="402" y="50"/>
                  <a:pt x="402" y="51"/>
                  <a:pt x="401" y="52"/>
                </a:cubicBezTo>
                <a:cubicBezTo>
                  <a:pt x="400" y="53"/>
                  <a:pt x="400" y="54"/>
                  <a:pt x="400" y="55"/>
                </a:cubicBezTo>
                <a:cubicBezTo>
                  <a:pt x="402" y="56"/>
                  <a:pt x="406" y="59"/>
                  <a:pt x="410" y="65"/>
                </a:cubicBezTo>
                <a:cubicBezTo>
                  <a:pt x="410" y="66"/>
                  <a:pt x="411" y="67"/>
                  <a:pt x="411" y="68"/>
                </a:cubicBezTo>
                <a:cubicBezTo>
                  <a:pt x="414" y="72"/>
                  <a:pt x="416" y="76"/>
                  <a:pt x="415" y="78"/>
                </a:cubicBezTo>
                <a:cubicBezTo>
                  <a:pt x="415" y="80"/>
                  <a:pt x="413" y="82"/>
                  <a:pt x="407" y="85"/>
                </a:cubicBezTo>
                <a:cubicBezTo>
                  <a:pt x="402" y="88"/>
                  <a:pt x="397" y="89"/>
                  <a:pt x="395" y="89"/>
                </a:cubicBezTo>
                <a:cubicBezTo>
                  <a:pt x="388" y="89"/>
                  <a:pt x="382" y="89"/>
                  <a:pt x="380" y="90"/>
                </a:cubicBezTo>
                <a:cubicBezTo>
                  <a:pt x="376" y="91"/>
                  <a:pt x="374" y="94"/>
                  <a:pt x="373" y="100"/>
                </a:cubicBezTo>
                <a:cubicBezTo>
                  <a:pt x="372" y="105"/>
                  <a:pt x="375" y="109"/>
                  <a:pt x="382" y="109"/>
                </a:cubicBezTo>
                <a:cubicBezTo>
                  <a:pt x="386" y="110"/>
                  <a:pt x="392" y="110"/>
                  <a:pt x="401" y="111"/>
                </a:cubicBezTo>
                <a:lnTo>
                  <a:pt x="401" y="112"/>
                </a:lnTo>
                <a:cubicBezTo>
                  <a:pt x="400" y="113"/>
                  <a:pt x="398" y="115"/>
                  <a:pt x="396" y="117"/>
                </a:cubicBezTo>
                <a:cubicBezTo>
                  <a:pt x="393" y="121"/>
                  <a:pt x="391" y="124"/>
                  <a:pt x="391" y="126"/>
                </a:cubicBezTo>
                <a:cubicBezTo>
                  <a:pt x="391" y="131"/>
                  <a:pt x="391" y="134"/>
                  <a:pt x="393" y="136"/>
                </a:cubicBezTo>
                <a:cubicBezTo>
                  <a:pt x="394" y="136"/>
                  <a:pt x="396" y="137"/>
                  <a:pt x="399" y="138"/>
                </a:cubicBezTo>
                <a:cubicBezTo>
                  <a:pt x="402" y="138"/>
                  <a:pt x="404" y="139"/>
                  <a:pt x="405" y="141"/>
                </a:cubicBezTo>
                <a:cubicBezTo>
                  <a:pt x="406" y="143"/>
                  <a:pt x="407" y="148"/>
                  <a:pt x="406" y="154"/>
                </a:cubicBezTo>
                <a:cubicBezTo>
                  <a:pt x="406" y="157"/>
                  <a:pt x="403" y="158"/>
                  <a:pt x="398" y="157"/>
                </a:cubicBezTo>
                <a:cubicBezTo>
                  <a:pt x="394" y="157"/>
                  <a:pt x="392" y="156"/>
                  <a:pt x="391" y="156"/>
                </a:cubicBezTo>
                <a:cubicBezTo>
                  <a:pt x="391" y="156"/>
                  <a:pt x="391" y="158"/>
                  <a:pt x="390" y="160"/>
                </a:cubicBezTo>
                <a:cubicBezTo>
                  <a:pt x="390" y="162"/>
                  <a:pt x="392" y="166"/>
                  <a:pt x="396" y="172"/>
                </a:cubicBezTo>
                <a:cubicBezTo>
                  <a:pt x="400" y="179"/>
                  <a:pt x="403" y="182"/>
                  <a:pt x="406" y="182"/>
                </a:cubicBezTo>
                <a:cubicBezTo>
                  <a:pt x="412" y="183"/>
                  <a:pt x="418" y="184"/>
                  <a:pt x="423" y="184"/>
                </a:cubicBezTo>
                <a:cubicBezTo>
                  <a:pt x="425" y="184"/>
                  <a:pt x="429" y="186"/>
                  <a:pt x="433" y="190"/>
                </a:cubicBezTo>
                <a:lnTo>
                  <a:pt x="434" y="190"/>
                </a:lnTo>
                <a:cubicBezTo>
                  <a:pt x="435" y="192"/>
                  <a:pt x="438" y="194"/>
                  <a:pt x="440" y="196"/>
                </a:cubicBezTo>
                <a:cubicBezTo>
                  <a:pt x="441" y="197"/>
                  <a:pt x="443" y="199"/>
                  <a:pt x="444" y="203"/>
                </a:cubicBezTo>
                <a:cubicBezTo>
                  <a:pt x="445" y="205"/>
                  <a:pt x="446" y="207"/>
                  <a:pt x="447" y="210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47" y="212"/>
                  <a:pt x="448" y="214"/>
                  <a:pt x="449" y="216"/>
                </a:cubicBezTo>
                <a:cubicBezTo>
                  <a:pt x="450" y="218"/>
                  <a:pt x="450" y="219"/>
                  <a:pt x="451" y="220"/>
                </a:cubicBezTo>
                <a:cubicBezTo>
                  <a:pt x="452" y="221"/>
                  <a:pt x="452" y="222"/>
                  <a:pt x="453" y="223"/>
                </a:cubicBezTo>
                <a:cubicBezTo>
                  <a:pt x="454" y="224"/>
                  <a:pt x="455" y="225"/>
                  <a:pt x="456" y="226"/>
                </a:cubicBezTo>
                <a:lnTo>
                  <a:pt x="455" y="225"/>
                </a:lnTo>
                <a:cubicBezTo>
                  <a:pt x="454" y="225"/>
                  <a:pt x="454" y="224"/>
                  <a:pt x="453" y="223"/>
                </a:cubicBezTo>
                <a:cubicBezTo>
                  <a:pt x="452" y="222"/>
                  <a:pt x="451" y="221"/>
                  <a:pt x="451" y="220"/>
                </a:cubicBezTo>
                <a:cubicBezTo>
                  <a:pt x="450" y="219"/>
                  <a:pt x="449" y="218"/>
                  <a:pt x="449" y="216"/>
                </a:cubicBezTo>
                <a:lnTo>
                  <a:pt x="448" y="216"/>
                </a:lnTo>
                <a:cubicBezTo>
                  <a:pt x="447" y="214"/>
                  <a:pt x="446" y="213"/>
                  <a:pt x="446" y="211"/>
                </a:cubicBezTo>
                <a:lnTo>
                  <a:pt x="445" y="211"/>
                </a:lnTo>
                <a:cubicBezTo>
                  <a:pt x="444" y="208"/>
                  <a:pt x="443" y="206"/>
                  <a:pt x="442" y="204"/>
                </a:cubicBezTo>
                <a:cubicBezTo>
                  <a:pt x="439" y="199"/>
                  <a:pt x="436" y="194"/>
                  <a:pt x="432" y="192"/>
                </a:cubicBezTo>
                <a:cubicBezTo>
                  <a:pt x="429" y="189"/>
                  <a:pt x="425" y="187"/>
                  <a:pt x="421" y="187"/>
                </a:cubicBezTo>
                <a:cubicBezTo>
                  <a:pt x="418" y="186"/>
                  <a:pt x="413" y="187"/>
                  <a:pt x="408" y="190"/>
                </a:cubicBezTo>
                <a:cubicBezTo>
                  <a:pt x="402" y="193"/>
                  <a:pt x="396" y="194"/>
                  <a:pt x="390" y="193"/>
                </a:cubicBezTo>
                <a:cubicBezTo>
                  <a:pt x="383" y="192"/>
                  <a:pt x="377" y="190"/>
                  <a:pt x="373" y="185"/>
                </a:cubicBezTo>
                <a:cubicBezTo>
                  <a:pt x="370" y="180"/>
                  <a:pt x="368" y="178"/>
                  <a:pt x="367" y="178"/>
                </a:cubicBezTo>
                <a:cubicBezTo>
                  <a:pt x="365" y="177"/>
                  <a:pt x="362" y="179"/>
                  <a:pt x="359" y="184"/>
                </a:cubicBezTo>
                <a:cubicBezTo>
                  <a:pt x="357" y="188"/>
                  <a:pt x="356" y="191"/>
                  <a:pt x="356" y="195"/>
                </a:cubicBezTo>
                <a:cubicBezTo>
                  <a:pt x="357" y="199"/>
                  <a:pt x="356" y="203"/>
                  <a:pt x="353" y="206"/>
                </a:cubicBezTo>
                <a:cubicBezTo>
                  <a:pt x="349" y="210"/>
                  <a:pt x="347" y="213"/>
                  <a:pt x="347" y="215"/>
                </a:cubicBezTo>
                <a:cubicBezTo>
                  <a:pt x="346" y="219"/>
                  <a:pt x="347" y="223"/>
                  <a:pt x="349" y="230"/>
                </a:cubicBezTo>
                <a:cubicBezTo>
                  <a:pt x="351" y="236"/>
                  <a:pt x="352" y="239"/>
                  <a:pt x="352" y="240"/>
                </a:cubicBezTo>
                <a:cubicBezTo>
                  <a:pt x="351" y="242"/>
                  <a:pt x="350" y="243"/>
                  <a:pt x="349" y="245"/>
                </a:cubicBezTo>
                <a:cubicBezTo>
                  <a:pt x="345" y="249"/>
                  <a:pt x="344" y="252"/>
                  <a:pt x="343" y="252"/>
                </a:cubicBezTo>
                <a:lnTo>
                  <a:pt x="344" y="249"/>
                </a:lnTo>
                <a:cubicBezTo>
                  <a:pt x="345" y="247"/>
                  <a:pt x="346" y="245"/>
                  <a:pt x="346" y="243"/>
                </a:cubicBezTo>
                <a:cubicBezTo>
                  <a:pt x="346" y="242"/>
                  <a:pt x="339" y="235"/>
                  <a:pt x="325" y="223"/>
                </a:cubicBezTo>
                <a:cubicBezTo>
                  <a:pt x="323" y="223"/>
                  <a:pt x="321" y="224"/>
                  <a:pt x="320" y="227"/>
                </a:cubicBezTo>
                <a:cubicBezTo>
                  <a:pt x="318" y="229"/>
                  <a:pt x="317" y="232"/>
                  <a:pt x="317" y="234"/>
                </a:cubicBezTo>
                <a:cubicBezTo>
                  <a:pt x="317" y="237"/>
                  <a:pt x="318" y="238"/>
                  <a:pt x="320" y="238"/>
                </a:cubicBezTo>
                <a:cubicBezTo>
                  <a:pt x="323" y="238"/>
                  <a:pt x="324" y="240"/>
                  <a:pt x="323" y="244"/>
                </a:cubicBezTo>
                <a:cubicBezTo>
                  <a:pt x="323" y="247"/>
                  <a:pt x="322" y="250"/>
                  <a:pt x="320" y="253"/>
                </a:cubicBezTo>
                <a:cubicBezTo>
                  <a:pt x="316" y="257"/>
                  <a:pt x="314" y="260"/>
                  <a:pt x="314" y="261"/>
                </a:cubicBezTo>
                <a:lnTo>
                  <a:pt x="313" y="260"/>
                </a:lnTo>
                <a:cubicBezTo>
                  <a:pt x="311" y="256"/>
                  <a:pt x="308" y="253"/>
                  <a:pt x="303" y="251"/>
                </a:cubicBezTo>
                <a:cubicBezTo>
                  <a:pt x="300" y="250"/>
                  <a:pt x="298" y="248"/>
                  <a:pt x="299" y="244"/>
                </a:cubicBezTo>
                <a:cubicBezTo>
                  <a:pt x="299" y="242"/>
                  <a:pt x="299" y="240"/>
                  <a:pt x="301" y="240"/>
                </a:cubicBezTo>
                <a:cubicBezTo>
                  <a:pt x="301" y="239"/>
                  <a:pt x="303" y="239"/>
                  <a:pt x="307" y="239"/>
                </a:cubicBezTo>
                <a:lnTo>
                  <a:pt x="308" y="233"/>
                </a:lnTo>
                <a:cubicBezTo>
                  <a:pt x="307" y="230"/>
                  <a:pt x="305" y="225"/>
                  <a:pt x="300" y="216"/>
                </a:cubicBezTo>
                <a:cubicBezTo>
                  <a:pt x="299" y="215"/>
                  <a:pt x="298" y="211"/>
                  <a:pt x="298" y="206"/>
                </a:cubicBezTo>
                <a:cubicBezTo>
                  <a:pt x="297" y="203"/>
                  <a:pt x="296" y="201"/>
                  <a:pt x="292" y="200"/>
                </a:cubicBezTo>
                <a:cubicBezTo>
                  <a:pt x="288" y="200"/>
                  <a:pt x="281" y="200"/>
                  <a:pt x="273" y="201"/>
                </a:cubicBezTo>
                <a:cubicBezTo>
                  <a:pt x="269" y="201"/>
                  <a:pt x="266" y="202"/>
                  <a:pt x="263" y="202"/>
                </a:cubicBezTo>
                <a:cubicBezTo>
                  <a:pt x="263" y="202"/>
                  <a:pt x="262" y="202"/>
                  <a:pt x="262" y="202"/>
                </a:cubicBezTo>
                <a:cubicBezTo>
                  <a:pt x="257" y="202"/>
                  <a:pt x="252" y="202"/>
                  <a:pt x="246" y="201"/>
                </a:cubicBezTo>
                <a:cubicBezTo>
                  <a:pt x="244" y="201"/>
                  <a:pt x="242" y="200"/>
                  <a:pt x="240" y="200"/>
                </a:cubicBezTo>
                <a:lnTo>
                  <a:pt x="239" y="200"/>
                </a:lnTo>
                <a:cubicBezTo>
                  <a:pt x="230" y="198"/>
                  <a:pt x="225" y="197"/>
                  <a:pt x="224" y="197"/>
                </a:cubicBezTo>
                <a:cubicBezTo>
                  <a:pt x="223" y="197"/>
                  <a:pt x="222" y="198"/>
                  <a:pt x="219" y="198"/>
                </a:cubicBezTo>
                <a:cubicBezTo>
                  <a:pt x="217" y="199"/>
                  <a:pt x="214" y="200"/>
                  <a:pt x="211" y="202"/>
                </a:cubicBezTo>
                <a:cubicBezTo>
                  <a:pt x="204" y="206"/>
                  <a:pt x="200" y="209"/>
                  <a:pt x="199" y="211"/>
                </a:cubicBezTo>
                <a:cubicBezTo>
                  <a:pt x="199" y="213"/>
                  <a:pt x="200" y="214"/>
                  <a:pt x="200" y="215"/>
                </a:cubicBezTo>
                <a:cubicBezTo>
                  <a:pt x="201" y="217"/>
                  <a:pt x="202" y="219"/>
                  <a:pt x="203" y="221"/>
                </a:cubicBezTo>
                <a:cubicBezTo>
                  <a:pt x="197" y="221"/>
                  <a:pt x="193" y="222"/>
                  <a:pt x="189" y="226"/>
                </a:cubicBezTo>
                <a:cubicBezTo>
                  <a:pt x="186" y="230"/>
                  <a:pt x="184" y="234"/>
                  <a:pt x="183" y="239"/>
                </a:cubicBezTo>
                <a:cubicBezTo>
                  <a:pt x="183" y="246"/>
                  <a:pt x="183" y="250"/>
                  <a:pt x="185" y="253"/>
                </a:cubicBezTo>
                <a:cubicBezTo>
                  <a:pt x="186" y="254"/>
                  <a:pt x="186" y="255"/>
                  <a:pt x="187" y="256"/>
                </a:cubicBezTo>
                <a:cubicBezTo>
                  <a:pt x="189" y="256"/>
                  <a:pt x="190" y="257"/>
                  <a:pt x="192" y="257"/>
                </a:cubicBezTo>
                <a:cubicBezTo>
                  <a:pt x="199" y="258"/>
                  <a:pt x="203" y="259"/>
                  <a:pt x="203" y="259"/>
                </a:cubicBezTo>
                <a:cubicBezTo>
                  <a:pt x="207" y="260"/>
                  <a:pt x="210" y="262"/>
                  <a:pt x="213" y="265"/>
                </a:cubicBezTo>
                <a:cubicBezTo>
                  <a:pt x="209" y="265"/>
                  <a:pt x="206" y="265"/>
                  <a:pt x="203" y="268"/>
                </a:cubicBezTo>
                <a:cubicBezTo>
                  <a:pt x="202" y="268"/>
                  <a:pt x="201" y="270"/>
                  <a:pt x="199" y="271"/>
                </a:cubicBezTo>
                <a:cubicBezTo>
                  <a:pt x="199" y="272"/>
                  <a:pt x="199" y="272"/>
                  <a:pt x="200" y="273"/>
                </a:cubicBezTo>
                <a:cubicBezTo>
                  <a:pt x="201" y="277"/>
                  <a:pt x="202" y="280"/>
                  <a:pt x="202" y="282"/>
                </a:cubicBezTo>
                <a:cubicBezTo>
                  <a:pt x="201" y="284"/>
                  <a:pt x="200" y="286"/>
                  <a:pt x="198" y="289"/>
                </a:cubicBezTo>
                <a:cubicBezTo>
                  <a:pt x="196" y="291"/>
                  <a:pt x="196" y="293"/>
                  <a:pt x="195" y="295"/>
                </a:cubicBezTo>
                <a:cubicBezTo>
                  <a:pt x="195" y="295"/>
                  <a:pt x="195" y="297"/>
                  <a:pt x="194" y="301"/>
                </a:cubicBezTo>
                <a:cubicBezTo>
                  <a:pt x="194" y="302"/>
                  <a:pt x="194" y="304"/>
                  <a:pt x="195" y="306"/>
                </a:cubicBezTo>
                <a:cubicBezTo>
                  <a:pt x="195" y="308"/>
                  <a:pt x="195" y="310"/>
                  <a:pt x="195" y="313"/>
                </a:cubicBezTo>
                <a:cubicBezTo>
                  <a:pt x="195" y="317"/>
                  <a:pt x="193" y="322"/>
                  <a:pt x="189" y="329"/>
                </a:cubicBezTo>
                <a:cubicBezTo>
                  <a:pt x="188" y="332"/>
                  <a:pt x="184" y="337"/>
                  <a:pt x="178" y="343"/>
                </a:cubicBezTo>
                <a:cubicBezTo>
                  <a:pt x="171" y="367"/>
                  <a:pt x="166" y="378"/>
                  <a:pt x="165" y="378"/>
                </a:cubicBezTo>
                <a:cubicBezTo>
                  <a:pt x="160" y="375"/>
                  <a:pt x="155" y="374"/>
                  <a:pt x="152" y="374"/>
                </a:cubicBezTo>
                <a:cubicBezTo>
                  <a:pt x="144" y="374"/>
                  <a:pt x="138" y="374"/>
                  <a:pt x="134" y="373"/>
                </a:cubicBezTo>
                <a:lnTo>
                  <a:pt x="133" y="377"/>
                </a:lnTo>
                <a:cubicBezTo>
                  <a:pt x="135" y="382"/>
                  <a:pt x="136" y="385"/>
                  <a:pt x="136" y="386"/>
                </a:cubicBezTo>
                <a:cubicBezTo>
                  <a:pt x="135" y="387"/>
                  <a:pt x="135" y="389"/>
                  <a:pt x="133" y="391"/>
                </a:cubicBezTo>
                <a:cubicBezTo>
                  <a:pt x="131" y="393"/>
                  <a:pt x="131" y="395"/>
                  <a:pt x="130" y="396"/>
                </a:cubicBezTo>
                <a:cubicBezTo>
                  <a:pt x="130" y="400"/>
                  <a:pt x="131" y="403"/>
                  <a:pt x="135" y="406"/>
                </a:cubicBezTo>
                <a:cubicBezTo>
                  <a:pt x="137" y="407"/>
                  <a:pt x="141" y="409"/>
                  <a:pt x="147" y="411"/>
                </a:cubicBezTo>
                <a:cubicBezTo>
                  <a:pt x="152" y="413"/>
                  <a:pt x="156" y="415"/>
                  <a:pt x="158" y="417"/>
                </a:cubicBezTo>
                <a:cubicBezTo>
                  <a:pt x="162" y="419"/>
                  <a:pt x="163" y="423"/>
                  <a:pt x="163" y="427"/>
                </a:cubicBezTo>
                <a:cubicBezTo>
                  <a:pt x="163" y="428"/>
                  <a:pt x="162" y="430"/>
                  <a:pt x="161" y="433"/>
                </a:cubicBezTo>
                <a:cubicBezTo>
                  <a:pt x="159" y="436"/>
                  <a:pt x="159" y="439"/>
                  <a:pt x="158" y="441"/>
                </a:cubicBezTo>
                <a:cubicBezTo>
                  <a:pt x="158" y="447"/>
                  <a:pt x="157" y="451"/>
                  <a:pt x="155" y="452"/>
                </a:cubicBezTo>
                <a:cubicBezTo>
                  <a:pt x="155" y="453"/>
                  <a:pt x="152" y="455"/>
                  <a:pt x="145" y="458"/>
                </a:cubicBezTo>
                <a:cubicBezTo>
                  <a:pt x="142" y="460"/>
                  <a:pt x="139" y="463"/>
                  <a:pt x="139" y="467"/>
                </a:cubicBezTo>
                <a:cubicBezTo>
                  <a:pt x="136" y="466"/>
                  <a:pt x="133" y="466"/>
                  <a:pt x="128" y="467"/>
                </a:cubicBezTo>
                <a:cubicBezTo>
                  <a:pt x="122" y="468"/>
                  <a:pt x="120" y="470"/>
                  <a:pt x="119" y="473"/>
                </a:cubicBezTo>
                <a:cubicBezTo>
                  <a:pt x="119" y="477"/>
                  <a:pt x="121" y="481"/>
                  <a:pt x="125" y="485"/>
                </a:cubicBezTo>
                <a:cubicBezTo>
                  <a:pt x="129" y="488"/>
                  <a:pt x="131" y="490"/>
                  <a:pt x="131" y="491"/>
                </a:cubicBezTo>
                <a:cubicBezTo>
                  <a:pt x="131" y="494"/>
                  <a:pt x="128" y="497"/>
                  <a:pt x="122" y="500"/>
                </a:cubicBezTo>
                <a:cubicBezTo>
                  <a:pt x="116" y="503"/>
                  <a:pt x="112" y="505"/>
                  <a:pt x="108" y="504"/>
                </a:cubicBezTo>
                <a:cubicBezTo>
                  <a:pt x="103" y="504"/>
                  <a:pt x="98" y="505"/>
                  <a:pt x="91" y="506"/>
                </a:cubicBezTo>
                <a:cubicBezTo>
                  <a:pt x="86" y="508"/>
                  <a:pt x="82" y="509"/>
                  <a:pt x="80" y="509"/>
                </a:cubicBezTo>
                <a:cubicBezTo>
                  <a:pt x="67" y="502"/>
                  <a:pt x="57" y="497"/>
                  <a:pt x="52" y="495"/>
                </a:cubicBezTo>
                <a:cubicBezTo>
                  <a:pt x="52" y="503"/>
                  <a:pt x="48" y="506"/>
                  <a:pt x="40" y="505"/>
                </a:cubicBezTo>
                <a:cubicBezTo>
                  <a:pt x="36" y="504"/>
                  <a:pt x="33" y="504"/>
                  <a:pt x="31" y="504"/>
                </a:cubicBezTo>
                <a:cubicBezTo>
                  <a:pt x="30" y="505"/>
                  <a:pt x="30" y="508"/>
                  <a:pt x="29" y="512"/>
                </a:cubicBezTo>
                <a:cubicBezTo>
                  <a:pt x="29" y="517"/>
                  <a:pt x="30" y="521"/>
                  <a:pt x="32" y="522"/>
                </a:cubicBezTo>
                <a:cubicBezTo>
                  <a:pt x="35" y="524"/>
                  <a:pt x="36" y="526"/>
                  <a:pt x="36" y="528"/>
                </a:cubicBezTo>
                <a:cubicBezTo>
                  <a:pt x="36" y="529"/>
                  <a:pt x="35" y="530"/>
                  <a:pt x="33" y="532"/>
                </a:cubicBezTo>
                <a:cubicBezTo>
                  <a:pt x="33" y="532"/>
                  <a:pt x="34" y="533"/>
                  <a:pt x="34" y="533"/>
                </a:cubicBezTo>
                <a:cubicBezTo>
                  <a:pt x="34" y="534"/>
                  <a:pt x="36" y="534"/>
                  <a:pt x="40" y="536"/>
                </a:cubicBezTo>
                <a:cubicBezTo>
                  <a:pt x="42" y="536"/>
                  <a:pt x="42" y="538"/>
                  <a:pt x="42" y="541"/>
                </a:cubicBezTo>
                <a:cubicBezTo>
                  <a:pt x="41" y="542"/>
                  <a:pt x="41" y="543"/>
                  <a:pt x="39" y="546"/>
                </a:cubicBezTo>
                <a:cubicBezTo>
                  <a:pt x="39" y="547"/>
                  <a:pt x="41" y="551"/>
                  <a:pt x="44" y="557"/>
                </a:cubicBezTo>
                <a:cubicBezTo>
                  <a:pt x="47" y="566"/>
                  <a:pt x="49" y="574"/>
                  <a:pt x="48" y="582"/>
                </a:cubicBezTo>
                <a:cubicBezTo>
                  <a:pt x="47" y="590"/>
                  <a:pt x="44" y="596"/>
                  <a:pt x="40" y="599"/>
                </a:cubicBezTo>
                <a:cubicBezTo>
                  <a:pt x="34" y="602"/>
                  <a:pt x="30" y="608"/>
                  <a:pt x="28" y="615"/>
                </a:cubicBezTo>
                <a:cubicBezTo>
                  <a:pt x="29" y="616"/>
                  <a:pt x="31" y="617"/>
                  <a:pt x="33" y="618"/>
                </a:cubicBezTo>
                <a:cubicBezTo>
                  <a:pt x="35" y="618"/>
                  <a:pt x="35" y="620"/>
                  <a:pt x="35" y="622"/>
                </a:cubicBezTo>
                <a:cubicBezTo>
                  <a:pt x="35" y="625"/>
                  <a:pt x="31" y="628"/>
                  <a:pt x="25" y="632"/>
                </a:cubicBezTo>
                <a:cubicBezTo>
                  <a:pt x="18" y="636"/>
                  <a:pt x="15" y="640"/>
                  <a:pt x="14" y="643"/>
                </a:cubicBezTo>
                <a:lnTo>
                  <a:pt x="9" y="642"/>
                </a:lnTo>
                <a:cubicBezTo>
                  <a:pt x="8" y="640"/>
                  <a:pt x="5" y="641"/>
                  <a:pt x="0" y="645"/>
                </a:cubicBezTo>
                <a:cubicBezTo>
                  <a:pt x="7" y="652"/>
                  <a:pt x="15" y="660"/>
                  <a:pt x="22" y="667"/>
                </a:cubicBezTo>
                <a:cubicBezTo>
                  <a:pt x="22" y="670"/>
                  <a:pt x="20" y="672"/>
                  <a:pt x="15" y="673"/>
                </a:cubicBezTo>
                <a:cubicBezTo>
                  <a:pt x="11" y="674"/>
                  <a:pt x="9" y="677"/>
                  <a:pt x="8" y="682"/>
                </a:cubicBezTo>
                <a:cubicBezTo>
                  <a:pt x="8" y="689"/>
                  <a:pt x="8" y="693"/>
                  <a:pt x="10" y="694"/>
                </a:cubicBezTo>
                <a:lnTo>
                  <a:pt x="9" y="695"/>
                </a:lnTo>
                <a:cubicBezTo>
                  <a:pt x="10" y="696"/>
                  <a:pt x="11" y="697"/>
                  <a:pt x="11" y="698"/>
                </a:cubicBezTo>
                <a:cubicBezTo>
                  <a:pt x="11" y="698"/>
                  <a:pt x="11" y="699"/>
                  <a:pt x="12" y="700"/>
                </a:cubicBezTo>
                <a:cubicBezTo>
                  <a:pt x="12" y="700"/>
                  <a:pt x="12" y="700"/>
                  <a:pt x="13" y="700"/>
                </a:cubicBezTo>
                <a:cubicBezTo>
                  <a:pt x="14" y="701"/>
                  <a:pt x="15" y="702"/>
                  <a:pt x="17" y="702"/>
                </a:cubicBezTo>
                <a:cubicBezTo>
                  <a:pt x="17" y="702"/>
                  <a:pt x="18" y="703"/>
                  <a:pt x="18" y="703"/>
                </a:cubicBezTo>
                <a:cubicBezTo>
                  <a:pt x="20" y="703"/>
                  <a:pt x="21" y="705"/>
                  <a:pt x="20" y="706"/>
                </a:cubicBezTo>
                <a:cubicBezTo>
                  <a:pt x="20" y="709"/>
                  <a:pt x="20" y="710"/>
                  <a:pt x="21" y="712"/>
                </a:cubicBezTo>
                <a:cubicBezTo>
                  <a:pt x="22" y="714"/>
                  <a:pt x="22" y="715"/>
                  <a:pt x="23" y="717"/>
                </a:cubicBezTo>
                <a:cubicBezTo>
                  <a:pt x="22" y="717"/>
                  <a:pt x="23" y="718"/>
                  <a:pt x="23" y="719"/>
                </a:cubicBezTo>
                <a:cubicBezTo>
                  <a:pt x="23" y="720"/>
                  <a:pt x="24" y="721"/>
                  <a:pt x="26" y="721"/>
                </a:cubicBezTo>
                <a:cubicBezTo>
                  <a:pt x="26" y="722"/>
                  <a:pt x="27" y="722"/>
                  <a:pt x="28" y="722"/>
                </a:cubicBezTo>
                <a:cubicBezTo>
                  <a:pt x="28" y="722"/>
                  <a:pt x="29" y="722"/>
                  <a:pt x="29" y="723"/>
                </a:cubicBezTo>
                <a:cubicBezTo>
                  <a:pt x="30" y="723"/>
                  <a:pt x="31" y="723"/>
                  <a:pt x="32" y="723"/>
                </a:cubicBezTo>
                <a:cubicBezTo>
                  <a:pt x="32" y="723"/>
                  <a:pt x="32" y="724"/>
                  <a:pt x="32" y="724"/>
                </a:cubicBezTo>
                <a:cubicBezTo>
                  <a:pt x="32" y="726"/>
                  <a:pt x="32" y="727"/>
                  <a:pt x="30" y="727"/>
                </a:cubicBezTo>
                <a:cubicBezTo>
                  <a:pt x="29" y="727"/>
                  <a:pt x="27" y="729"/>
                  <a:pt x="27" y="731"/>
                </a:cubicBezTo>
                <a:cubicBezTo>
                  <a:pt x="27" y="732"/>
                  <a:pt x="26" y="732"/>
                  <a:pt x="26" y="732"/>
                </a:cubicBezTo>
                <a:cubicBezTo>
                  <a:pt x="26" y="733"/>
                  <a:pt x="26" y="735"/>
                  <a:pt x="25" y="736"/>
                </a:cubicBezTo>
                <a:cubicBezTo>
                  <a:pt x="25" y="739"/>
                  <a:pt x="26" y="742"/>
                  <a:pt x="28" y="742"/>
                </a:cubicBezTo>
                <a:cubicBezTo>
                  <a:pt x="28" y="742"/>
                  <a:pt x="29" y="743"/>
                  <a:pt x="29" y="743"/>
                </a:cubicBezTo>
                <a:cubicBezTo>
                  <a:pt x="29" y="743"/>
                  <a:pt x="30" y="743"/>
                  <a:pt x="30" y="743"/>
                </a:cubicBezTo>
                <a:cubicBezTo>
                  <a:pt x="30" y="744"/>
                  <a:pt x="31" y="744"/>
                  <a:pt x="32" y="744"/>
                </a:cubicBezTo>
                <a:cubicBezTo>
                  <a:pt x="33" y="744"/>
                  <a:pt x="35" y="744"/>
                  <a:pt x="36" y="744"/>
                </a:cubicBezTo>
                <a:cubicBezTo>
                  <a:pt x="38" y="744"/>
                  <a:pt x="39" y="745"/>
                  <a:pt x="39" y="747"/>
                </a:cubicBezTo>
                <a:cubicBezTo>
                  <a:pt x="39" y="747"/>
                  <a:pt x="39" y="747"/>
                  <a:pt x="39" y="748"/>
                </a:cubicBezTo>
                <a:cubicBezTo>
                  <a:pt x="40" y="748"/>
                  <a:pt x="41" y="749"/>
                  <a:pt x="41" y="751"/>
                </a:cubicBezTo>
                <a:cubicBezTo>
                  <a:pt x="41" y="751"/>
                  <a:pt x="41" y="751"/>
                  <a:pt x="41" y="751"/>
                </a:cubicBezTo>
                <a:cubicBezTo>
                  <a:pt x="42" y="752"/>
                  <a:pt x="43" y="753"/>
                  <a:pt x="42" y="754"/>
                </a:cubicBezTo>
                <a:cubicBezTo>
                  <a:pt x="42" y="754"/>
                  <a:pt x="42" y="755"/>
                  <a:pt x="42" y="755"/>
                </a:cubicBezTo>
                <a:cubicBezTo>
                  <a:pt x="41" y="757"/>
                  <a:pt x="40" y="760"/>
                  <a:pt x="39" y="761"/>
                </a:cubicBezTo>
                <a:cubicBezTo>
                  <a:pt x="39" y="761"/>
                  <a:pt x="39" y="762"/>
                  <a:pt x="39" y="762"/>
                </a:cubicBezTo>
                <a:cubicBezTo>
                  <a:pt x="38" y="763"/>
                  <a:pt x="38" y="764"/>
                  <a:pt x="38" y="766"/>
                </a:cubicBezTo>
                <a:cubicBezTo>
                  <a:pt x="37" y="769"/>
                  <a:pt x="37" y="771"/>
                  <a:pt x="39" y="773"/>
                </a:cubicBezTo>
                <a:cubicBezTo>
                  <a:pt x="39" y="773"/>
                  <a:pt x="40" y="774"/>
                  <a:pt x="41" y="774"/>
                </a:cubicBezTo>
                <a:cubicBezTo>
                  <a:pt x="40" y="776"/>
                  <a:pt x="39" y="776"/>
                  <a:pt x="38" y="777"/>
                </a:cubicBezTo>
                <a:cubicBezTo>
                  <a:pt x="37" y="777"/>
                  <a:pt x="37" y="777"/>
                  <a:pt x="37" y="777"/>
                </a:cubicBezTo>
                <a:cubicBezTo>
                  <a:pt x="36" y="777"/>
                  <a:pt x="34" y="777"/>
                  <a:pt x="34" y="777"/>
                </a:cubicBezTo>
                <a:cubicBezTo>
                  <a:pt x="33" y="777"/>
                  <a:pt x="33" y="777"/>
                  <a:pt x="33" y="777"/>
                </a:cubicBezTo>
                <a:cubicBezTo>
                  <a:pt x="31" y="777"/>
                  <a:pt x="30" y="778"/>
                  <a:pt x="30" y="780"/>
                </a:cubicBezTo>
                <a:cubicBezTo>
                  <a:pt x="30" y="780"/>
                  <a:pt x="30" y="780"/>
                  <a:pt x="29" y="780"/>
                </a:cubicBezTo>
                <a:cubicBezTo>
                  <a:pt x="29" y="782"/>
                  <a:pt x="28" y="783"/>
                  <a:pt x="26" y="783"/>
                </a:cubicBezTo>
                <a:cubicBezTo>
                  <a:pt x="25" y="783"/>
                  <a:pt x="25" y="783"/>
                  <a:pt x="24" y="783"/>
                </a:cubicBezTo>
                <a:cubicBezTo>
                  <a:pt x="23" y="784"/>
                  <a:pt x="22" y="784"/>
                  <a:pt x="21" y="785"/>
                </a:cubicBezTo>
                <a:cubicBezTo>
                  <a:pt x="21" y="785"/>
                  <a:pt x="21" y="785"/>
                  <a:pt x="20" y="785"/>
                </a:cubicBezTo>
                <a:cubicBezTo>
                  <a:pt x="19" y="786"/>
                  <a:pt x="17" y="788"/>
                  <a:pt x="17" y="790"/>
                </a:cubicBezTo>
                <a:cubicBezTo>
                  <a:pt x="17" y="791"/>
                  <a:pt x="17" y="791"/>
                  <a:pt x="16" y="791"/>
                </a:cubicBezTo>
                <a:cubicBezTo>
                  <a:pt x="15" y="791"/>
                  <a:pt x="14" y="792"/>
                  <a:pt x="14" y="792"/>
                </a:cubicBezTo>
                <a:cubicBezTo>
                  <a:pt x="13" y="795"/>
                  <a:pt x="12" y="797"/>
                  <a:pt x="10" y="798"/>
                </a:cubicBezTo>
                <a:cubicBezTo>
                  <a:pt x="10" y="798"/>
                  <a:pt x="10" y="798"/>
                  <a:pt x="9" y="798"/>
                </a:cubicBezTo>
                <a:cubicBezTo>
                  <a:pt x="8" y="798"/>
                  <a:pt x="7" y="799"/>
                  <a:pt x="7" y="800"/>
                </a:cubicBezTo>
                <a:cubicBezTo>
                  <a:pt x="7" y="800"/>
                  <a:pt x="7" y="800"/>
                  <a:pt x="7" y="801"/>
                </a:cubicBezTo>
                <a:cubicBezTo>
                  <a:pt x="6" y="801"/>
                  <a:pt x="6" y="802"/>
                  <a:pt x="6" y="802"/>
                </a:cubicBezTo>
                <a:cubicBezTo>
                  <a:pt x="6" y="803"/>
                  <a:pt x="6" y="803"/>
                  <a:pt x="6" y="804"/>
                </a:cubicBezTo>
                <a:cubicBezTo>
                  <a:pt x="6" y="804"/>
                  <a:pt x="5" y="806"/>
                  <a:pt x="5" y="807"/>
                </a:cubicBezTo>
                <a:cubicBezTo>
                  <a:pt x="5" y="810"/>
                  <a:pt x="4" y="812"/>
                  <a:pt x="4" y="815"/>
                </a:cubicBezTo>
                <a:cubicBezTo>
                  <a:pt x="4" y="815"/>
                  <a:pt x="4" y="816"/>
                  <a:pt x="4" y="816"/>
                </a:cubicBezTo>
                <a:cubicBezTo>
                  <a:pt x="3" y="817"/>
                  <a:pt x="3" y="819"/>
                  <a:pt x="3" y="821"/>
                </a:cubicBezTo>
                <a:cubicBezTo>
                  <a:pt x="3" y="822"/>
                  <a:pt x="3" y="823"/>
                  <a:pt x="3" y="824"/>
                </a:cubicBezTo>
                <a:cubicBezTo>
                  <a:pt x="3" y="824"/>
                  <a:pt x="3" y="825"/>
                  <a:pt x="4" y="825"/>
                </a:cubicBezTo>
                <a:cubicBezTo>
                  <a:pt x="4" y="826"/>
                  <a:pt x="4" y="827"/>
                  <a:pt x="5" y="828"/>
                </a:cubicBezTo>
                <a:cubicBezTo>
                  <a:pt x="5" y="832"/>
                  <a:pt x="6" y="834"/>
                  <a:pt x="8" y="837"/>
                </a:cubicBezTo>
                <a:cubicBezTo>
                  <a:pt x="8" y="837"/>
                  <a:pt x="8" y="837"/>
                  <a:pt x="8" y="837"/>
                </a:cubicBezTo>
                <a:cubicBezTo>
                  <a:pt x="8" y="839"/>
                  <a:pt x="9" y="840"/>
                  <a:pt x="9" y="841"/>
                </a:cubicBezTo>
                <a:cubicBezTo>
                  <a:pt x="10" y="841"/>
                  <a:pt x="10" y="841"/>
                  <a:pt x="10" y="841"/>
                </a:cubicBezTo>
                <a:cubicBezTo>
                  <a:pt x="12" y="842"/>
                  <a:pt x="13" y="843"/>
                  <a:pt x="12" y="845"/>
                </a:cubicBezTo>
                <a:cubicBezTo>
                  <a:pt x="12" y="846"/>
                  <a:pt x="12" y="848"/>
                  <a:pt x="13" y="848"/>
                </a:cubicBezTo>
                <a:cubicBezTo>
                  <a:pt x="13" y="849"/>
                  <a:pt x="14" y="850"/>
                  <a:pt x="15" y="850"/>
                </a:cubicBezTo>
                <a:cubicBezTo>
                  <a:pt x="15" y="851"/>
                  <a:pt x="16" y="851"/>
                  <a:pt x="16" y="851"/>
                </a:cubicBezTo>
                <a:cubicBezTo>
                  <a:pt x="18" y="851"/>
                  <a:pt x="18" y="852"/>
                  <a:pt x="17" y="853"/>
                </a:cubicBezTo>
                <a:cubicBezTo>
                  <a:pt x="17" y="854"/>
                  <a:pt x="17" y="854"/>
                  <a:pt x="17" y="855"/>
                </a:cubicBezTo>
                <a:cubicBezTo>
                  <a:pt x="18" y="855"/>
                  <a:pt x="18" y="855"/>
                  <a:pt x="18" y="856"/>
                </a:cubicBezTo>
                <a:cubicBezTo>
                  <a:pt x="19" y="856"/>
                  <a:pt x="19" y="857"/>
                  <a:pt x="20" y="857"/>
                </a:cubicBezTo>
                <a:cubicBezTo>
                  <a:pt x="22" y="858"/>
                  <a:pt x="23" y="860"/>
                  <a:pt x="23" y="862"/>
                </a:cubicBezTo>
                <a:cubicBezTo>
                  <a:pt x="23" y="863"/>
                  <a:pt x="23" y="863"/>
                  <a:pt x="24" y="863"/>
                </a:cubicBezTo>
                <a:cubicBezTo>
                  <a:pt x="24" y="864"/>
                  <a:pt x="25" y="865"/>
                  <a:pt x="26" y="865"/>
                </a:cubicBezTo>
                <a:cubicBezTo>
                  <a:pt x="26" y="865"/>
                  <a:pt x="26" y="866"/>
                  <a:pt x="27" y="866"/>
                </a:cubicBezTo>
                <a:cubicBezTo>
                  <a:pt x="28" y="866"/>
                  <a:pt x="29" y="866"/>
                  <a:pt x="30" y="867"/>
                </a:cubicBezTo>
                <a:cubicBezTo>
                  <a:pt x="31" y="868"/>
                  <a:pt x="32" y="868"/>
                  <a:pt x="34" y="868"/>
                </a:cubicBezTo>
                <a:cubicBezTo>
                  <a:pt x="35" y="868"/>
                  <a:pt x="36" y="868"/>
                  <a:pt x="37" y="868"/>
                </a:cubicBezTo>
                <a:cubicBezTo>
                  <a:pt x="39" y="868"/>
                  <a:pt x="40" y="869"/>
                  <a:pt x="39" y="871"/>
                </a:cubicBezTo>
                <a:cubicBezTo>
                  <a:pt x="39" y="872"/>
                  <a:pt x="39" y="872"/>
                  <a:pt x="39" y="873"/>
                </a:cubicBezTo>
                <a:cubicBezTo>
                  <a:pt x="38" y="874"/>
                  <a:pt x="37" y="875"/>
                  <a:pt x="37" y="878"/>
                </a:cubicBezTo>
                <a:cubicBezTo>
                  <a:pt x="38" y="878"/>
                  <a:pt x="37" y="879"/>
                  <a:pt x="38" y="879"/>
                </a:cubicBezTo>
                <a:cubicBezTo>
                  <a:pt x="38" y="880"/>
                  <a:pt x="38" y="881"/>
                  <a:pt x="38" y="883"/>
                </a:cubicBezTo>
                <a:cubicBezTo>
                  <a:pt x="38" y="885"/>
                  <a:pt x="37" y="887"/>
                  <a:pt x="35" y="887"/>
                </a:cubicBezTo>
                <a:cubicBezTo>
                  <a:pt x="35" y="888"/>
                  <a:pt x="34" y="888"/>
                  <a:pt x="34" y="887"/>
                </a:cubicBezTo>
                <a:cubicBezTo>
                  <a:pt x="32" y="888"/>
                  <a:pt x="31" y="890"/>
                  <a:pt x="30" y="891"/>
                </a:cubicBezTo>
                <a:cubicBezTo>
                  <a:pt x="30" y="892"/>
                  <a:pt x="30" y="892"/>
                  <a:pt x="30" y="892"/>
                </a:cubicBezTo>
                <a:cubicBezTo>
                  <a:pt x="30" y="893"/>
                  <a:pt x="29" y="893"/>
                  <a:pt x="29" y="893"/>
                </a:cubicBezTo>
                <a:cubicBezTo>
                  <a:pt x="28" y="894"/>
                  <a:pt x="27" y="895"/>
                  <a:pt x="27" y="897"/>
                </a:cubicBezTo>
                <a:cubicBezTo>
                  <a:pt x="27" y="897"/>
                  <a:pt x="27" y="898"/>
                  <a:pt x="27" y="898"/>
                </a:cubicBezTo>
                <a:cubicBezTo>
                  <a:pt x="26" y="900"/>
                  <a:pt x="25" y="902"/>
                  <a:pt x="23" y="902"/>
                </a:cubicBezTo>
                <a:cubicBezTo>
                  <a:pt x="21" y="903"/>
                  <a:pt x="20" y="905"/>
                  <a:pt x="21" y="908"/>
                </a:cubicBezTo>
                <a:cubicBezTo>
                  <a:pt x="21" y="909"/>
                  <a:pt x="20" y="909"/>
                  <a:pt x="20" y="909"/>
                </a:cubicBezTo>
                <a:cubicBezTo>
                  <a:pt x="19" y="910"/>
                  <a:pt x="18" y="912"/>
                  <a:pt x="18" y="915"/>
                </a:cubicBezTo>
                <a:cubicBezTo>
                  <a:pt x="18" y="916"/>
                  <a:pt x="19" y="917"/>
                  <a:pt x="19" y="919"/>
                </a:cubicBezTo>
                <a:cubicBezTo>
                  <a:pt x="19" y="919"/>
                  <a:pt x="19" y="920"/>
                  <a:pt x="19" y="920"/>
                </a:cubicBezTo>
                <a:cubicBezTo>
                  <a:pt x="20" y="920"/>
                  <a:pt x="20" y="921"/>
                  <a:pt x="19" y="922"/>
                </a:cubicBezTo>
                <a:cubicBezTo>
                  <a:pt x="19" y="922"/>
                  <a:pt x="19" y="923"/>
                  <a:pt x="18" y="924"/>
                </a:cubicBezTo>
                <a:cubicBezTo>
                  <a:pt x="18" y="924"/>
                  <a:pt x="18" y="924"/>
                  <a:pt x="18" y="925"/>
                </a:cubicBezTo>
                <a:cubicBezTo>
                  <a:pt x="20" y="927"/>
                  <a:pt x="24" y="930"/>
                  <a:pt x="28" y="933"/>
                </a:cubicBezTo>
                <a:cubicBezTo>
                  <a:pt x="31" y="934"/>
                  <a:pt x="32" y="938"/>
                  <a:pt x="32" y="943"/>
                </a:cubicBezTo>
                <a:cubicBezTo>
                  <a:pt x="31" y="946"/>
                  <a:pt x="33" y="950"/>
                  <a:pt x="36" y="956"/>
                </a:cubicBezTo>
                <a:cubicBezTo>
                  <a:pt x="39" y="962"/>
                  <a:pt x="41" y="966"/>
                  <a:pt x="41" y="966"/>
                </a:cubicBezTo>
                <a:cubicBezTo>
                  <a:pt x="41" y="967"/>
                  <a:pt x="43" y="970"/>
                  <a:pt x="44" y="977"/>
                </a:cubicBezTo>
                <a:cubicBezTo>
                  <a:pt x="47" y="983"/>
                  <a:pt x="50" y="986"/>
                  <a:pt x="53" y="987"/>
                </a:cubicBezTo>
                <a:cubicBezTo>
                  <a:pt x="55" y="987"/>
                  <a:pt x="57" y="986"/>
                  <a:pt x="60" y="985"/>
                </a:cubicBezTo>
                <a:cubicBezTo>
                  <a:pt x="63" y="983"/>
                  <a:pt x="65" y="983"/>
                  <a:pt x="68" y="983"/>
                </a:cubicBezTo>
                <a:cubicBezTo>
                  <a:pt x="82" y="985"/>
                  <a:pt x="89" y="988"/>
                  <a:pt x="88" y="994"/>
                </a:cubicBezTo>
                <a:cubicBezTo>
                  <a:pt x="88" y="994"/>
                  <a:pt x="87" y="996"/>
                  <a:pt x="85" y="997"/>
                </a:cubicBezTo>
                <a:cubicBezTo>
                  <a:pt x="87" y="999"/>
                  <a:pt x="90" y="1000"/>
                  <a:pt x="93" y="1000"/>
                </a:cubicBezTo>
                <a:cubicBezTo>
                  <a:pt x="94" y="1000"/>
                  <a:pt x="96" y="1000"/>
                  <a:pt x="98" y="999"/>
                </a:cubicBezTo>
                <a:cubicBezTo>
                  <a:pt x="100" y="1000"/>
                  <a:pt x="104" y="1001"/>
                  <a:pt x="110" y="1003"/>
                </a:cubicBezTo>
                <a:cubicBezTo>
                  <a:pt x="114" y="1003"/>
                  <a:pt x="120" y="1002"/>
                  <a:pt x="128" y="999"/>
                </a:cubicBezTo>
                <a:cubicBezTo>
                  <a:pt x="145" y="1014"/>
                  <a:pt x="157" y="1022"/>
                  <a:pt x="161" y="1023"/>
                </a:cubicBezTo>
                <a:cubicBezTo>
                  <a:pt x="164" y="1023"/>
                  <a:pt x="170" y="1025"/>
                  <a:pt x="177" y="1028"/>
                </a:cubicBezTo>
                <a:cubicBezTo>
                  <a:pt x="179" y="1028"/>
                  <a:pt x="182" y="1027"/>
                  <a:pt x="185" y="1026"/>
                </a:cubicBezTo>
                <a:cubicBezTo>
                  <a:pt x="186" y="1026"/>
                  <a:pt x="191" y="1029"/>
                  <a:pt x="200" y="1034"/>
                </a:cubicBezTo>
                <a:cubicBezTo>
                  <a:pt x="209" y="1039"/>
                  <a:pt x="216" y="1043"/>
                  <a:pt x="219" y="1045"/>
                </a:cubicBezTo>
                <a:lnTo>
                  <a:pt x="220" y="1045"/>
                </a:lnTo>
                <a:cubicBezTo>
                  <a:pt x="215" y="1047"/>
                  <a:pt x="209" y="1052"/>
                  <a:pt x="204" y="1060"/>
                </a:cubicBezTo>
                <a:cubicBezTo>
                  <a:pt x="198" y="1071"/>
                  <a:pt x="194" y="1077"/>
                  <a:pt x="192" y="1079"/>
                </a:cubicBezTo>
                <a:cubicBezTo>
                  <a:pt x="188" y="1083"/>
                  <a:pt x="181" y="1088"/>
                  <a:pt x="172" y="1094"/>
                </a:cubicBezTo>
                <a:cubicBezTo>
                  <a:pt x="166" y="1100"/>
                  <a:pt x="162" y="1106"/>
                  <a:pt x="160" y="1112"/>
                </a:cubicBezTo>
                <a:cubicBezTo>
                  <a:pt x="156" y="1127"/>
                  <a:pt x="149" y="1141"/>
                  <a:pt x="140" y="1156"/>
                </a:cubicBezTo>
                <a:cubicBezTo>
                  <a:pt x="138" y="1160"/>
                  <a:pt x="133" y="1166"/>
                  <a:pt x="126" y="1175"/>
                </a:cubicBezTo>
                <a:cubicBezTo>
                  <a:pt x="121" y="1183"/>
                  <a:pt x="117" y="1190"/>
                  <a:pt x="117" y="1197"/>
                </a:cubicBezTo>
                <a:cubicBezTo>
                  <a:pt x="116" y="1198"/>
                  <a:pt x="118" y="1200"/>
                  <a:pt x="121" y="1202"/>
                </a:cubicBezTo>
                <a:cubicBezTo>
                  <a:pt x="125" y="1205"/>
                  <a:pt x="126" y="1208"/>
                  <a:pt x="126" y="1211"/>
                </a:cubicBezTo>
                <a:cubicBezTo>
                  <a:pt x="125" y="1214"/>
                  <a:pt x="122" y="1220"/>
                  <a:pt x="116" y="1228"/>
                </a:cubicBezTo>
                <a:cubicBezTo>
                  <a:pt x="110" y="1237"/>
                  <a:pt x="107" y="1244"/>
                  <a:pt x="106" y="1251"/>
                </a:cubicBezTo>
                <a:cubicBezTo>
                  <a:pt x="106" y="1259"/>
                  <a:pt x="107" y="1267"/>
                  <a:pt x="110" y="1275"/>
                </a:cubicBezTo>
                <a:cubicBezTo>
                  <a:pt x="111" y="1275"/>
                  <a:pt x="111" y="1275"/>
                  <a:pt x="111" y="1275"/>
                </a:cubicBezTo>
                <a:cubicBezTo>
                  <a:pt x="115" y="1284"/>
                  <a:pt x="121" y="1288"/>
                  <a:pt x="128" y="1289"/>
                </a:cubicBezTo>
                <a:cubicBezTo>
                  <a:pt x="131" y="1289"/>
                  <a:pt x="135" y="1288"/>
                  <a:pt x="138" y="1286"/>
                </a:cubicBezTo>
                <a:cubicBezTo>
                  <a:pt x="142" y="1284"/>
                  <a:pt x="144" y="1283"/>
                  <a:pt x="145" y="1283"/>
                </a:cubicBezTo>
                <a:cubicBezTo>
                  <a:pt x="148" y="1284"/>
                  <a:pt x="151" y="1285"/>
                  <a:pt x="153" y="1288"/>
                </a:cubicBezTo>
                <a:cubicBezTo>
                  <a:pt x="156" y="1291"/>
                  <a:pt x="159" y="1292"/>
                  <a:pt x="162" y="1292"/>
                </a:cubicBezTo>
                <a:cubicBezTo>
                  <a:pt x="165" y="1293"/>
                  <a:pt x="169" y="1291"/>
                  <a:pt x="176" y="1287"/>
                </a:cubicBezTo>
                <a:cubicBezTo>
                  <a:pt x="183" y="1283"/>
                  <a:pt x="187" y="1281"/>
                  <a:pt x="189" y="1281"/>
                </a:cubicBezTo>
                <a:cubicBezTo>
                  <a:pt x="194" y="1282"/>
                  <a:pt x="197" y="1284"/>
                  <a:pt x="199" y="1288"/>
                </a:cubicBezTo>
                <a:cubicBezTo>
                  <a:pt x="202" y="1292"/>
                  <a:pt x="206" y="1295"/>
                  <a:pt x="212" y="1295"/>
                </a:cubicBezTo>
                <a:cubicBezTo>
                  <a:pt x="217" y="1296"/>
                  <a:pt x="222" y="1294"/>
                  <a:pt x="228" y="1289"/>
                </a:cubicBezTo>
                <a:lnTo>
                  <a:pt x="229" y="1280"/>
                </a:lnTo>
                <a:lnTo>
                  <a:pt x="217" y="1279"/>
                </a:lnTo>
                <a:cubicBezTo>
                  <a:pt x="216" y="1276"/>
                  <a:pt x="215" y="1274"/>
                  <a:pt x="215" y="1272"/>
                </a:cubicBezTo>
                <a:cubicBezTo>
                  <a:pt x="216" y="1269"/>
                  <a:pt x="218" y="1266"/>
                  <a:pt x="223" y="1262"/>
                </a:cubicBezTo>
                <a:cubicBezTo>
                  <a:pt x="229" y="1259"/>
                  <a:pt x="233" y="1257"/>
                  <a:pt x="236" y="1257"/>
                </a:cubicBezTo>
                <a:cubicBezTo>
                  <a:pt x="237" y="1258"/>
                  <a:pt x="239" y="1259"/>
                  <a:pt x="243" y="1261"/>
                </a:cubicBezTo>
                <a:cubicBezTo>
                  <a:pt x="247" y="1264"/>
                  <a:pt x="249" y="1266"/>
                  <a:pt x="251" y="1266"/>
                </a:cubicBezTo>
                <a:lnTo>
                  <a:pt x="250" y="1278"/>
                </a:lnTo>
                <a:lnTo>
                  <a:pt x="251" y="1279"/>
                </a:lnTo>
                <a:cubicBezTo>
                  <a:pt x="254" y="1280"/>
                  <a:pt x="256" y="1279"/>
                  <a:pt x="257" y="1277"/>
                </a:cubicBezTo>
                <a:cubicBezTo>
                  <a:pt x="258" y="1274"/>
                  <a:pt x="259" y="1272"/>
                  <a:pt x="259" y="1272"/>
                </a:cubicBezTo>
                <a:cubicBezTo>
                  <a:pt x="261" y="1272"/>
                  <a:pt x="263" y="1274"/>
                  <a:pt x="265" y="1279"/>
                </a:cubicBezTo>
                <a:cubicBezTo>
                  <a:pt x="267" y="1283"/>
                  <a:pt x="269" y="1286"/>
                  <a:pt x="271" y="1286"/>
                </a:cubicBezTo>
                <a:cubicBezTo>
                  <a:pt x="273" y="1286"/>
                  <a:pt x="276" y="1286"/>
                  <a:pt x="280" y="1285"/>
                </a:cubicBezTo>
                <a:cubicBezTo>
                  <a:pt x="284" y="1283"/>
                  <a:pt x="286" y="1283"/>
                  <a:pt x="288" y="1283"/>
                </a:cubicBezTo>
                <a:cubicBezTo>
                  <a:pt x="292" y="1284"/>
                  <a:pt x="297" y="1285"/>
                  <a:pt x="301" y="1286"/>
                </a:cubicBezTo>
                <a:lnTo>
                  <a:pt x="302" y="1286"/>
                </a:lnTo>
                <a:cubicBezTo>
                  <a:pt x="302" y="1286"/>
                  <a:pt x="302" y="1286"/>
                  <a:pt x="302" y="1287"/>
                </a:cubicBezTo>
                <a:cubicBezTo>
                  <a:pt x="303" y="1289"/>
                  <a:pt x="304" y="1290"/>
                  <a:pt x="307" y="1292"/>
                </a:cubicBezTo>
                <a:cubicBezTo>
                  <a:pt x="309" y="1294"/>
                  <a:pt x="311" y="1295"/>
                  <a:pt x="315" y="1298"/>
                </a:cubicBezTo>
                <a:cubicBezTo>
                  <a:pt x="322" y="1303"/>
                  <a:pt x="326" y="1307"/>
                  <a:pt x="328" y="1311"/>
                </a:cubicBezTo>
                <a:cubicBezTo>
                  <a:pt x="330" y="1317"/>
                  <a:pt x="336" y="1321"/>
                  <a:pt x="345" y="1323"/>
                </a:cubicBezTo>
                <a:cubicBezTo>
                  <a:pt x="346" y="1324"/>
                  <a:pt x="347" y="1324"/>
                  <a:pt x="349" y="1325"/>
                </a:cubicBezTo>
                <a:cubicBezTo>
                  <a:pt x="352" y="1324"/>
                  <a:pt x="356" y="1323"/>
                  <a:pt x="362" y="1322"/>
                </a:cubicBezTo>
                <a:cubicBezTo>
                  <a:pt x="366" y="1321"/>
                  <a:pt x="369" y="1318"/>
                  <a:pt x="369" y="1313"/>
                </a:cubicBezTo>
                <a:cubicBezTo>
                  <a:pt x="369" y="1313"/>
                  <a:pt x="369" y="1313"/>
                  <a:pt x="369" y="1313"/>
                </a:cubicBezTo>
                <a:lnTo>
                  <a:pt x="369" y="1312"/>
                </a:lnTo>
                <a:cubicBezTo>
                  <a:pt x="372" y="1312"/>
                  <a:pt x="374" y="1311"/>
                  <a:pt x="375" y="1310"/>
                </a:cubicBezTo>
                <a:lnTo>
                  <a:pt x="378" y="1310"/>
                </a:lnTo>
                <a:cubicBezTo>
                  <a:pt x="376" y="1315"/>
                  <a:pt x="378" y="1318"/>
                  <a:pt x="382" y="1319"/>
                </a:cubicBezTo>
                <a:cubicBezTo>
                  <a:pt x="390" y="1321"/>
                  <a:pt x="394" y="1323"/>
                  <a:pt x="394" y="1323"/>
                </a:cubicBezTo>
                <a:cubicBezTo>
                  <a:pt x="397" y="1325"/>
                  <a:pt x="402" y="1328"/>
                  <a:pt x="409" y="1334"/>
                </a:cubicBezTo>
                <a:lnTo>
                  <a:pt x="408" y="1339"/>
                </a:lnTo>
                <a:cubicBezTo>
                  <a:pt x="407" y="1340"/>
                  <a:pt x="406" y="1342"/>
                  <a:pt x="405" y="1347"/>
                </a:cubicBezTo>
                <a:lnTo>
                  <a:pt x="405" y="1350"/>
                </a:lnTo>
                <a:lnTo>
                  <a:pt x="415" y="1351"/>
                </a:lnTo>
                <a:cubicBezTo>
                  <a:pt x="420" y="1352"/>
                  <a:pt x="423" y="1353"/>
                  <a:pt x="423" y="1355"/>
                </a:cubicBezTo>
                <a:cubicBezTo>
                  <a:pt x="423" y="1357"/>
                  <a:pt x="421" y="1359"/>
                  <a:pt x="419" y="1361"/>
                </a:cubicBezTo>
                <a:cubicBezTo>
                  <a:pt x="416" y="1363"/>
                  <a:pt x="415" y="1364"/>
                  <a:pt x="415" y="1366"/>
                </a:cubicBezTo>
                <a:cubicBezTo>
                  <a:pt x="414" y="1367"/>
                  <a:pt x="415" y="1368"/>
                  <a:pt x="418" y="1368"/>
                </a:cubicBezTo>
                <a:cubicBezTo>
                  <a:pt x="424" y="1369"/>
                  <a:pt x="432" y="1366"/>
                  <a:pt x="441" y="1359"/>
                </a:cubicBezTo>
                <a:cubicBezTo>
                  <a:pt x="450" y="1352"/>
                  <a:pt x="455" y="1345"/>
                  <a:pt x="456" y="1339"/>
                </a:cubicBezTo>
                <a:cubicBezTo>
                  <a:pt x="456" y="1338"/>
                  <a:pt x="455" y="1336"/>
                  <a:pt x="453" y="1335"/>
                </a:cubicBezTo>
                <a:cubicBezTo>
                  <a:pt x="451" y="1333"/>
                  <a:pt x="451" y="1330"/>
                  <a:pt x="451" y="1327"/>
                </a:cubicBezTo>
                <a:cubicBezTo>
                  <a:pt x="451" y="1323"/>
                  <a:pt x="453" y="1320"/>
                  <a:pt x="455" y="1318"/>
                </a:cubicBezTo>
                <a:cubicBezTo>
                  <a:pt x="456" y="1321"/>
                  <a:pt x="456" y="1323"/>
                  <a:pt x="456" y="1324"/>
                </a:cubicBezTo>
                <a:cubicBezTo>
                  <a:pt x="457" y="1326"/>
                  <a:pt x="459" y="1327"/>
                  <a:pt x="461" y="1327"/>
                </a:cubicBezTo>
                <a:cubicBezTo>
                  <a:pt x="462" y="1327"/>
                  <a:pt x="464" y="1326"/>
                  <a:pt x="467" y="1325"/>
                </a:cubicBezTo>
                <a:cubicBezTo>
                  <a:pt x="469" y="1323"/>
                  <a:pt x="472" y="1323"/>
                  <a:pt x="473" y="1323"/>
                </a:cubicBezTo>
                <a:cubicBezTo>
                  <a:pt x="475" y="1323"/>
                  <a:pt x="479" y="1324"/>
                  <a:pt x="484" y="1327"/>
                </a:cubicBezTo>
                <a:cubicBezTo>
                  <a:pt x="489" y="1330"/>
                  <a:pt x="492" y="1331"/>
                  <a:pt x="493" y="1330"/>
                </a:cubicBezTo>
                <a:lnTo>
                  <a:pt x="504" y="1331"/>
                </a:lnTo>
                <a:cubicBezTo>
                  <a:pt x="504" y="1338"/>
                  <a:pt x="511" y="1346"/>
                  <a:pt x="525" y="1356"/>
                </a:cubicBezTo>
                <a:cubicBezTo>
                  <a:pt x="528" y="1357"/>
                  <a:pt x="533" y="1356"/>
                  <a:pt x="540" y="1353"/>
                </a:cubicBezTo>
                <a:cubicBezTo>
                  <a:pt x="542" y="1353"/>
                  <a:pt x="545" y="1355"/>
                  <a:pt x="549" y="1358"/>
                </a:cubicBezTo>
                <a:cubicBezTo>
                  <a:pt x="551" y="1358"/>
                  <a:pt x="554" y="1356"/>
                  <a:pt x="558" y="1350"/>
                </a:cubicBezTo>
                <a:cubicBezTo>
                  <a:pt x="558" y="1350"/>
                  <a:pt x="560" y="1350"/>
                  <a:pt x="564" y="1350"/>
                </a:cubicBezTo>
                <a:cubicBezTo>
                  <a:pt x="566" y="1349"/>
                  <a:pt x="567" y="1348"/>
                  <a:pt x="569" y="1345"/>
                </a:cubicBezTo>
                <a:cubicBezTo>
                  <a:pt x="571" y="1341"/>
                  <a:pt x="574" y="1339"/>
                  <a:pt x="579" y="1339"/>
                </a:cubicBezTo>
                <a:cubicBezTo>
                  <a:pt x="584" y="1339"/>
                  <a:pt x="587" y="1338"/>
                  <a:pt x="589" y="1335"/>
                </a:cubicBezTo>
                <a:cubicBezTo>
                  <a:pt x="592" y="1332"/>
                  <a:pt x="595" y="1330"/>
                  <a:pt x="599" y="1329"/>
                </a:cubicBezTo>
                <a:cubicBezTo>
                  <a:pt x="601" y="1329"/>
                  <a:pt x="605" y="1329"/>
                  <a:pt x="610" y="1329"/>
                </a:cubicBezTo>
                <a:cubicBezTo>
                  <a:pt x="616" y="1328"/>
                  <a:pt x="621" y="1327"/>
                  <a:pt x="624" y="1326"/>
                </a:cubicBezTo>
                <a:cubicBezTo>
                  <a:pt x="627" y="1325"/>
                  <a:pt x="630" y="1325"/>
                  <a:pt x="633" y="1325"/>
                </a:cubicBezTo>
                <a:cubicBezTo>
                  <a:pt x="637" y="1325"/>
                  <a:pt x="643" y="1326"/>
                  <a:pt x="653" y="1327"/>
                </a:cubicBezTo>
                <a:cubicBezTo>
                  <a:pt x="662" y="1328"/>
                  <a:pt x="666" y="1326"/>
                  <a:pt x="667" y="1322"/>
                </a:cubicBezTo>
                <a:cubicBezTo>
                  <a:pt x="667" y="1321"/>
                  <a:pt x="666" y="1320"/>
                  <a:pt x="666" y="1319"/>
                </a:cubicBezTo>
                <a:cubicBezTo>
                  <a:pt x="665" y="1319"/>
                  <a:pt x="665" y="1318"/>
                  <a:pt x="665" y="1317"/>
                </a:cubicBezTo>
                <a:cubicBezTo>
                  <a:pt x="665" y="1312"/>
                  <a:pt x="668" y="1308"/>
                  <a:pt x="672" y="1308"/>
                </a:cubicBezTo>
                <a:cubicBezTo>
                  <a:pt x="672" y="1310"/>
                  <a:pt x="672" y="1311"/>
                  <a:pt x="671" y="1313"/>
                </a:cubicBezTo>
                <a:cubicBezTo>
                  <a:pt x="677" y="1314"/>
                  <a:pt x="683" y="1315"/>
                  <a:pt x="692" y="1315"/>
                </a:cubicBezTo>
                <a:lnTo>
                  <a:pt x="691" y="1315"/>
                </a:lnTo>
                <a:cubicBezTo>
                  <a:pt x="692" y="1316"/>
                  <a:pt x="692" y="1317"/>
                  <a:pt x="692" y="1319"/>
                </a:cubicBezTo>
                <a:cubicBezTo>
                  <a:pt x="693" y="1320"/>
                  <a:pt x="694" y="1321"/>
                  <a:pt x="697" y="1324"/>
                </a:cubicBezTo>
                <a:cubicBezTo>
                  <a:pt x="698" y="1326"/>
                  <a:pt x="700" y="1327"/>
                  <a:pt x="703" y="1328"/>
                </a:cubicBezTo>
                <a:cubicBezTo>
                  <a:pt x="703" y="1327"/>
                  <a:pt x="703" y="1327"/>
                  <a:pt x="703" y="1327"/>
                </a:cubicBezTo>
                <a:cubicBezTo>
                  <a:pt x="705" y="1326"/>
                  <a:pt x="708" y="1325"/>
                  <a:pt x="713" y="1322"/>
                </a:cubicBezTo>
                <a:cubicBezTo>
                  <a:pt x="716" y="1321"/>
                  <a:pt x="720" y="1320"/>
                  <a:pt x="724" y="1320"/>
                </a:cubicBezTo>
                <a:cubicBezTo>
                  <a:pt x="727" y="1320"/>
                  <a:pt x="730" y="1322"/>
                  <a:pt x="734" y="1324"/>
                </a:cubicBezTo>
                <a:cubicBezTo>
                  <a:pt x="738" y="1326"/>
                  <a:pt x="740" y="1329"/>
                  <a:pt x="739" y="1332"/>
                </a:cubicBezTo>
                <a:cubicBezTo>
                  <a:pt x="739" y="1333"/>
                  <a:pt x="738" y="1334"/>
                  <a:pt x="737" y="1335"/>
                </a:cubicBezTo>
                <a:cubicBezTo>
                  <a:pt x="736" y="1335"/>
                  <a:pt x="735" y="1336"/>
                  <a:pt x="735" y="1337"/>
                </a:cubicBezTo>
                <a:cubicBezTo>
                  <a:pt x="735" y="1338"/>
                  <a:pt x="739" y="1342"/>
                  <a:pt x="748" y="1349"/>
                </a:cubicBezTo>
                <a:cubicBezTo>
                  <a:pt x="756" y="1355"/>
                  <a:pt x="762" y="1359"/>
                  <a:pt x="765" y="1360"/>
                </a:cubicBezTo>
                <a:cubicBezTo>
                  <a:pt x="766" y="1358"/>
                  <a:pt x="766" y="1356"/>
                  <a:pt x="766" y="1355"/>
                </a:cubicBezTo>
                <a:cubicBezTo>
                  <a:pt x="764" y="1349"/>
                  <a:pt x="764" y="1344"/>
                  <a:pt x="764" y="1342"/>
                </a:cubicBezTo>
                <a:cubicBezTo>
                  <a:pt x="764" y="1340"/>
                  <a:pt x="765" y="1339"/>
                  <a:pt x="767" y="1336"/>
                </a:cubicBezTo>
                <a:cubicBezTo>
                  <a:pt x="769" y="1334"/>
                  <a:pt x="770" y="1330"/>
                  <a:pt x="770" y="1327"/>
                </a:cubicBezTo>
                <a:cubicBezTo>
                  <a:pt x="771" y="1323"/>
                  <a:pt x="770" y="1320"/>
                  <a:pt x="768" y="1318"/>
                </a:cubicBezTo>
                <a:cubicBezTo>
                  <a:pt x="767" y="1317"/>
                  <a:pt x="765" y="1316"/>
                  <a:pt x="762" y="1315"/>
                </a:cubicBezTo>
                <a:cubicBezTo>
                  <a:pt x="756" y="1313"/>
                  <a:pt x="753" y="1309"/>
                  <a:pt x="753" y="1303"/>
                </a:cubicBezTo>
                <a:cubicBezTo>
                  <a:pt x="754" y="1302"/>
                  <a:pt x="755" y="1300"/>
                  <a:pt x="757" y="1298"/>
                </a:cubicBezTo>
                <a:cubicBezTo>
                  <a:pt x="760" y="1295"/>
                  <a:pt x="761" y="1293"/>
                  <a:pt x="761" y="1290"/>
                </a:cubicBezTo>
                <a:cubicBezTo>
                  <a:pt x="762" y="1287"/>
                  <a:pt x="757" y="1280"/>
                  <a:pt x="749" y="1268"/>
                </a:cubicBezTo>
                <a:cubicBezTo>
                  <a:pt x="740" y="1256"/>
                  <a:pt x="736" y="1249"/>
                  <a:pt x="736" y="1246"/>
                </a:cubicBezTo>
                <a:cubicBezTo>
                  <a:pt x="737" y="1243"/>
                  <a:pt x="739" y="1240"/>
                  <a:pt x="745" y="1237"/>
                </a:cubicBezTo>
                <a:cubicBezTo>
                  <a:pt x="750" y="1233"/>
                  <a:pt x="752" y="1230"/>
                  <a:pt x="752" y="1226"/>
                </a:cubicBezTo>
                <a:cubicBezTo>
                  <a:pt x="755" y="1228"/>
                  <a:pt x="759" y="1228"/>
                  <a:pt x="763" y="1225"/>
                </a:cubicBezTo>
                <a:cubicBezTo>
                  <a:pt x="767" y="1222"/>
                  <a:pt x="771" y="1220"/>
                  <a:pt x="773" y="1219"/>
                </a:cubicBezTo>
                <a:cubicBezTo>
                  <a:pt x="778" y="1217"/>
                  <a:pt x="785" y="1215"/>
                  <a:pt x="794" y="1213"/>
                </a:cubicBezTo>
                <a:cubicBezTo>
                  <a:pt x="810" y="1211"/>
                  <a:pt x="819" y="1199"/>
                  <a:pt x="821" y="1178"/>
                </a:cubicBezTo>
                <a:cubicBezTo>
                  <a:pt x="822" y="1172"/>
                  <a:pt x="823" y="1168"/>
                  <a:pt x="826" y="1167"/>
                </a:cubicBezTo>
                <a:cubicBezTo>
                  <a:pt x="828" y="1165"/>
                  <a:pt x="832" y="1165"/>
                  <a:pt x="838" y="1166"/>
                </a:cubicBezTo>
                <a:cubicBezTo>
                  <a:pt x="839" y="1166"/>
                  <a:pt x="846" y="1170"/>
                  <a:pt x="860" y="1177"/>
                </a:cubicBezTo>
                <a:cubicBezTo>
                  <a:pt x="861" y="1170"/>
                  <a:pt x="865" y="1165"/>
                  <a:pt x="870" y="1162"/>
                </a:cubicBezTo>
                <a:cubicBezTo>
                  <a:pt x="869" y="1160"/>
                  <a:pt x="868" y="1157"/>
                  <a:pt x="868" y="1156"/>
                </a:cubicBezTo>
                <a:cubicBezTo>
                  <a:pt x="868" y="1153"/>
                  <a:pt x="869" y="1151"/>
                  <a:pt x="870" y="1148"/>
                </a:cubicBezTo>
                <a:cubicBezTo>
                  <a:pt x="872" y="1144"/>
                  <a:pt x="872" y="1142"/>
                  <a:pt x="873" y="1139"/>
                </a:cubicBezTo>
                <a:cubicBezTo>
                  <a:pt x="873" y="1139"/>
                  <a:pt x="872" y="1137"/>
                  <a:pt x="872" y="1135"/>
                </a:cubicBezTo>
                <a:cubicBezTo>
                  <a:pt x="871" y="1133"/>
                  <a:pt x="869" y="1130"/>
                  <a:pt x="868" y="1127"/>
                </a:cubicBezTo>
                <a:cubicBezTo>
                  <a:pt x="864" y="1120"/>
                  <a:pt x="861" y="1116"/>
                  <a:pt x="859" y="1115"/>
                </a:cubicBezTo>
                <a:cubicBezTo>
                  <a:pt x="853" y="1111"/>
                  <a:pt x="849" y="1108"/>
                  <a:pt x="848" y="1106"/>
                </a:cubicBezTo>
                <a:cubicBezTo>
                  <a:pt x="844" y="1099"/>
                  <a:pt x="841" y="1095"/>
                  <a:pt x="839" y="1095"/>
                </a:cubicBezTo>
                <a:cubicBezTo>
                  <a:pt x="834" y="1094"/>
                  <a:pt x="832" y="1094"/>
                  <a:pt x="829" y="1093"/>
                </a:cubicBezTo>
                <a:cubicBezTo>
                  <a:pt x="826" y="1093"/>
                  <a:pt x="824" y="1092"/>
                  <a:pt x="822" y="1091"/>
                </a:cubicBezTo>
                <a:cubicBezTo>
                  <a:pt x="820" y="1088"/>
                  <a:pt x="817" y="1083"/>
                  <a:pt x="815" y="1079"/>
                </a:cubicBezTo>
                <a:cubicBezTo>
                  <a:pt x="814" y="1075"/>
                  <a:pt x="812" y="1073"/>
                  <a:pt x="810" y="1071"/>
                </a:cubicBezTo>
                <a:cubicBezTo>
                  <a:pt x="806" y="1071"/>
                  <a:pt x="804" y="1071"/>
                  <a:pt x="802" y="1070"/>
                </a:cubicBezTo>
                <a:cubicBezTo>
                  <a:pt x="799" y="1070"/>
                  <a:pt x="798" y="1069"/>
                  <a:pt x="796" y="1067"/>
                </a:cubicBezTo>
                <a:cubicBezTo>
                  <a:pt x="793" y="1064"/>
                  <a:pt x="792" y="1062"/>
                  <a:pt x="792" y="1062"/>
                </a:cubicBezTo>
                <a:cubicBezTo>
                  <a:pt x="792" y="1061"/>
                  <a:pt x="788" y="1054"/>
                  <a:pt x="781" y="1041"/>
                </a:cubicBezTo>
                <a:cubicBezTo>
                  <a:pt x="781" y="1041"/>
                  <a:pt x="781" y="1041"/>
                  <a:pt x="781" y="1041"/>
                </a:cubicBezTo>
                <a:cubicBezTo>
                  <a:pt x="781" y="1039"/>
                  <a:pt x="780" y="1036"/>
                  <a:pt x="779" y="1033"/>
                </a:cubicBezTo>
                <a:cubicBezTo>
                  <a:pt x="777" y="1030"/>
                  <a:pt x="775" y="1028"/>
                  <a:pt x="773" y="1028"/>
                </a:cubicBezTo>
                <a:cubicBezTo>
                  <a:pt x="768" y="1029"/>
                  <a:pt x="766" y="1029"/>
                  <a:pt x="765" y="1029"/>
                </a:cubicBezTo>
                <a:cubicBezTo>
                  <a:pt x="760" y="1028"/>
                  <a:pt x="753" y="1023"/>
                  <a:pt x="746" y="1015"/>
                </a:cubicBezTo>
                <a:cubicBezTo>
                  <a:pt x="741" y="1010"/>
                  <a:pt x="737" y="1005"/>
                  <a:pt x="734" y="1001"/>
                </a:cubicBezTo>
                <a:cubicBezTo>
                  <a:pt x="736" y="999"/>
                  <a:pt x="737" y="997"/>
                  <a:pt x="737" y="995"/>
                </a:cubicBezTo>
                <a:cubicBezTo>
                  <a:pt x="737" y="991"/>
                  <a:pt x="733" y="983"/>
                  <a:pt x="726" y="970"/>
                </a:cubicBezTo>
                <a:cubicBezTo>
                  <a:pt x="718" y="958"/>
                  <a:pt x="714" y="952"/>
                  <a:pt x="714" y="952"/>
                </a:cubicBezTo>
                <a:cubicBezTo>
                  <a:pt x="722" y="936"/>
                  <a:pt x="727" y="928"/>
                  <a:pt x="727" y="927"/>
                </a:cubicBezTo>
                <a:cubicBezTo>
                  <a:pt x="727" y="925"/>
                  <a:pt x="727" y="923"/>
                  <a:pt x="725" y="920"/>
                </a:cubicBezTo>
                <a:cubicBezTo>
                  <a:pt x="724" y="915"/>
                  <a:pt x="723" y="913"/>
                  <a:pt x="723" y="913"/>
                </a:cubicBezTo>
                <a:cubicBezTo>
                  <a:pt x="722" y="909"/>
                  <a:pt x="719" y="906"/>
                  <a:pt x="714" y="904"/>
                </a:cubicBezTo>
                <a:cubicBezTo>
                  <a:pt x="710" y="902"/>
                  <a:pt x="707" y="899"/>
                  <a:pt x="703" y="893"/>
                </a:cubicBezTo>
                <a:cubicBezTo>
                  <a:pt x="700" y="888"/>
                  <a:pt x="697" y="886"/>
                  <a:pt x="693" y="886"/>
                </a:cubicBezTo>
                <a:cubicBezTo>
                  <a:pt x="695" y="877"/>
                  <a:pt x="694" y="871"/>
                  <a:pt x="689" y="866"/>
                </a:cubicBezTo>
                <a:cubicBezTo>
                  <a:pt x="687" y="864"/>
                  <a:pt x="686" y="861"/>
                  <a:pt x="686" y="857"/>
                </a:cubicBezTo>
                <a:cubicBezTo>
                  <a:pt x="686" y="853"/>
                  <a:pt x="686" y="849"/>
                  <a:pt x="686" y="847"/>
                </a:cubicBezTo>
                <a:lnTo>
                  <a:pt x="689" y="847"/>
                </a:lnTo>
                <a:cubicBezTo>
                  <a:pt x="698" y="848"/>
                  <a:pt x="705" y="856"/>
                  <a:pt x="709" y="873"/>
                </a:cubicBezTo>
                <a:lnTo>
                  <a:pt x="711" y="873"/>
                </a:lnTo>
                <a:cubicBezTo>
                  <a:pt x="711" y="873"/>
                  <a:pt x="712" y="872"/>
                  <a:pt x="712" y="871"/>
                </a:cubicBezTo>
                <a:cubicBezTo>
                  <a:pt x="711" y="867"/>
                  <a:pt x="710" y="864"/>
                  <a:pt x="710" y="862"/>
                </a:cubicBezTo>
                <a:cubicBezTo>
                  <a:pt x="711" y="860"/>
                  <a:pt x="712" y="857"/>
                  <a:pt x="715" y="855"/>
                </a:cubicBezTo>
                <a:cubicBezTo>
                  <a:pt x="719" y="852"/>
                  <a:pt x="721" y="850"/>
                  <a:pt x="722" y="849"/>
                </a:cubicBezTo>
                <a:cubicBezTo>
                  <a:pt x="723" y="847"/>
                  <a:pt x="725" y="845"/>
                  <a:pt x="726" y="843"/>
                </a:cubicBezTo>
                <a:cubicBezTo>
                  <a:pt x="728" y="840"/>
                  <a:pt x="730" y="838"/>
                  <a:pt x="732" y="837"/>
                </a:cubicBezTo>
                <a:cubicBezTo>
                  <a:pt x="735" y="835"/>
                  <a:pt x="742" y="834"/>
                  <a:pt x="752" y="833"/>
                </a:cubicBezTo>
                <a:cubicBezTo>
                  <a:pt x="760" y="832"/>
                  <a:pt x="765" y="831"/>
                  <a:pt x="767" y="831"/>
                </a:cubicBezTo>
                <a:cubicBezTo>
                  <a:pt x="768" y="831"/>
                  <a:pt x="770" y="832"/>
                  <a:pt x="771" y="834"/>
                </a:cubicBezTo>
                <a:cubicBezTo>
                  <a:pt x="773" y="835"/>
                  <a:pt x="775" y="836"/>
                  <a:pt x="777" y="836"/>
                </a:cubicBezTo>
                <a:cubicBezTo>
                  <a:pt x="778" y="836"/>
                  <a:pt x="782" y="835"/>
                  <a:pt x="787" y="832"/>
                </a:cubicBezTo>
                <a:cubicBezTo>
                  <a:pt x="792" y="830"/>
                  <a:pt x="795" y="828"/>
                  <a:pt x="795" y="826"/>
                </a:cubicBezTo>
                <a:cubicBezTo>
                  <a:pt x="794" y="824"/>
                  <a:pt x="794" y="823"/>
                  <a:pt x="794" y="822"/>
                </a:cubicBezTo>
                <a:cubicBezTo>
                  <a:pt x="798" y="820"/>
                  <a:pt x="801" y="819"/>
                  <a:pt x="803" y="819"/>
                </a:cubicBezTo>
                <a:cubicBezTo>
                  <a:pt x="804" y="819"/>
                  <a:pt x="806" y="820"/>
                  <a:pt x="810" y="821"/>
                </a:cubicBezTo>
                <a:cubicBezTo>
                  <a:pt x="812" y="821"/>
                  <a:pt x="814" y="821"/>
                  <a:pt x="816" y="820"/>
                </a:cubicBezTo>
                <a:cubicBezTo>
                  <a:pt x="815" y="818"/>
                  <a:pt x="815" y="817"/>
                  <a:pt x="815" y="815"/>
                </a:cubicBezTo>
                <a:cubicBezTo>
                  <a:pt x="815" y="813"/>
                  <a:pt x="818" y="810"/>
                  <a:pt x="825" y="807"/>
                </a:cubicBezTo>
                <a:cubicBezTo>
                  <a:pt x="830" y="805"/>
                  <a:pt x="834" y="804"/>
                  <a:pt x="837" y="805"/>
                </a:cubicBezTo>
                <a:cubicBezTo>
                  <a:pt x="841" y="805"/>
                  <a:pt x="845" y="803"/>
                  <a:pt x="847" y="799"/>
                </a:cubicBezTo>
                <a:cubicBezTo>
                  <a:pt x="851" y="793"/>
                  <a:pt x="853" y="789"/>
                  <a:pt x="854" y="789"/>
                </a:cubicBezTo>
                <a:cubicBezTo>
                  <a:pt x="857" y="786"/>
                  <a:pt x="861" y="785"/>
                  <a:pt x="866" y="785"/>
                </a:cubicBezTo>
                <a:cubicBezTo>
                  <a:pt x="869" y="784"/>
                  <a:pt x="873" y="785"/>
                  <a:pt x="880" y="785"/>
                </a:cubicBezTo>
                <a:cubicBezTo>
                  <a:pt x="880" y="785"/>
                  <a:pt x="880" y="786"/>
                  <a:pt x="881" y="786"/>
                </a:cubicBezTo>
                <a:cubicBezTo>
                  <a:pt x="884" y="786"/>
                  <a:pt x="887" y="785"/>
                  <a:pt x="889" y="783"/>
                </a:cubicBezTo>
                <a:cubicBezTo>
                  <a:pt x="890" y="782"/>
                  <a:pt x="891" y="781"/>
                  <a:pt x="892" y="779"/>
                </a:cubicBezTo>
                <a:cubicBezTo>
                  <a:pt x="893" y="777"/>
                  <a:pt x="893" y="776"/>
                  <a:pt x="893" y="775"/>
                </a:cubicBezTo>
                <a:cubicBezTo>
                  <a:pt x="895" y="773"/>
                  <a:pt x="897" y="772"/>
                  <a:pt x="901" y="772"/>
                </a:cubicBezTo>
                <a:cubicBezTo>
                  <a:pt x="903" y="771"/>
                  <a:pt x="907" y="771"/>
                  <a:pt x="912" y="771"/>
                </a:cubicBezTo>
                <a:cubicBezTo>
                  <a:pt x="914" y="771"/>
                  <a:pt x="915" y="770"/>
                  <a:pt x="916" y="769"/>
                </a:cubicBezTo>
                <a:cubicBezTo>
                  <a:pt x="917" y="767"/>
                  <a:pt x="919" y="766"/>
                  <a:pt x="919" y="765"/>
                </a:cubicBezTo>
                <a:cubicBezTo>
                  <a:pt x="923" y="764"/>
                  <a:pt x="925" y="762"/>
                  <a:pt x="928" y="761"/>
                </a:cubicBezTo>
                <a:cubicBezTo>
                  <a:pt x="929" y="760"/>
                  <a:pt x="933" y="759"/>
                  <a:pt x="939" y="758"/>
                </a:cubicBezTo>
                <a:cubicBezTo>
                  <a:pt x="944" y="758"/>
                  <a:pt x="947" y="756"/>
                  <a:pt x="947" y="754"/>
                </a:cubicBezTo>
                <a:cubicBezTo>
                  <a:pt x="947" y="751"/>
                  <a:pt x="946" y="748"/>
                  <a:pt x="942" y="745"/>
                </a:cubicBezTo>
                <a:cubicBezTo>
                  <a:pt x="939" y="741"/>
                  <a:pt x="937" y="739"/>
                  <a:pt x="938" y="736"/>
                </a:cubicBezTo>
                <a:cubicBezTo>
                  <a:pt x="938" y="734"/>
                  <a:pt x="940" y="732"/>
                  <a:pt x="944" y="732"/>
                </a:cubicBezTo>
                <a:cubicBezTo>
                  <a:pt x="946" y="732"/>
                  <a:pt x="949" y="732"/>
                  <a:pt x="952" y="733"/>
                </a:cubicBezTo>
                <a:cubicBezTo>
                  <a:pt x="954" y="733"/>
                  <a:pt x="956" y="733"/>
                  <a:pt x="956" y="733"/>
                </a:cubicBezTo>
                <a:cubicBezTo>
                  <a:pt x="957" y="733"/>
                  <a:pt x="958" y="732"/>
                  <a:pt x="960" y="730"/>
                </a:cubicBezTo>
                <a:cubicBezTo>
                  <a:pt x="962" y="732"/>
                  <a:pt x="965" y="735"/>
                  <a:pt x="969" y="738"/>
                </a:cubicBezTo>
                <a:cubicBezTo>
                  <a:pt x="973" y="741"/>
                  <a:pt x="975" y="745"/>
                  <a:pt x="975" y="750"/>
                </a:cubicBezTo>
                <a:cubicBezTo>
                  <a:pt x="976" y="761"/>
                  <a:pt x="982" y="768"/>
                  <a:pt x="992" y="769"/>
                </a:cubicBezTo>
                <a:cubicBezTo>
                  <a:pt x="993" y="769"/>
                  <a:pt x="995" y="767"/>
                  <a:pt x="997" y="763"/>
                </a:cubicBezTo>
                <a:cubicBezTo>
                  <a:pt x="997" y="763"/>
                  <a:pt x="997" y="763"/>
                  <a:pt x="997" y="763"/>
                </a:cubicBezTo>
                <a:cubicBezTo>
                  <a:pt x="997" y="763"/>
                  <a:pt x="997" y="762"/>
                  <a:pt x="998" y="762"/>
                </a:cubicBezTo>
                <a:cubicBezTo>
                  <a:pt x="1002" y="754"/>
                  <a:pt x="1009" y="739"/>
                  <a:pt x="1019" y="718"/>
                </a:cubicBezTo>
                <a:cubicBezTo>
                  <a:pt x="1018" y="708"/>
                  <a:pt x="1018" y="701"/>
                  <a:pt x="1018" y="697"/>
                </a:cubicBezTo>
                <a:cubicBezTo>
                  <a:pt x="1020" y="694"/>
                  <a:pt x="1022" y="690"/>
                  <a:pt x="1022" y="688"/>
                </a:cubicBezTo>
                <a:cubicBezTo>
                  <a:pt x="1018" y="682"/>
                  <a:pt x="1016" y="677"/>
                  <a:pt x="1015" y="673"/>
                </a:cubicBezTo>
                <a:lnTo>
                  <a:pt x="1015" y="673"/>
                </a:lnTo>
                <a:close/>
                <a:moveTo>
                  <a:pt x="400" y="81"/>
                </a:moveTo>
                <a:lnTo>
                  <a:pt x="400" y="81"/>
                </a:lnTo>
                <a:cubicBezTo>
                  <a:pt x="402" y="81"/>
                  <a:pt x="404" y="81"/>
                  <a:pt x="406" y="79"/>
                </a:cubicBezTo>
                <a:cubicBezTo>
                  <a:pt x="408" y="77"/>
                  <a:pt x="409" y="76"/>
                  <a:pt x="410" y="74"/>
                </a:cubicBezTo>
                <a:cubicBezTo>
                  <a:pt x="410" y="72"/>
                  <a:pt x="410" y="71"/>
                  <a:pt x="409" y="69"/>
                </a:cubicBezTo>
                <a:cubicBezTo>
                  <a:pt x="407" y="68"/>
                  <a:pt x="406" y="68"/>
                  <a:pt x="403" y="68"/>
                </a:cubicBezTo>
                <a:cubicBezTo>
                  <a:pt x="402" y="67"/>
                  <a:pt x="401" y="68"/>
                  <a:pt x="399" y="69"/>
                </a:cubicBezTo>
                <a:cubicBezTo>
                  <a:pt x="397" y="71"/>
                  <a:pt x="396" y="72"/>
                  <a:pt x="396" y="74"/>
                </a:cubicBezTo>
                <a:cubicBezTo>
                  <a:pt x="396" y="76"/>
                  <a:pt x="396" y="77"/>
                  <a:pt x="397" y="79"/>
                </a:cubicBezTo>
                <a:cubicBezTo>
                  <a:pt x="397" y="80"/>
                  <a:pt x="399" y="81"/>
                  <a:pt x="400" y="81"/>
                </a:cubicBezTo>
                <a:lnTo>
                  <a:pt x="400" y="81"/>
                </a:lnTo>
                <a:close/>
                <a:moveTo>
                  <a:pt x="941" y="1560"/>
                </a:moveTo>
                <a:lnTo>
                  <a:pt x="941" y="1560"/>
                </a:lnTo>
                <a:lnTo>
                  <a:pt x="941" y="1560"/>
                </a:lnTo>
                <a:cubicBezTo>
                  <a:pt x="941" y="1560"/>
                  <a:pt x="941" y="1560"/>
                  <a:pt x="941" y="1561"/>
                </a:cubicBezTo>
                <a:lnTo>
                  <a:pt x="941" y="1560"/>
                </a:lnTo>
                <a:lnTo>
                  <a:pt x="941" y="1560"/>
                </a:lnTo>
                <a:lnTo>
                  <a:pt x="941" y="1560"/>
                </a:lnTo>
                <a:close/>
                <a:moveTo>
                  <a:pt x="158" y="212"/>
                </a:moveTo>
                <a:lnTo>
                  <a:pt x="158" y="212"/>
                </a:lnTo>
                <a:cubicBezTo>
                  <a:pt x="160" y="213"/>
                  <a:pt x="161" y="212"/>
                  <a:pt x="162" y="209"/>
                </a:cubicBezTo>
                <a:cubicBezTo>
                  <a:pt x="162" y="204"/>
                  <a:pt x="161" y="202"/>
                  <a:pt x="159" y="201"/>
                </a:cubicBezTo>
                <a:cubicBezTo>
                  <a:pt x="159" y="201"/>
                  <a:pt x="158" y="202"/>
                  <a:pt x="158" y="202"/>
                </a:cubicBezTo>
                <a:cubicBezTo>
                  <a:pt x="158" y="202"/>
                  <a:pt x="157" y="202"/>
                  <a:pt x="156" y="202"/>
                </a:cubicBezTo>
                <a:lnTo>
                  <a:pt x="156" y="202"/>
                </a:lnTo>
                <a:lnTo>
                  <a:pt x="157" y="203"/>
                </a:lnTo>
                <a:cubicBezTo>
                  <a:pt x="155" y="205"/>
                  <a:pt x="154" y="207"/>
                  <a:pt x="154" y="207"/>
                </a:cubicBezTo>
                <a:cubicBezTo>
                  <a:pt x="153" y="210"/>
                  <a:pt x="155" y="212"/>
                  <a:pt x="158" y="212"/>
                </a:cubicBezTo>
                <a:lnTo>
                  <a:pt x="158" y="212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6" y="191"/>
                  <a:pt x="249" y="189"/>
                  <a:pt x="250" y="187"/>
                </a:cubicBezTo>
                <a:cubicBezTo>
                  <a:pt x="249" y="187"/>
                  <a:pt x="246" y="188"/>
                  <a:pt x="242" y="191"/>
                </a:cubicBezTo>
                <a:lnTo>
                  <a:pt x="242" y="191"/>
                </a:lnTo>
                <a:close/>
                <a:moveTo>
                  <a:pt x="191" y="196"/>
                </a:moveTo>
                <a:lnTo>
                  <a:pt x="191" y="196"/>
                </a:lnTo>
                <a:lnTo>
                  <a:pt x="192" y="194"/>
                </a:lnTo>
                <a:cubicBezTo>
                  <a:pt x="191" y="194"/>
                  <a:pt x="191" y="194"/>
                  <a:pt x="191" y="194"/>
                </a:cubicBezTo>
                <a:cubicBezTo>
                  <a:pt x="191" y="193"/>
                  <a:pt x="191" y="193"/>
                  <a:pt x="191" y="193"/>
                </a:cubicBezTo>
                <a:lnTo>
                  <a:pt x="180" y="192"/>
                </a:lnTo>
                <a:lnTo>
                  <a:pt x="176" y="193"/>
                </a:lnTo>
                <a:lnTo>
                  <a:pt x="176" y="195"/>
                </a:lnTo>
                <a:cubicBezTo>
                  <a:pt x="177" y="195"/>
                  <a:pt x="179" y="195"/>
                  <a:pt x="181" y="196"/>
                </a:cubicBezTo>
                <a:cubicBezTo>
                  <a:pt x="183" y="196"/>
                  <a:pt x="187" y="196"/>
                  <a:pt x="191" y="196"/>
                </a:cubicBezTo>
                <a:lnTo>
                  <a:pt x="191" y="196"/>
                </a:lnTo>
                <a:close/>
                <a:moveTo>
                  <a:pt x="268" y="188"/>
                </a:moveTo>
                <a:lnTo>
                  <a:pt x="268" y="188"/>
                </a:lnTo>
                <a:cubicBezTo>
                  <a:pt x="266" y="188"/>
                  <a:pt x="263" y="188"/>
                  <a:pt x="259" y="190"/>
                </a:cubicBezTo>
                <a:lnTo>
                  <a:pt x="259" y="192"/>
                </a:lnTo>
                <a:lnTo>
                  <a:pt x="262" y="192"/>
                </a:lnTo>
                <a:cubicBezTo>
                  <a:pt x="265" y="191"/>
                  <a:pt x="267" y="190"/>
                  <a:pt x="268" y="188"/>
                </a:cubicBezTo>
                <a:lnTo>
                  <a:pt x="268" y="188"/>
                </a:lnTo>
                <a:close/>
                <a:moveTo>
                  <a:pt x="242" y="191"/>
                </a:moveTo>
                <a:lnTo>
                  <a:pt x="242" y="191"/>
                </a:lnTo>
                <a:cubicBezTo>
                  <a:pt x="242" y="191"/>
                  <a:pt x="242" y="191"/>
                  <a:pt x="241" y="191"/>
                </a:cubicBezTo>
                <a:lnTo>
                  <a:pt x="242" y="191"/>
                </a:lnTo>
                <a:lnTo>
                  <a:pt x="242" y="191"/>
                </a:lnTo>
                <a:lnTo>
                  <a:pt x="242" y="191"/>
                </a:lnTo>
                <a:close/>
                <a:moveTo>
                  <a:pt x="218" y="193"/>
                </a:moveTo>
                <a:lnTo>
                  <a:pt x="218" y="193"/>
                </a:lnTo>
                <a:cubicBezTo>
                  <a:pt x="220" y="193"/>
                  <a:pt x="221" y="191"/>
                  <a:pt x="222" y="190"/>
                </a:cubicBezTo>
                <a:cubicBezTo>
                  <a:pt x="222" y="190"/>
                  <a:pt x="221" y="190"/>
                  <a:pt x="221" y="189"/>
                </a:cubicBezTo>
                <a:cubicBezTo>
                  <a:pt x="221" y="189"/>
                  <a:pt x="221" y="189"/>
                  <a:pt x="221" y="188"/>
                </a:cubicBezTo>
                <a:cubicBezTo>
                  <a:pt x="220" y="188"/>
                  <a:pt x="220" y="189"/>
                  <a:pt x="219" y="188"/>
                </a:cubicBezTo>
                <a:cubicBezTo>
                  <a:pt x="218" y="189"/>
                  <a:pt x="216" y="189"/>
                  <a:pt x="215" y="190"/>
                </a:cubicBezTo>
                <a:lnTo>
                  <a:pt x="209" y="193"/>
                </a:lnTo>
                <a:lnTo>
                  <a:pt x="209" y="195"/>
                </a:lnTo>
                <a:lnTo>
                  <a:pt x="216" y="193"/>
                </a:lnTo>
                <a:cubicBezTo>
                  <a:pt x="217" y="194"/>
                  <a:pt x="217" y="193"/>
                  <a:pt x="218" y="193"/>
                </a:cubicBezTo>
                <a:lnTo>
                  <a:pt x="218" y="193"/>
                </a:lnTo>
                <a:close/>
              </a:path>
            </a:pathLst>
          </a:custGeom>
          <a:solidFill>
            <a:srgbClr val="DADAF5"/>
          </a:solidFill>
          <a:ln w="3175" cap="flat">
            <a:solidFill>
              <a:schemeClr val="bg1"/>
            </a:solidFill>
            <a:prstDash val="solid"/>
            <a:miter lim="800000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0" name="Freeform 457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1" name="Freeform 458"/>
          <p:cNvSpPr/>
          <p:nvPr/>
        </p:nvSpPr>
        <p:spPr bwMode="auto">
          <a:xfrm>
            <a:off x="8503972" y="4239749"/>
            <a:ext cx="966018" cy="483883"/>
          </a:xfrm>
          <a:custGeom>
            <a:avLst/>
            <a:gdLst>
              <a:gd name="T0" fmla="*/ 3 w 924"/>
              <a:gd name="T1" fmla="*/ 261 h 463"/>
              <a:gd name="T2" fmla="*/ 2 w 924"/>
              <a:gd name="T3" fmla="*/ 272 h 463"/>
              <a:gd name="T4" fmla="*/ 5 w 924"/>
              <a:gd name="T5" fmla="*/ 282 h 463"/>
              <a:gd name="T6" fmla="*/ 10 w 924"/>
              <a:gd name="T7" fmla="*/ 287 h 463"/>
              <a:gd name="T8" fmla="*/ 9 w 924"/>
              <a:gd name="T9" fmla="*/ 299 h 463"/>
              <a:gd name="T10" fmla="*/ 33 w 924"/>
              <a:gd name="T11" fmla="*/ 313 h 463"/>
              <a:gd name="T12" fmla="*/ 97 w 924"/>
              <a:gd name="T13" fmla="*/ 323 h 463"/>
              <a:gd name="T14" fmla="*/ 105 w 924"/>
              <a:gd name="T15" fmla="*/ 351 h 463"/>
              <a:gd name="T16" fmla="*/ 166 w 924"/>
              <a:gd name="T17" fmla="*/ 370 h 463"/>
              <a:gd name="T18" fmla="*/ 216 w 924"/>
              <a:gd name="T19" fmla="*/ 335 h 463"/>
              <a:gd name="T20" fmla="*/ 267 w 924"/>
              <a:gd name="T21" fmla="*/ 342 h 463"/>
              <a:gd name="T22" fmla="*/ 316 w 924"/>
              <a:gd name="T23" fmla="*/ 336 h 463"/>
              <a:gd name="T24" fmla="*/ 329 w 924"/>
              <a:gd name="T25" fmla="*/ 365 h 463"/>
              <a:gd name="T26" fmla="*/ 399 w 924"/>
              <a:gd name="T27" fmla="*/ 414 h 463"/>
              <a:gd name="T28" fmla="*/ 463 w 924"/>
              <a:gd name="T29" fmla="*/ 427 h 463"/>
              <a:gd name="T30" fmla="*/ 515 w 924"/>
              <a:gd name="T31" fmla="*/ 437 h 463"/>
              <a:gd name="T32" fmla="*/ 602 w 924"/>
              <a:gd name="T33" fmla="*/ 463 h 463"/>
              <a:gd name="T34" fmla="*/ 648 w 924"/>
              <a:gd name="T35" fmla="*/ 425 h 463"/>
              <a:gd name="T36" fmla="*/ 700 w 924"/>
              <a:gd name="T37" fmla="*/ 420 h 463"/>
              <a:gd name="T38" fmla="*/ 745 w 924"/>
              <a:gd name="T39" fmla="*/ 413 h 463"/>
              <a:gd name="T40" fmla="*/ 778 w 924"/>
              <a:gd name="T41" fmla="*/ 407 h 463"/>
              <a:gd name="T42" fmla="*/ 797 w 924"/>
              <a:gd name="T43" fmla="*/ 380 h 463"/>
              <a:gd name="T44" fmla="*/ 838 w 924"/>
              <a:gd name="T45" fmla="*/ 352 h 463"/>
              <a:gd name="T46" fmla="*/ 836 w 924"/>
              <a:gd name="T47" fmla="*/ 317 h 463"/>
              <a:gd name="T48" fmla="*/ 868 w 924"/>
              <a:gd name="T49" fmla="*/ 264 h 463"/>
              <a:gd name="T50" fmla="*/ 868 w 924"/>
              <a:gd name="T51" fmla="*/ 233 h 463"/>
              <a:gd name="T52" fmla="*/ 924 w 924"/>
              <a:gd name="T53" fmla="*/ 179 h 463"/>
              <a:gd name="T54" fmla="*/ 896 w 924"/>
              <a:gd name="T55" fmla="*/ 66 h 463"/>
              <a:gd name="T56" fmla="*/ 835 w 924"/>
              <a:gd name="T57" fmla="*/ 45 h 463"/>
              <a:gd name="T58" fmla="*/ 758 w 924"/>
              <a:gd name="T59" fmla="*/ 27 h 463"/>
              <a:gd name="T60" fmla="*/ 705 w 924"/>
              <a:gd name="T61" fmla="*/ 4 h 463"/>
              <a:gd name="T62" fmla="*/ 670 w 924"/>
              <a:gd name="T63" fmla="*/ 0 h 463"/>
              <a:gd name="T64" fmla="*/ 665 w 924"/>
              <a:gd name="T65" fmla="*/ 29 h 463"/>
              <a:gd name="T66" fmla="*/ 607 w 924"/>
              <a:gd name="T67" fmla="*/ 60 h 463"/>
              <a:gd name="T68" fmla="*/ 553 w 924"/>
              <a:gd name="T69" fmla="*/ 45 h 463"/>
              <a:gd name="T70" fmla="*/ 534 w 924"/>
              <a:gd name="T71" fmla="*/ 42 h 463"/>
              <a:gd name="T72" fmla="*/ 499 w 924"/>
              <a:gd name="T73" fmla="*/ 69 h 463"/>
              <a:gd name="T74" fmla="*/ 424 w 924"/>
              <a:gd name="T75" fmla="*/ 128 h 463"/>
              <a:gd name="T76" fmla="*/ 422 w 924"/>
              <a:gd name="T77" fmla="*/ 193 h 463"/>
              <a:gd name="T78" fmla="*/ 431 w 924"/>
              <a:gd name="T79" fmla="*/ 230 h 463"/>
              <a:gd name="T80" fmla="*/ 409 w 924"/>
              <a:gd name="T81" fmla="*/ 252 h 463"/>
              <a:gd name="T82" fmla="*/ 385 w 924"/>
              <a:gd name="T83" fmla="*/ 223 h 463"/>
              <a:gd name="T84" fmla="*/ 353 w 924"/>
              <a:gd name="T85" fmla="*/ 222 h 463"/>
              <a:gd name="T86" fmla="*/ 326 w 924"/>
              <a:gd name="T87" fmla="*/ 220 h 463"/>
              <a:gd name="T88" fmla="*/ 285 w 924"/>
              <a:gd name="T89" fmla="*/ 229 h 463"/>
              <a:gd name="T90" fmla="*/ 230 w 924"/>
              <a:gd name="T91" fmla="*/ 248 h 463"/>
              <a:gd name="T92" fmla="*/ 186 w 924"/>
              <a:gd name="T93" fmla="*/ 259 h 463"/>
              <a:gd name="T94" fmla="*/ 128 w 924"/>
              <a:gd name="T95" fmla="*/ 228 h 463"/>
              <a:gd name="T96" fmla="*/ 114 w 924"/>
              <a:gd name="T97" fmla="*/ 238 h 463"/>
              <a:gd name="T98" fmla="*/ 80 w 924"/>
              <a:gd name="T99" fmla="*/ 264 h 463"/>
              <a:gd name="T100" fmla="*/ 69 w 924"/>
              <a:gd name="T101" fmla="*/ 242 h 463"/>
              <a:gd name="T102" fmla="*/ 36 w 924"/>
              <a:gd name="T103" fmla="*/ 213 h 463"/>
              <a:gd name="T104" fmla="*/ 10 w 924"/>
              <a:gd name="T105" fmla="*/ 228 h 463"/>
              <a:gd name="T106" fmla="*/ 15 w 924"/>
              <a:gd name="T107" fmla="*/ 24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24" h="462">
                <a:moveTo>
                  <a:pt x="15" y="241"/>
                </a:moveTo>
                <a:lnTo>
                  <a:pt x="15" y="241"/>
                </a:lnTo>
                <a:cubicBezTo>
                  <a:pt x="16" y="242"/>
                  <a:pt x="16" y="242"/>
                  <a:pt x="16" y="242"/>
                </a:cubicBezTo>
                <a:cubicBezTo>
                  <a:pt x="16" y="245"/>
                  <a:pt x="12" y="251"/>
                  <a:pt x="4" y="260"/>
                </a:cubicBezTo>
                <a:cubicBezTo>
                  <a:pt x="3" y="260"/>
                  <a:pt x="3" y="260"/>
                  <a:pt x="3" y="261"/>
                </a:cubicBezTo>
                <a:cubicBezTo>
                  <a:pt x="2" y="262"/>
                  <a:pt x="1" y="262"/>
                  <a:pt x="1" y="263"/>
                </a:cubicBezTo>
                <a:cubicBezTo>
                  <a:pt x="1" y="263"/>
                  <a:pt x="1" y="263"/>
                  <a:pt x="0" y="263"/>
                </a:cubicBezTo>
                <a:cubicBezTo>
                  <a:pt x="1" y="264"/>
                  <a:pt x="1" y="265"/>
                  <a:pt x="2" y="266"/>
                </a:cubicBezTo>
                <a:cubicBezTo>
                  <a:pt x="3" y="267"/>
                  <a:pt x="3" y="268"/>
                  <a:pt x="3" y="269"/>
                </a:cubicBezTo>
                <a:cubicBezTo>
                  <a:pt x="3" y="270"/>
                  <a:pt x="3" y="271"/>
                  <a:pt x="2" y="272"/>
                </a:cubicBezTo>
                <a:cubicBezTo>
                  <a:pt x="2" y="272"/>
                  <a:pt x="3" y="272"/>
                  <a:pt x="4" y="273"/>
                </a:cubicBezTo>
                <a:cubicBezTo>
                  <a:pt x="5" y="274"/>
                  <a:pt x="6" y="275"/>
                  <a:pt x="6" y="276"/>
                </a:cubicBezTo>
                <a:cubicBezTo>
                  <a:pt x="6" y="276"/>
                  <a:pt x="6" y="276"/>
                  <a:pt x="5" y="277"/>
                </a:cubicBezTo>
                <a:cubicBezTo>
                  <a:pt x="5" y="278"/>
                  <a:pt x="5" y="279"/>
                  <a:pt x="6" y="280"/>
                </a:cubicBezTo>
                <a:cubicBezTo>
                  <a:pt x="6" y="281"/>
                  <a:pt x="5" y="281"/>
                  <a:pt x="5" y="282"/>
                </a:cubicBezTo>
                <a:cubicBezTo>
                  <a:pt x="6" y="282"/>
                  <a:pt x="6" y="283"/>
                  <a:pt x="7" y="284"/>
                </a:cubicBezTo>
                <a:cubicBezTo>
                  <a:pt x="7" y="284"/>
                  <a:pt x="7" y="284"/>
                  <a:pt x="7" y="285"/>
                </a:cubicBezTo>
                <a:cubicBezTo>
                  <a:pt x="7" y="286"/>
                  <a:pt x="7" y="286"/>
                  <a:pt x="8" y="286"/>
                </a:cubicBezTo>
                <a:cubicBezTo>
                  <a:pt x="8" y="286"/>
                  <a:pt x="9" y="286"/>
                  <a:pt x="10" y="286"/>
                </a:cubicBezTo>
                <a:cubicBezTo>
                  <a:pt x="10" y="286"/>
                  <a:pt x="10" y="287"/>
                  <a:pt x="10" y="287"/>
                </a:cubicBezTo>
                <a:cubicBezTo>
                  <a:pt x="10" y="288"/>
                  <a:pt x="10" y="289"/>
                  <a:pt x="10" y="290"/>
                </a:cubicBezTo>
                <a:cubicBezTo>
                  <a:pt x="10" y="290"/>
                  <a:pt x="10" y="291"/>
                  <a:pt x="11" y="292"/>
                </a:cubicBezTo>
                <a:cubicBezTo>
                  <a:pt x="12" y="293"/>
                  <a:pt x="12" y="294"/>
                  <a:pt x="12" y="296"/>
                </a:cubicBezTo>
                <a:cubicBezTo>
                  <a:pt x="12" y="297"/>
                  <a:pt x="11" y="298"/>
                  <a:pt x="11" y="298"/>
                </a:cubicBezTo>
                <a:cubicBezTo>
                  <a:pt x="10" y="298"/>
                  <a:pt x="10" y="298"/>
                  <a:pt x="9" y="299"/>
                </a:cubicBezTo>
                <a:cubicBezTo>
                  <a:pt x="9" y="300"/>
                  <a:pt x="10" y="301"/>
                  <a:pt x="10" y="302"/>
                </a:cubicBezTo>
                <a:cubicBezTo>
                  <a:pt x="10" y="303"/>
                  <a:pt x="10" y="303"/>
                  <a:pt x="10" y="304"/>
                </a:cubicBezTo>
                <a:cubicBezTo>
                  <a:pt x="11" y="304"/>
                  <a:pt x="14" y="305"/>
                  <a:pt x="18" y="306"/>
                </a:cubicBezTo>
                <a:cubicBezTo>
                  <a:pt x="22" y="307"/>
                  <a:pt x="25" y="308"/>
                  <a:pt x="27" y="309"/>
                </a:cubicBezTo>
                <a:cubicBezTo>
                  <a:pt x="29" y="310"/>
                  <a:pt x="31" y="311"/>
                  <a:pt x="33" y="313"/>
                </a:cubicBezTo>
                <a:cubicBezTo>
                  <a:pt x="35" y="315"/>
                  <a:pt x="37" y="319"/>
                  <a:pt x="38" y="325"/>
                </a:cubicBezTo>
                <a:cubicBezTo>
                  <a:pt x="40" y="331"/>
                  <a:pt x="41" y="334"/>
                  <a:pt x="43" y="336"/>
                </a:cubicBezTo>
                <a:cubicBezTo>
                  <a:pt x="47" y="340"/>
                  <a:pt x="52" y="342"/>
                  <a:pt x="60" y="343"/>
                </a:cubicBezTo>
                <a:cubicBezTo>
                  <a:pt x="67" y="344"/>
                  <a:pt x="74" y="341"/>
                  <a:pt x="82" y="334"/>
                </a:cubicBezTo>
                <a:cubicBezTo>
                  <a:pt x="90" y="327"/>
                  <a:pt x="95" y="323"/>
                  <a:pt x="97" y="323"/>
                </a:cubicBezTo>
                <a:cubicBezTo>
                  <a:pt x="101" y="324"/>
                  <a:pt x="104" y="325"/>
                  <a:pt x="107" y="327"/>
                </a:cubicBezTo>
                <a:cubicBezTo>
                  <a:pt x="110" y="329"/>
                  <a:pt x="112" y="332"/>
                  <a:pt x="112" y="336"/>
                </a:cubicBezTo>
                <a:cubicBezTo>
                  <a:pt x="111" y="337"/>
                  <a:pt x="110" y="339"/>
                  <a:pt x="109" y="342"/>
                </a:cubicBezTo>
                <a:cubicBezTo>
                  <a:pt x="107" y="345"/>
                  <a:pt x="106" y="348"/>
                  <a:pt x="105" y="349"/>
                </a:cubicBezTo>
                <a:cubicBezTo>
                  <a:pt x="105" y="350"/>
                  <a:pt x="105" y="351"/>
                  <a:pt x="105" y="351"/>
                </a:cubicBezTo>
                <a:cubicBezTo>
                  <a:pt x="107" y="352"/>
                  <a:pt x="109" y="353"/>
                  <a:pt x="111" y="353"/>
                </a:cubicBezTo>
                <a:cubicBezTo>
                  <a:pt x="114" y="353"/>
                  <a:pt x="117" y="352"/>
                  <a:pt x="119" y="351"/>
                </a:cubicBezTo>
                <a:cubicBezTo>
                  <a:pt x="122" y="349"/>
                  <a:pt x="125" y="348"/>
                  <a:pt x="129" y="349"/>
                </a:cubicBezTo>
                <a:cubicBezTo>
                  <a:pt x="130" y="349"/>
                  <a:pt x="134" y="354"/>
                  <a:pt x="141" y="365"/>
                </a:cubicBezTo>
                <a:cubicBezTo>
                  <a:pt x="144" y="366"/>
                  <a:pt x="152" y="368"/>
                  <a:pt x="166" y="370"/>
                </a:cubicBezTo>
                <a:cubicBezTo>
                  <a:pt x="173" y="371"/>
                  <a:pt x="177" y="367"/>
                  <a:pt x="178" y="360"/>
                </a:cubicBezTo>
                <a:cubicBezTo>
                  <a:pt x="179" y="356"/>
                  <a:pt x="180" y="353"/>
                  <a:pt x="180" y="351"/>
                </a:cubicBezTo>
                <a:cubicBezTo>
                  <a:pt x="181" y="348"/>
                  <a:pt x="182" y="345"/>
                  <a:pt x="184" y="343"/>
                </a:cubicBezTo>
                <a:cubicBezTo>
                  <a:pt x="185" y="342"/>
                  <a:pt x="190" y="341"/>
                  <a:pt x="200" y="338"/>
                </a:cubicBezTo>
                <a:cubicBezTo>
                  <a:pt x="209" y="336"/>
                  <a:pt x="214" y="335"/>
                  <a:pt x="216" y="335"/>
                </a:cubicBezTo>
                <a:cubicBezTo>
                  <a:pt x="217" y="335"/>
                  <a:pt x="219" y="336"/>
                  <a:pt x="221" y="337"/>
                </a:cubicBezTo>
                <a:cubicBezTo>
                  <a:pt x="222" y="337"/>
                  <a:pt x="224" y="337"/>
                  <a:pt x="227" y="335"/>
                </a:cubicBezTo>
                <a:cubicBezTo>
                  <a:pt x="229" y="333"/>
                  <a:pt x="231" y="332"/>
                  <a:pt x="233" y="333"/>
                </a:cubicBezTo>
                <a:lnTo>
                  <a:pt x="253" y="335"/>
                </a:lnTo>
                <a:cubicBezTo>
                  <a:pt x="256" y="336"/>
                  <a:pt x="261" y="338"/>
                  <a:pt x="267" y="342"/>
                </a:cubicBezTo>
                <a:cubicBezTo>
                  <a:pt x="273" y="340"/>
                  <a:pt x="279" y="337"/>
                  <a:pt x="285" y="335"/>
                </a:cubicBezTo>
                <a:cubicBezTo>
                  <a:pt x="298" y="329"/>
                  <a:pt x="308" y="326"/>
                  <a:pt x="314" y="324"/>
                </a:cubicBezTo>
                <a:lnTo>
                  <a:pt x="324" y="325"/>
                </a:lnTo>
                <a:lnTo>
                  <a:pt x="323" y="332"/>
                </a:lnTo>
                <a:cubicBezTo>
                  <a:pt x="323" y="333"/>
                  <a:pt x="320" y="335"/>
                  <a:pt x="316" y="336"/>
                </a:cubicBezTo>
                <a:cubicBezTo>
                  <a:pt x="313" y="338"/>
                  <a:pt x="311" y="340"/>
                  <a:pt x="311" y="341"/>
                </a:cubicBezTo>
                <a:cubicBezTo>
                  <a:pt x="311" y="342"/>
                  <a:pt x="312" y="345"/>
                  <a:pt x="314" y="349"/>
                </a:cubicBezTo>
                <a:cubicBezTo>
                  <a:pt x="313" y="354"/>
                  <a:pt x="313" y="357"/>
                  <a:pt x="314" y="358"/>
                </a:cubicBezTo>
                <a:cubicBezTo>
                  <a:pt x="315" y="360"/>
                  <a:pt x="317" y="362"/>
                  <a:pt x="321" y="363"/>
                </a:cubicBezTo>
                <a:cubicBezTo>
                  <a:pt x="326" y="364"/>
                  <a:pt x="328" y="365"/>
                  <a:pt x="329" y="365"/>
                </a:cubicBezTo>
                <a:cubicBezTo>
                  <a:pt x="328" y="369"/>
                  <a:pt x="327" y="374"/>
                  <a:pt x="326" y="382"/>
                </a:cubicBezTo>
                <a:cubicBezTo>
                  <a:pt x="330" y="383"/>
                  <a:pt x="333" y="386"/>
                  <a:pt x="336" y="390"/>
                </a:cubicBezTo>
                <a:cubicBezTo>
                  <a:pt x="339" y="394"/>
                  <a:pt x="342" y="396"/>
                  <a:pt x="343" y="397"/>
                </a:cubicBezTo>
                <a:cubicBezTo>
                  <a:pt x="348" y="401"/>
                  <a:pt x="358" y="403"/>
                  <a:pt x="371" y="404"/>
                </a:cubicBezTo>
                <a:cubicBezTo>
                  <a:pt x="383" y="407"/>
                  <a:pt x="392" y="411"/>
                  <a:pt x="399" y="414"/>
                </a:cubicBezTo>
                <a:cubicBezTo>
                  <a:pt x="403" y="415"/>
                  <a:pt x="410" y="417"/>
                  <a:pt x="421" y="418"/>
                </a:cubicBezTo>
                <a:cubicBezTo>
                  <a:pt x="427" y="419"/>
                  <a:pt x="431" y="421"/>
                  <a:pt x="435" y="424"/>
                </a:cubicBezTo>
                <a:cubicBezTo>
                  <a:pt x="439" y="427"/>
                  <a:pt x="443" y="429"/>
                  <a:pt x="447" y="430"/>
                </a:cubicBezTo>
                <a:cubicBezTo>
                  <a:pt x="449" y="430"/>
                  <a:pt x="452" y="429"/>
                  <a:pt x="455" y="428"/>
                </a:cubicBezTo>
                <a:cubicBezTo>
                  <a:pt x="459" y="427"/>
                  <a:pt x="461" y="427"/>
                  <a:pt x="463" y="427"/>
                </a:cubicBezTo>
                <a:cubicBezTo>
                  <a:pt x="467" y="428"/>
                  <a:pt x="473" y="429"/>
                  <a:pt x="482" y="432"/>
                </a:cubicBezTo>
                <a:cubicBezTo>
                  <a:pt x="489" y="434"/>
                  <a:pt x="494" y="436"/>
                  <a:pt x="495" y="437"/>
                </a:cubicBezTo>
                <a:lnTo>
                  <a:pt x="495" y="437"/>
                </a:lnTo>
                <a:cubicBezTo>
                  <a:pt x="496" y="437"/>
                  <a:pt x="496" y="437"/>
                  <a:pt x="497" y="437"/>
                </a:cubicBezTo>
                <a:cubicBezTo>
                  <a:pt x="504" y="438"/>
                  <a:pt x="510" y="438"/>
                  <a:pt x="515" y="437"/>
                </a:cubicBezTo>
                <a:cubicBezTo>
                  <a:pt x="523" y="438"/>
                  <a:pt x="532" y="441"/>
                  <a:pt x="541" y="447"/>
                </a:cubicBezTo>
                <a:cubicBezTo>
                  <a:pt x="551" y="453"/>
                  <a:pt x="560" y="456"/>
                  <a:pt x="568" y="457"/>
                </a:cubicBezTo>
                <a:cubicBezTo>
                  <a:pt x="570" y="457"/>
                  <a:pt x="574" y="456"/>
                  <a:pt x="580" y="454"/>
                </a:cubicBezTo>
                <a:cubicBezTo>
                  <a:pt x="580" y="454"/>
                  <a:pt x="583" y="455"/>
                  <a:pt x="589" y="457"/>
                </a:cubicBezTo>
                <a:cubicBezTo>
                  <a:pt x="596" y="459"/>
                  <a:pt x="600" y="461"/>
                  <a:pt x="602" y="463"/>
                </a:cubicBezTo>
                <a:lnTo>
                  <a:pt x="602" y="463"/>
                </a:lnTo>
                <a:cubicBezTo>
                  <a:pt x="602" y="459"/>
                  <a:pt x="605" y="455"/>
                  <a:pt x="612" y="452"/>
                </a:cubicBezTo>
                <a:cubicBezTo>
                  <a:pt x="614" y="452"/>
                  <a:pt x="618" y="448"/>
                  <a:pt x="625" y="442"/>
                </a:cubicBezTo>
                <a:cubicBezTo>
                  <a:pt x="626" y="442"/>
                  <a:pt x="629" y="438"/>
                  <a:pt x="636" y="432"/>
                </a:cubicBezTo>
                <a:cubicBezTo>
                  <a:pt x="641" y="427"/>
                  <a:pt x="645" y="424"/>
                  <a:pt x="648" y="425"/>
                </a:cubicBezTo>
                <a:cubicBezTo>
                  <a:pt x="651" y="425"/>
                  <a:pt x="652" y="426"/>
                  <a:pt x="653" y="427"/>
                </a:cubicBezTo>
                <a:cubicBezTo>
                  <a:pt x="654" y="423"/>
                  <a:pt x="657" y="421"/>
                  <a:pt x="662" y="421"/>
                </a:cubicBezTo>
                <a:cubicBezTo>
                  <a:pt x="663" y="421"/>
                  <a:pt x="668" y="421"/>
                  <a:pt x="675" y="422"/>
                </a:cubicBezTo>
                <a:cubicBezTo>
                  <a:pt x="680" y="422"/>
                  <a:pt x="685" y="422"/>
                  <a:pt x="690" y="422"/>
                </a:cubicBezTo>
                <a:cubicBezTo>
                  <a:pt x="696" y="421"/>
                  <a:pt x="699" y="420"/>
                  <a:pt x="700" y="420"/>
                </a:cubicBezTo>
                <a:cubicBezTo>
                  <a:pt x="702" y="421"/>
                  <a:pt x="704" y="422"/>
                  <a:pt x="707" y="423"/>
                </a:cubicBezTo>
                <a:cubicBezTo>
                  <a:pt x="710" y="425"/>
                  <a:pt x="712" y="427"/>
                  <a:pt x="714" y="427"/>
                </a:cubicBezTo>
                <a:cubicBezTo>
                  <a:pt x="716" y="427"/>
                  <a:pt x="720" y="424"/>
                  <a:pt x="725" y="419"/>
                </a:cubicBezTo>
                <a:cubicBezTo>
                  <a:pt x="731" y="413"/>
                  <a:pt x="735" y="411"/>
                  <a:pt x="738" y="411"/>
                </a:cubicBezTo>
                <a:cubicBezTo>
                  <a:pt x="739" y="411"/>
                  <a:pt x="741" y="412"/>
                  <a:pt x="745" y="413"/>
                </a:cubicBezTo>
                <a:cubicBezTo>
                  <a:pt x="746" y="414"/>
                  <a:pt x="749" y="413"/>
                  <a:pt x="753" y="411"/>
                </a:cubicBezTo>
                <a:cubicBezTo>
                  <a:pt x="757" y="409"/>
                  <a:pt x="760" y="408"/>
                  <a:pt x="762" y="409"/>
                </a:cubicBezTo>
                <a:cubicBezTo>
                  <a:pt x="765" y="409"/>
                  <a:pt x="771" y="412"/>
                  <a:pt x="779" y="418"/>
                </a:cubicBezTo>
                <a:lnTo>
                  <a:pt x="783" y="418"/>
                </a:lnTo>
                <a:cubicBezTo>
                  <a:pt x="782" y="414"/>
                  <a:pt x="781" y="411"/>
                  <a:pt x="778" y="407"/>
                </a:cubicBezTo>
                <a:cubicBezTo>
                  <a:pt x="777" y="405"/>
                  <a:pt x="777" y="402"/>
                  <a:pt x="777" y="397"/>
                </a:cubicBezTo>
                <a:cubicBezTo>
                  <a:pt x="777" y="395"/>
                  <a:pt x="780" y="392"/>
                  <a:pt x="787" y="387"/>
                </a:cubicBezTo>
                <a:cubicBezTo>
                  <a:pt x="790" y="385"/>
                  <a:pt x="793" y="383"/>
                  <a:pt x="795" y="382"/>
                </a:cubicBezTo>
                <a:cubicBezTo>
                  <a:pt x="796" y="381"/>
                  <a:pt x="796" y="381"/>
                  <a:pt x="797" y="380"/>
                </a:cubicBezTo>
                <a:cubicBezTo>
                  <a:pt x="797" y="380"/>
                  <a:pt x="797" y="380"/>
                  <a:pt x="797" y="380"/>
                </a:cubicBezTo>
                <a:cubicBezTo>
                  <a:pt x="799" y="378"/>
                  <a:pt x="800" y="376"/>
                  <a:pt x="803" y="374"/>
                </a:cubicBezTo>
                <a:cubicBezTo>
                  <a:pt x="808" y="370"/>
                  <a:pt x="811" y="368"/>
                  <a:pt x="813" y="365"/>
                </a:cubicBezTo>
                <a:cubicBezTo>
                  <a:pt x="816" y="363"/>
                  <a:pt x="821" y="362"/>
                  <a:pt x="829" y="362"/>
                </a:cubicBezTo>
                <a:cubicBezTo>
                  <a:pt x="835" y="362"/>
                  <a:pt x="838" y="360"/>
                  <a:pt x="839" y="356"/>
                </a:cubicBezTo>
                <a:cubicBezTo>
                  <a:pt x="839" y="354"/>
                  <a:pt x="838" y="353"/>
                  <a:pt x="838" y="352"/>
                </a:cubicBezTo>
                <a:cubicBezTo>
                  <a:pt x="837" y="351"/>
                  <a:pt x="836" y="350"/>
                  <a:pt x="837" y="349"/>
                </a:cubicBezTo>
                <a:cubicBezTo>
                  <a:pt x="837" y="348"/>
                  <a:pt x="840" y="345"/>
                  <a:pt x="845" y="342"/>
                </a:cubicBezTo>
                <a:cubicBezTo>
                  <a:pt x="841" y="338"/>
                  <a:pt x="839" y="335"/>
                  <a:pt x="837" y="333"/>
                </a:cubicBezTo>
                <a:cubicBezTo>
                  <a:pt x="834" y="330"/>
                  <a:pt x="832" y="327"/>
                  <a:pt x="833" y="325"/>
                </a:cubicBezTo>
                <a:cubicBezTo>
                  <a:pt x="835" y="322"/>
                  <a:pt x="836" y="319"/>
                  <a:pt x="836" y="317"/>
                </a:cubicBezTo>
                <a:cubicBezTo>
                  <a:pt x="834" y="312"/>
                  <a:pt x="833" y="309"/>
                  <a:pt x="833" y="308"/>
                </a:cubicBezTo>
                <a:cubicBezTo>
                  <a:pt x="834" y="304"/>
                  <a:pt x="835" y="300"/>
                  <a:pt x="838" y="295"/>
                </a:cubicBezTo>
                <a:cubicBezTo>
                  <a:pt x="841" y="289"/>
                  <a:pt x="845" y="285"/>
                  <a:pt x="849" y="284"/>
                </a:cubicBezTo>
                <a:cubicBezTo>
                  <a:pt x="853" y="282"/>
                  <a:pt x="857" y="278"/>
                  <a:pt x="860" y="272"/>
                </a:cubicBezTo>
                <a:cubicBezTo>
                  <a:pt x="862" y="267"/>
                  <a:pt x="865" y="264"/>
                  <a:pt x="868" y="264"/>
                </a:cubicBezTo>
                <a:cubicBezTo>
                  <a:pt x="864" y="258"/>
                  <a:pt x="858" y="253"/>
                  <a:pt x="848" y="248"/>
                </a:cubicBezTo>
                <a:cubicBezTo>
                  <a:pt x="839" y="244"/>
                  <a:pt x="835" y="241"/>
                  <a:pt x="835" y="240"/>
                </a:cubicBezTo>
                <a:cubicBezTo>
                  <a:pt x="835" y="240"/>
                  <a:pt x="838" y="238"/>
                  <a:pt x="845" y="233"/>
                </a:cubicBezTo>
                <a:cubicBezTo>
                  <a:pt x="851" y="228"/>
                  <a:pt x="855" y="225"/>
                  <a:pt x="857" y="225"/>
                </a:cubicBezTo>
                <a:cubicBezTo>
                  <a:pt x="860" y="226"/>
                  <a:pt x="864" y="228"/>
                  <a:pt x="868" y="233"/>
                </a:cubicBezTo>
                <a:cubicBezTo>
                  <a:pt x="873" y="238"/>
                  <a:pt x="876" y="240"/>
                  <a:pt x="879" y="241"/>
                </a:cubicBezTo>
                <a:cubicBezTo>
                  <a:pt x="901" y="237"/>
                  <a:pt x="912" y="233"/>
                  <a:pt x="912" y="230"/>
                </a:cubicBezTo>
                <a:cubicBezTo>
                  <a:pt x="909" y="224"/>
                  <a:pt x="907" y="219"/>
                  <a:pt x="907" y="217"/>
                </a:cubicBezTo>
                <a:cubicBezTo>
                  <a:pt x="908" y="214"/>
                  <a:pt x="910" y="208"/>
                  <a:pt x="914" y="198"/>
                </a:cubicBezTo>
                <a:cubicBezTo>
                  <a:pt x="918" y="188"/>
                  <a:pt x="922" y="181"/>
                  <a:pt x="924" y="179"/>
                </a:cubicBezTo>
                <a:cubicBezTo>
                  <a:pt x="923" y="179"/>
                  <a:pt x="923" y="179"/>
                  <a:pt x="922" y="179"/>
                </a:cubicBezTo>
                <a:cubicBezTo>
                  <a:pt x="913" y="173"/>
                  <a:pt x="905" y="160"/>
                  <a:pt x="897" y="141"/>
                </a:cubicBezTo>
                <a:cubicBezTo>
                  <a:pt x="889" y="123"/>
                  <a:pt x="886" y="112"/>
                  <a:pt x="886" y="108"/>
                </a:cubicBezTo>
                <a:lnTo>
                  <a:pt x="897" y="69"/>
                </a:lnTo>
                <a:cubicBezTo>
                  <a:pt x="897" y="69"/>
                  <a:pt x="897" y="68"/>
                  <a:pt x="896" y="66"/>
                </a:cubicBezTo>
                <a:cubicBezTo>
                  <a:pt x="895" y="65"/>
                  <a:pt x="894" y="63"/>
                  <a:pt x="892" y="61"/>
                </a:cubicBezTo>
                <a:cubicBezTo>
                  <a:pt x="889" y="56"/>
                  <a:pt x="887" y="54"/>
                  <a:pt x="886" y="54"/>
                </a:cubicBezTo>
                <a:cubicBezTo>
                  <a:pt x="874" y="52"/>
                  <a:pt x="866" y="51"/>
                  <a:pt x="864" y="50"/>
                </a:cubicBezTo>
                <a:cubicBezTo>
                  <a:pt x="854" y="44"/>
                  <a:pt x="846" y="41"/>
                  <a:pt x="842" y="40"/>
                </a:cubicBezTo>
                <a:cubicBezTo>
                  <a:pt x="842" y="40"/>
                  <a:pt x="839" y="42"/>
                  <a:pt x="835" y="45"/>
                </a:cubicBezTo>
                <a:cubicBezTo>
                  <a:pt x="831" y="48"/>
                  <a:pt x="827" y="49"/>
                  <a:pt x="824" y="49"/>
                </a:cubicBezTo>
                <a:cubicBezTo>
                  <a:pt x="820" y="49"/>
                  <a:pt x="815" y="49"/>
                  <a:pt x="808" y="49"/>
                </a:cubicBezTo>
                <a:cubicBezTo>
                  <a:pt x="802" y="50"/>
                  <a:pt x="798" y="50"/>
                  <a:pt x="797" y="50"/>
                </a:cubicBezTo>
                <a:cubicBezTo>
                  <a:pt x="796" y="50"/>
                  <a:pt x="787" y="42"/>
                  <a:pt x="768" y="25"/>
                </a:cubicBezTo>
                <a:cubicBezTo>
                  <a:pt x="766" y="25"/>
                  <a:pt x="763" y="25"/>
                  <a:pt x="758" y="27"/>
                </a:cubicBezTo>
                <a:cubicBezTo>
                  <a:pt x="754" y="29"/>
                  <a:pt x="751" y="29"/>
                  <a:pt x="750" y="29"/>
                </a:cubicBezTo>
                <a:cubicBezTo>
                  <a:pt x="747" y="29"/>
                  <a:pt x="746" y="28"/>
                  <a:pt x="746" y="26"/>
                </a:cubicBezTo>
                <a:cubicBezTo>
                  <a:pt x="745" y="24"/>
                  <a:pt x="744" y="22"/>
                  <a:pt x="741" y="22"/>
                </a:cubicBezTo>
                <a:cubicBezTo>
                  <a:pt x="734" y="21"/>
                  <a:pt x="729" y="18"/>
                  <a:pt x="725" y="13"/>
                </a:cubicBezTo>
                <a:cubicBezTo>
                  <a:pt x="720" y="8"/>
                  <a:pt x="714" y="5"/>
                  <a:pt x="705" y="4"/>
                </a:cubicBezTo>
                <a:cubicBezTo>
                  <a:pt x="702" y="4"/>
                  <a:pt x="700" y="4"/>
                  <a:pt x="697" y="6"/>
                </a:cubicBezTo>
                <a:cubicBezTo>
                  <a:pt x="694" y="7"/>
                  <a:pt x="692" y="8"/>
                  <a:pt x="691" y="8"/>
                </a:cubicBezTo>
                <a:cubicBezTo>
                  <a:pt x="689" y="7"/>
                  <a:pt x="687" y="7"/>
                  <a:pt x="685" y="4"/>
                </a:cubicBezTo>
                <a:cubicBezTo>
                  <a:pt x="682" y="3"/>
                  <a:pt x="680" y="1"/>
                  <a:pt x="676" y="1"/>
                </a:cubicBezTo>
                <a:cubicBezTo>
                  <a:pt x="673" y="1"/>
                  <a:pt x="671" y="0"/>
                  <a:pt x="670" y="0"/>
                </a:cubicBezTo>
                <a:cubicBezTo>
                  <a:pt x="668" y="1"/>
                  <a:pt x="667" y="2"/>
                  <a:pt x="667" y="5"/>
                </a:cubicBezTo>
                <a:cubicBezTo>
                  <a:pt x="667" y="8"/>
                  <a:pt x="667" y="10"/>
                  <a:pt x="669" y="12"/>
                </a:cubicBezTo>
                <a:cubicBezTo>
                  <a:pt x="670" y="14"/>
                  <a:pt x="671" y="16"/>
                  <a:pt x="671" y="18"/>
                </a:cubicBezTo>
                <a:cubicBezTo>
                  <a:pt x="671" y="19"/>
                  <a:pt x="669" y="21"/>
                  <a:pt x="668" y="22"/>
                </a:cubicBezTo>
                <a:cubicBezTo>
                  <a:pt x="666" y="23"/>
                  <a:pt x="665" y="26"/>
                  <a:pt x="665" y="29"/>
                </a:cubicBezTo>
                <a:cubicBezTo>
                  <a:pt x="664" y="32"/>
                  <a:pt x="664" y="36"/>
                  <a:pt x="666" y="41"/>
                </a:cubicBezTo>
                <a:lnTo>
                  <a:pt x="664" y="42"/>
                </a:lnTo>
                <a:cubicBezTo>
                  <a:pt x="654" y="41"/>
                  <a:pt x="647" y="43"/>
                  <a:pt x="642" y="50"/>
                </a:cubicBezTo>
                <a:cubicBezTo>
                  <a:pt x="640" y="53"/>
                  <a:pt x="637" y="60"/>
                  <a:pt x="633" y="73"/>
                </a:cubicBezTo>
                <a:cubicBezTo>
                  <a:pt x="624" y="70"/>
                  <a:pt x="615" y="65"/>
                  <a:pt x="607" y="60"/>
                </a:cubicBezTo>
                <a:cubicBezTo>
                  <a:pt x="604" y="67"/>
                  <a:pt x="602" y="72"/>
                  <a:pt x="599" y="72"/>
                </a:cubicBezTo>
                <a:cubicBezTo>
                  <a:pt x="598" y="73"/>
                  <a:pt x="593" y="73"/>
                  <a:pt x="584" y="72"/>
                </a:cubicBezTo>
                <a:cubicBezTo>
                  <a:pt x="562" y="69"/>
                  <a:pt x="552" y="66"/>
                  <a:pt x="553" y="61"/>
                </a:cubicBezTo>
                <a:cubicBezTo>
                  <a:pt x="553" y="55"/>
                  <a:pt x="554" y="51"/>
                  <a:pt x="554" y="50"/>
                </a:cubicBezTo>
                <a:cubicBezTo>
                  <a:pt x="554" y="48"/>
                  <a:pt x="554" y="46"/>
                  <a:pt x="553" y="45"/>
                </a:cubicBezTo>
                <a:cubicBezTo>
                  <a:pt x="548" y="44"/>
                  <a:pt x="542" y="42"/>
                  <a:pt x="536" y="39"/>
                </a:cubicBezTo>
                <a:cubicBezTo>
                  <a:pt x="535" y="39"/>
                  <a:pt x="535" y="39"/>
                  <a:pt x="534" y="38"/>
                </a:cubicBezTo>
                <a:cubicBezTo>
                  <a:pt x="534" y="38"/>
                  <a:pt x="533" y="38"/>
                  <a:pt x="533" y="38"/>
                </a:cubicBezTo>
                <a:lnTo>
                  <a:pt x="533" y="38"/>
                </a:lnTo>
                <a:cubicBezTo>
                  <a:pt x="533" y="40"/>
                  <a:pt x="534" y="42"/>
                  <a:pt x="534" y="42"/>
                </a:cubicBezTo>
                <a:cubicBezTo>
                  <a:pt x="533" y="45"/>
                  <a:pt x="533" y="47"/>
                  <a:pt x="531" y="51"/>
                </a:cubicBezTo>
                <a:cubicBezTo>
                  <a:pt x="530" y="54"/>
                  <a:pt x="529" y="56"/>
                  <a:pt x="529" y="59"/>
                </a:cubicBezTo>
                <a:cubicBezTo>
                  <a:pt x="529" y="60"/>
                  <a:pt x="530" y="63"/>
                  <a:pt x="531" y="65"/>
                </a:cubicBezTo>
                <a:cubicBezTo>
                  <a:pt x="526" y="68"/>
                  <a:pt x="522" y="73"/>
                  <a:pt x="521" y="80"/>
                </a:cubicBezTo>
                <a:cubicBezTo>
                  <a:pt x="507" y="73"/>
                  <a:pt x="500" y="69"/>
                  <a:pt x="499" y="69"/>
                </a:cubicBezTo>
                <a:cubicBezTo>
                  <a:pt x="493" y="68"/>
                  <a:pt x="489" y="68"/>
                  <a:pt x="487" y="70"/>
                </a:cubicBezTo>
                <a:cubicBezTo>
                  <a:pt x="484" y="71"/>
                  <a:pt x="483" y="75"/>
                  <a:pt x="482" y="81"/>
                </a:cubicBezTo>
                <a:cubicBezTo>
                  <a:pt x="480" y="102"/>
                  <a:pt x="471" y="114"/>
                  <a:pt x="455" y="116"/>
                </a:cubicBezTo>
                <a:cubicBezTo>
                  <a:pt x="446" y="118"/>
                  <a:pt x="439" y="120"/>
                  <a:pt x="434" y="122"/>
                </a:cubicBezTo>
                <a:cubicBezTo>
                  <a:pt x="432" y="123"/>
                  <a:pt x="428" y="125"/>
                  <a:pt x="424" y="128"/>
                </a:cubicBezTo>
                <a:cubicBezTo>
                  <a:pt x="420" y="131"/>
                  <a:pt x="416" y="131"/>
                  <a:pt x="413" y="129"/>
                </a:cubicBezTo>
                <a:cubicBezTo>
                  <a:pt x="413" y="133"/>
                  <a:pt x="411" y="136"/>
                  <a:pt x="406" y="140"/>
                </a:cubicBezTo>
                <a:cubicBezTo>
                  <a:pt x="400" y="143"/>
                  <a:pt x="398" y="146"/>
                  <a:pt x="397" y="149"/>
                </a:cubicBezTo>
                <a:cubicBezTo>
                  <a:pt x="397" y="152"/>
                  <a:pt x="401" y="159"/>
                  <a:pt x="410" y="171"/>
                </a:cubicBezTo>
                <a:cubicBezTo>
                  <a:pt x="418" y="183"/>
                  <a:pt x="423" y="190"/>
                  <a:pt x="422" y="193"/>
                </a:cubicBezTo>
                <a:cubicBezTo>
                  <a:pt x="422" y="196"/>
                  <a:pt x="421" y="198"/>
                  <a:pt x="418" y="201"/>
                </a:cubicBezTo>
                <a:cubicBezTo>
                  <a:pt x="416" y="203"/>
                  <a:pt x="415" y="205"/>
                  <a:pt x="414" y="206"/>
                </a:cubicBezTo>
                <a:cubicBezTo>
                  <a:pt x="414" y="212"/>
                  <a:pt x="417" y="216"/>
                  <a:pt x="423" y="218"/>
                </a:cubicBezTo>
                <a:cubicBezTo>
                  <a:pt x="426" y="219"/>
                  <a:pt x="428" y="220"/>
                  <a:pt x="429" y="221"/>
                </a:cubicBezTo>
                <a:cubicBezTo>
                  <a:pt x="431" y="223"/>
                  <a:pt x="432" y="226"/>
                  <a:pt x="431" y="230"/>
                </a:cubicBezTo>
                <a:cubicBezTo>
                  <a:pt x="431" y="233"/>
                  <a:pt x="430" y="237"/>
                  <a:pt x="428" y="239"/>
                </a:cubicBezTo>
                <a:cubicBezTo>
                  <a:pt x="426" y="241"/>
                  <a:pt x="425" y="243"/>
                  <a:pt x="425" y="245"/>
                </a:cubicBezTo>
                <a:cubicBezTo>
                  <a:pt x="425" y="247"/>
                  <a:pt x="425" y="252"/>
                  <a:pt x="427" y="258"/>
                </a:cubicBezTo>
                <a:cubicBezTo>
                  <a:pt x="427" y="259"/>
                  <a:pt x="427" y="261"/>
                  <a:pt x="426" y="263"/>
                </a:cubicBezTo>
                <a:cubicBezTo>
                  <a:pt x="423" y="262"/>
                  <a:pt x="417" y="258"/>
                  <a:pt x="409" y="252"/>
                </a:cubicBezTo>
                <a:cubicBezTo>
                  <a:pt x="400" y="245"/>
                  <a:pt x="396" y="241"/>
                  <a:pt x="396" y="240"/>
                </a:cubicBezTo>
                <a:cubicBezTo>
                  <a:pt x="396" y="239"/>
                  <a:pt x="397" y="238"/>
                  <a:pt x="398" y="238"/>
                </a:cubicBezTo>
                <a:cubicBezTo>
                  <a:pt x="399" y="237"/>
                  <a:pt x="400" y="236"/>
                  <a:pt x="400" y="235"/>
                </a:cubicBezTo>
                <a:cubicBezTo>
                  <a:pt x="401" y="232"/>
                  <a:pt x="399" y="229"/>
                  <a:pt x="395" y="227"/>
                </a:cubicBezTo>
                <a:cubicBezTo>
                  <a:pt x="391" y="225"/>
                  <a:pt x="388" y="223"/>
                  <a:pt x="385" y="223"/>
                </a:cubicBezTo>
                <a:cubicBezTo>
                  <a:pt x="381" y="223"/>
                  <a:pt x="377" y="224"/>
                  <a:pt x="374" y="225"/>
                </a:cubicBezTo>
                <a:cubicBezTo>
                  <a:pt x="369" y="228"/>
                  <a:pt x="366" y="229"/>
                  <a:pt x="364" y="230"/>
                </a:cubicBezTo>
                <a:cubicBezTo>
                  <a:pt x="364" y="230"/>
                  <a:pt x="364" y="230"/>
                  <a:pt x="364" y="231"/>
                </a:cubicBezTo>
                <a:cubicBezTo>
                  <a:pt x="361" y="230"/>
                  <a:pt x="359" y="229"/>
                  <a:pt x="358" y="227"/>
                </a:cubicBezTo>
                <a:cubicBezTo>
                  <a:pt x="355" y="224"/>
                  <a:pt x="354" y="223"/>
                  <a:pt x="353" y="222"/>
                </a:cubicBezTo>
                <a:cubicBezTo>
                  <a:pt x="353" y="220"/>
                  <a:pt x="353" y="219"/>
                  <a:pt x="352" y="218"/>
                </a:cubicBezTo>
                <a:lnTo>
                  <a:pt x="353" y="218"/>
                </a:lnTo>
                <a:cubicBezTo>
                  <a:pt x="344" y="218"/>
                  <a:pt x="338" y="217"/>
                  <a:pt x="332" y="216"/>
                </a:cubicBezTo>
                <a:cubicBezTo>
                  <a:pt x="333" y="214"/>
                  <a:pt x="333" y="213"/>
                  <a:pt x="333" y="211"/>
                </a:cubicBezTo>
                <a:cubicBezTo>
                  <a:pt x="329" y="211"/>
                  <a:pt x="326" y="215"/>
                  <a:pt x="326" y="220"/>
                </a:cubicBezTo>
                <a:cubicBezTo>
                  <a:pt x="326" y="221"/>
                  <a:pt x="326" y="222"/>
                  <a:pt x="327" y="222"/>
                </a:cubicBezTo>
                <a:cubicBezTo>
                  <a:pt x="327" y="223"/>
                  <a:pt x="328" y="224"/>
                  <a:pt x="328" y="225"/>
                </a:cubicBezTo>
                <a:cubicBezTo>
                  <a:pt x="327" y="229"/>
                  <a:pt x="323" y="231"/>
                  <a:pt x="314" y="230"/>
                </a:cubicBezTo>
                <a:cubicBezTo>
                  <a:pt x="304" y="229"/>
                  <a:pt x="298" y="228"/>
                  <a:pt x="294" y="228"/>
                </a:cubicBezTo>
                <a:cubicBezTo>
                  <a:pt x="291" y="228"/>
                  <a:pt x="288" y="228"/>
                  <a:pt x="285" y="229"/>
                </a:cubicBezTo>
                <a:cubicBezTo>
                  <a:pt x="282" y="230"/>
                  <a:pt x="277" y="231"/>
                  <a:pt x="271" y="232"/>
                </a:cubicBezTo>
                <a:cubicBezTo>
                  <a:pt x="266" y="232"/>
                  <a:pt x="262" y="232"/>
                  <a:pt x="260" y="232"/>
                </a:cubicBezTo>
                <a:cubicBezTo>
                  <a:pt x="256" y="233"/>
                  <a:pt x="253" y="235"/>
                  <a:pt x="250" y="238"/>
                </a:cubicBezTo>
                <a:cubicBezTo>
                  <a:pt x="248" y="240"/>
                  <a:pt x="245" y="242"/>
                  <a:pt x="240" y="242"/>
                </a:cubicBezTo>
                <a:cubicBezTo>
                  <a:pt x="235" y="242"/>
                  <a:pt x="232" y="244"/>
                  <a:pt x="230" y="248"/>
                </a:cubicBezTo>
                <a:cubicBezTo>
                  <a:pt x="228" y="251"/>
                  <a:pt x="227" y="252"/>
                  <a:pt x="225" y="253"/>
                </a:cubicBezTo>
                <a:cubicBezTo>
                  <a:pt x="221" y="253"/>
                  <a:pt x="219" y="253"/>
                  <a:pt x="219" y="253"/>
                </a:cubicBezTo>
                <a:cubicBezTo>
                  <a:pt x="215" y="259"/>
                  <a:pt x="212" y="261"/>
                  <a:pt x="210" y="261"/>
                </a:cubicBezTo>
                <a:cubicBezTo>
                  <a:pt x="206" y="258"/>
                  <a:pt x="203" y="256"/>
                  <a:pt x="201" y="256"/>
                </a:cubicBezTo>
                <a:cubicBezTo>
                  <a:pt x="194" y="259"/>
                  <a:pt x="189" y="260"/>
                  <a:pt x="186" y="259"/>
                </a:cubicBezTo>
                <a:cubicBezTo>
                  <a:pt x="172" y="249"/>
                  <a:pt x="165" y="241"/>
                  <a:pt x="165" y="234"/>
                </a:cubicBezTo>
                <a:lnTo>
                  <a:pt x="154" y="233"/>
                </a:lnTo>
                <a:cubicBezTo>
                  <a:pt x="153" y="234"/>
                  <a:pt x="150" y="233"/>
                  <a:pt x="145" y="230"/>
                </a:cubicBezTo>
                <a:cubicBezTo>
                  <a:pt x="140" y="227"/>
                  <a:pt x="136" y="226"/>
                  <a:pt x="134" y="226"/>
                </a:cubicBezTo>
                <a:cubicBezTo>
                  <a:pt x="133" y="226"/>
                  <a:pt x="130" y="226"/>
                  <a:pt x="128" y="228"/>
                </a:cubicBezTo>
                <a:cubicBezTo>
                  <a:pt x="125" y="229"/>
                  <a:pt x="123" y="230"/>
                  <a:pt x="122" y="230"/>
                </a:cubicBezTo>
                <a:cubicBezTo>
                  <a:pt x="120" y="230"/>
                  <a:pt x="118" y="229"/>
                  <a:pt x="117" y="227"/>
                </a:cubicBezTo>
                <a:cubicBezTo>
                  <a:pt x="117" y="226"/>
                  <a:pt x="117" y="224"/>
                  <a:pt x="116" y="221"/>
                </a:cubicBezTo>
                <a:cubicBezTo>
                  <a:pt x="114" y="223"/>
                  <a:pt x="112" y="226"/>
                  <a:pt x="112" y="230"/>
                </a:cubicBezTo>
                <a:cubicBezTo>
                  <a:pt x="112" y="233"/>
                  <a:pt x="112" y="236"/>
                  <a:pt x="114" y="238"/>
                </a:cubicBezTo>
                <a:cubicBezTo>
                  <a:pt x="116" y="239"/>
                  <a:pt x="117" y="241"/>
                  <a:pt x="117" y="242"/>
                </a:cubicBezTo>
                <a:cubicBezTo>
                  <a:pt x="116" y="248"/>
                  <a:pt x="111" y="255"/>
                  <a:pt x="102" y="262"/>
                </a:cubicBezTo>
                <a:cubicBezTo>
                  <a:pt x="93" y="269"/>
                  <a:pt x="85" y="272"/>
                  <a:pt x="79" y="271"/>
                </a:cubicBezTo>
                <a:cubicBezTo>
                  <a:pt x="76" y="271"/>
                  <a:pt x="75" y="270"/>
                  <a:pt x="76" y="269"/>
                </a:cubicBezTo>
                <a:cubicBezTo>
                  <a:pt x="76" y="267"/>
                  <a:pt x="77" y="266"/>
                  <a:pt x="80" y="264"/>
                </a:cubicBezTo>
                <a:cubicBezTo>
                  <a:pt x="82" y="262"/>
                  <a:pt x="84" y="260"/>
                  <a:pt x="84" y="258"/>
                </a:cubicBezTo>
                <a:cubicBezTo>
                  <a:pt x="84" y="256"/>
                  <a:pt x="81" y="254"/>
                  <a:pt x="76" y="254"/>
                </a:cubicBezTo>
                <a:lnTo>
                  <a:pt x="66" y="253"/>
                </a:lnTo>
                <a:lnTo>
                  <a:pt x="66" y="250"/>
                </a:lnTo>
                <a:cubicBezTo>
                  <a:pt x="67" y="245"/>
                  <a:pt x="68" y="243"/>
                  <a:pt x="69" y="242"/>
                </a:cubicBezTo>
                <a:lnTo>
                  <a:pt x="70" y="237"/>
                </a:lnTo>
                <a:cubicBezTo>
                  <a:pt x="63" y="231"/>
                  <a:pt x="58" y="228"/>
                  <a:pt x="55" y="226"/>
                </a:cubicBezTo>
                <a:cubicBezTo>
                  <a:pt x="55" y="226"/>
                  <a:pt x="51" y="224"/>
                  <a:pt x="43" y="222"/>
                </a:cubicBezTo>
                <a:cubicBezTo>
                  <a:pt x="39" y="221"/>
                  <a:pt x="37" y="218"/>
                  <a:pt x="39" y="213"/>
                </a:cubicBezTo>
                <a:lnTo>
                  <a:pt x="36" y="213"/>
                </a:lnTo>
                <a:cubicBezTo>
                  <a:pt x="35" y="214"/>
                  <a:pt x="33" y="215"/>
                  <a:pt x="30" y="215"/>
                </a:cubicBezTo>
                <a:lnTo>
                  <a:pt x="30" y="216"/>
                </a:lnTo>
                <a:cubicBezTo>
                  <a:pt x="30" y="216"/>
                  <a:pt x="30" y="216"/>
                  <a:pt x="30" y="216"/>
                </a:cubicBezTo>
                <a:cubicBezTo>
                  <a:pt x="30" y="221"/>
                  <a:pt x="27" y="224"/>
                  <a:pt x="23" y="225"/>
                </a:cubicBezTo>
                <a:cubicBezTo>
                  <a:pt x="17" y="226"/>
                  <a:pt x="13" y="227"/>
                  <a:pt x="10" y="228"/>
                </a:cubicBezTo>
                <a:cubicBezTo>
                  <a:pt x="11" y="228"/>
                  <a:pt x="12" y="229"/>
                  <a:pt x="13" y="230"/>
                </a:cubicBezTo>
                <a:cubicBezTo>
                  <a:pt x="14" y="231"/>
                  <a:pt x="15" y="233"/>
                  <a:pt x="15" y="235"/>
                </a:cubicBezTo>
                <a:cubicBezTo>
                  <a:pt x="15" y="236"/>
                  <a:pt x="15" y="237"/>
                  <a:pt x="15" y="239"/>
                </a:cubicBezTo>
                <a:cubicBezTo>
                  <a:pt x="15" y="240"/>
                  <a:pt x="15" y="240"/>
                  <a:pt x="15" y="241"/>
                </a:cubicBezTo>
                <a:lnTo>
                  <a:pt x="15" y="241"/>
                </a:lnTo>
                <a:close/>
              </a:path>
            </a:pathLst>
          </a:custGeom>
          <a:solidFill>
            <a:srgbClr val="D1C8C5"/>
          </a:solidFill>
          <a:ln w="3175">
            <a:solidFill>
              <a:schemeClr val="bg1"/>
            </a:solidFill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82" name="Gruppieren 381"/>
          <p:cNvGrpSpPr/>
          <p:nvPr/>
        </p:nvGrpSpPr>
        <p:grpSpPr>
          <a:xfrm>
            <a:off x="8282029" y="4486350"/>
            <a:ext cx="360040" cy="128376"/>
            <a:chOff x="8257965" y="4486350"/>
            <a:chExt cx="360040" cy="128376"/>
          </a:xfrm>
          <a:solidFill>
            <a:srgbClr val="DADAF5"/>
          </a:solidFill>
        </p:grpSpPr>
        <p:sp>
          <p:nvSpPr>
            <p:cNvPr id="383" name="Textfeld 382"/>
            <p:cNvSpPr txBox="1"/>
            <p:nvPr/>
          </p:nvSpPr>
          <p:spPr>
            <a:xfrm>
              <a:off x="8257965" y="4522393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aden</a:t>
              </a:r>
            </a:p>
          </p:txBody>
        </p:sp>
        <p:sp>
          <p:nvSpPr>
            <p:cNvPr id="384" name="Ellipse 383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5" name="Gruppieren 384"/>
          <p:cNvGrpSpPr/>
          <p:nvPr/>
        </p:nvGrpSpPr>
        <p:grpSpPr>
          <a:xfrm>
            <a:off x="8411811" y="4781237"/>
            <a:ext cx="433582" cy="92333"/>
            <a:chOff x="8136161" y="4521703"/>
            <a:chExt cx="433582" cy="92333"/>
          </a:xfrm>
        </p:grpSpPr>
        <p:sp>
          <p:nvSpPr>
            <p:cNvPr id="386" name="Textfeld 385"/>
            <p:cNvSpPr txBox="1"/>
            <p:nvPr/>
          </p:nvSpPr>
          <p:spPr>
            <a:xfrm>
              <a:off x="8209703" y="452170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ilan</a:t>
              </a:r>
            </a:p>
          </p:txBody>
        </p:sp>
        <p:sp>
          <p:nvSpPr>
            <p:cNvPr id="387" name="Ellipse 386"/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88" name="Gruppieren 387"/>
          <p:cNvGrpSpPr/>
          <p:nvPr/>
        </p:nvGrpSpPr>
        <p:grpSpPr>
          <a:xfrm>
            <a:off x="9205936" y="4803533"/>
            <a:ext cx="360040" cy="129723"/>
            <a:chOff x="8201936" y="4486350"/>
            <a:chExt cx="360040" cy="129723"/>
          </a:xfrm>
        </p:grpSpPr>
        <p:sp>
          <p:nvSpPr>
            <p:cNvPr id="389" name="Textfeld 388"/>
            <p:cNvSpPr txBox="1"/>
            <p:nvPr/>
          </p:nvSpPr>
          <p:spPr>
            <a:xfrm>
              <a:off x="8201936" y="452374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Zagreb</a:t>
              </a:r>
            </a:p>
          </p:txBody>
        </p:sp>
        <p:sp>
          <p:nvSpPr>
            <p:cNvPr id="390" name="Ellipse 389"/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1" name="Gruppieren 390">
            <a:extLst>
              <a:ext uri="{FF2B5EF4-FFF2-40B4-BE49-F238E27FC236}">
                <a16:creationId xmlns:a16="http://schemas.microsoft.com/office/drawing/2014/main" id="{4600E483-EFEF-4385-A37B-B588CE039AB3}"/>
              </a:ext>
            </a:extLst>
          </p:cNvPr>
          <p:cNvGrpSpPr/>
          <p:nvPr/>
        </p:nvGrpSpPr>
        <p:grpSpPr>
          <a:xfrm>
            <a:off x="9737262" y="4958100"/>
            <a:ext cx="461170" cy="149745"/>
            <a:chOff x="8207271" y="4491333"/>
            <a:chExt cx="461170" cy="149745"/>
          </a:xfrm>
        </p:grpSpPr>
        <p:sp>
          <p:nvSpPr>
            <p:cNvPr id="392" name="Textfeld 391">
              <a:extLst>
                <a:ext uri="{FF2B5EF4-FFF2-40B4-BE49-F238E27FC236}">
                  <a16:creationId xmlns:a16="http://schemas.microsoft.com/office/drawing/2014/main" id="{7FDC8A0A-C797-47B7-AD3F-CD3CF8467354}"/>
                </a:ext>
              </a:extLst>
            </p:cNvPr>
            <p:cNvSpPr txBox="1"/>
            <p:nvPr/>
          </p:nvSpPr>
          <p:spPr>
            <a:xfrm>
              <a:off x="8207271" y="4548745"/>
              <a:ext cx="46117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elgrade</a:t>
              </a:r>
            </a:p>
          </p:txBody>
        </p:sp>
        <p:sp>
          <p:nvSpPr>
            <p:cNvPr id="393" name="Ellipse 392">
              <a:extLst>
                <a:ext uri="{FF2B5EF4-FFF2-40B4-BE49-F238E27FC236}">
                  <a16:creationId xmlns:a16="http://schemas.microsoft.com/office/drawing/2014/main" id="{49CB88BF-F92C-4854-A199-968104512EF5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4" name="Gruppieren 393">
            <a:extLst>
              <a:ext uri="{FF2B5EF4-FFF2-40B4-BE49-F238E27FC236}">
                <a16:creationId xmlns:a16="http://schemas.microsoft.com/office/drawing/2014/main" id="{FA80FD76-D7DB-4AFB-B8D5-A197F8AC8E4B}"/>
              </a:ext>
            </a:extLst>
          </p:cNvPr>
          <p:cNvGrpSpPr/>
          <p:nvPr/>
        </p:nvGrpSpPr>
        <p:grpSpPr>
          <a:xfrm>
            <a:off x="8882146" y="5106246"/>
            <a:ext cx="749088" cy="92333"/>
            <a:chOff x="7740528" y="4577237"/>
            <a:chExt cx="749088" cy="92333"/>
          </a:xfrm>
        </p:grpSpPr>
        <p:sp>
          <p:nvSpPr>
            <p:cNvPr id="395" name="Textfeld 394">
              <a:extLst>
                <a:ext uri="{FF2B5EF4-FFF2-40B4-BE49-F238E27FC236}">
                  <a16:creationId xmlns:a16="http://schemas.microsoft.com/office/drawing/2014/main" id="{C9A37E1A-E27A-44A7-AB8E-2327A39AFA6C}"/>
                </a:ext>
              </a:extLst>
            </p:cNvPr>
            <p:cNvSpPr txBox="1"/>
            <p:nvPr/>
          </p:nvSpPr>
          <p:spPr>
            <a:xfrm>
              <a:off x="7740528" y="4577237"/>
              <a:ext cx="68240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arajevo</a:t>
              </a:r>
            </a:p>
          </p:txBody>
        </p:sp>
        <p:sp>
          <p:nvSpPr>
            <p:cNvPr id="396" name="Ellipse 395">
              <a:extLst>
                <a:ext uri="{FF2B5EF4-FFF2-40B4-BE49-F238E27FC236}">
                  <a16:creationId xmlns:a16="http://schemas.microsoft.com/office/drawing/2014/main" id="{515F1AFF-EF03-4FF5-AD18-F34905603756}"/>
                </a:ext>
              </a:extLst>
            </p:cNvPr>
            <p:cNvSpPr/>
            <p:nvPr/>
          </p:nvSpPr>
          <p:spPr>
            <a:xfrm>
              <a:off x="8453616" y="4619491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7" name="Gruppieren 396">
            <a:extLst>
              <a:ext uri="{FF2B5EF4-FFF2-40B4-BE49-F238E27FC236}">
                <a16:creationId xmlns:a16="http://schemas.microsoft.com/office/drawing/2014/main" id="{F9DE7477-BED4-47CE-96F9-A4CB9543B22A}"/>
              </a:ext>
            </a:extLst>
          </p:cNvPr>
          <p:cNvGrpSpPr/>
          <p:nvPr/>
        </p:nvGrpSpPr>
        <p:grpSpPr>
          <a:xfrm>
            <a:off x="9541426" y="5364809"/>
            <a:ext cx="439324" cy="92333"/>
            <a:chOff x="8173113" y="4546194"/>
            <a:chExt cx="439324" cy="92333"/>
          </a:xfrm>
        </p:grpSpPr>
        <p:sp>
          <p:nvSpPr>
            <p:cNvPr id="398" name="Textfeld 397">
              <a:extLst>
                <a:ext uri="{FF2B5EF4-FFF2-40B4-BE49-F238E27FC236}">
                  <a16:creationId xmlns:a16="http://schemas.microsoft.com/office/drawing/2014/main" id="{2623CA8D-8479-4441-AF9C-BA4399DF5E13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stina</a:t>
              </a:r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34A7FD78-5620-42F6-9CE3-1C6F4D32E69B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B526F7CF-F47D-4D36-A71F-540EC3655809}"/>
              </a:ext>
            </a:extLst>
          </p:cNvPr>
          <p:cNvGrpSpPr/>
          <p:nvPr/>
        </p:nvGrpSpPr>
        <p:grpSpPr>
          <a:xfrm>
            <a:off x="9988997" y="5530933"/>
            <a:ext cx="440023" cy="92333"/>
            <a:chOff x="8136161" y="4533672"/>
            <a:chExt cx="440023" cy="92333"/>
          </a:xfrm>
        </p:grpSpPr>
        <p:sp>
          <p:nvSpPr>
            <p:cNvPr id="401" name="Textfeld 400">
              <a:extLst>
                <a:ext uri="{FF2B5EF4-FFF2-40B4-BE49-F238E27FC236}">
                  <a16:creationId xmlns:a16="http://schemas.microsoft.com/office/drawing/2014/main" id="{558E3B9C-0593-41B4-820F-270C72054304}"/>
                </a:ext>
              </a:extLst>
            </p:cNvPr>
            <p:cNvSpPr txBox="1"/>
            <p:nvPr/>
          </p:nvSpPr>
          <p:spPr>
            <a:xfrm>
              <a:off x="8216144" y="453367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kopje</a:t>
              </a:r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4797F57B-E567-45E5-BABC-0D7FDF68DD7F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3" name="Gruppieren 402">
            <a:extLst>
              <a:ext uri="{FF2B5EF4-FFF2-40B4-BE49-F238E27FC236}">
                <a16:creationId xmlns:a16="http://schemas.microsoft.com/office/drawing/2014/main" id="{78E7659E-0F01-456D-A6C8-DE6BA898817F}"/>
              </a:ext>
            </a:extLst>
          </p:cNvPr>
          <p:cNvGrpSpPr/>
          <p:nvPr/>
        </p:nvGrpSpPr>
        <p:grpSpPr>
          <a:xfrm>
            <a:off x="9649098" y="5684235"/>
            <a:ext cx="360040" cy="134432"/>
            <a:chOff x="8169952" y="4491333"/>
            <a:chExt cx="360040" cy="134432"/>
          </a:xfrm>
        </p:grpSpPr>
        <p:sp>
          <p:nvSpPr>
            <p:cNvPr id="404" name="Textfeld 403">
              <a:extLst>
                <a:ext uri="{FF2B5EF4-FFF2-40B4-BE49-F238E27FC236}">
                  <a16:creationId xmlns:a16="http://schemas.microsoft.com/office/drawing/2014/main" id="{6CDDE451-0C48-43CB-BBF4-836BC74E688E}"/>
                </a:ext>
              </a:extLst>
            </p:cNvPr>
            <p:cNvSpPr txBox="1"/>
            <p:nvPr/>
          </p:nvSpPr>
          <p:spPr>
            <a:xfrm>
              <a:off x="8169952" y="4533432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irana</a:t>
              </a:r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C8A5E71-321F-43A1-B77B-3B6EBEFB4DFE}"/>
                </a:ext>
              </a:extLst>
            </p:cNvPr>
            <p:cNvSpPr/>
            <p:nvPr/>
          </p:nvSpPr>
          <p:spPr>
            <a:xfrm>
              <a:off x="8349245" y="4491333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6" name="Gruppieren 405">
            <a:extLst>
              <a:ext uri="{FF2B5EF4-FFF2-40B4-BE49-F238E27FC236}">
                <a16:creationId xmlns:a16="http://schemas.microsoft.com/office/drawing/2014/main" id="{F5FBCADA-E7F9-4955-9750-E1951751A531}"/>
              </a:ext>
            </a:extLst>
          </p:cNvPr>
          <p:cNvGrpSpPr/>
          <p:nvPr/>
        </p:nvGrpSpPr>
        <p:grpSpPr>
          <a:xfrm>
            <a:off x="10301593" y="5338949"/>
            <a:ext cx="452437" cy="92333"/>
            <a:chOff x="8136161" y="4521488"/>
            <a:chExt cx="452437" cy="92333"/>
          </a:xfrm>
        </p:grpSpPr>
        <p:sp>
          <p:nvSpPr>
            <p:cNvPr id="407" name="Textfeld 406">
              <a:extLst>
                <a:ext uri="{FF2B5EF4-FFF2-40B4-BE49-F238E27FC236}">
                  <a16:creationId xmlns:a16="http://schemas.microsoft.com/office/drawing/2014/main" id="{8D97CF51-D73F-4777-9335-9072D8EC7813}"/>
                </a:ext>
              </a:extLst>
            </p:cNvPr>
            <p:cNvSpPr txBox="1"/>
            <p:nvPr/>
          </p:nvSpPr>
          <p:spPr>
            <a:xfrm>
              <a:off x="8228558" y="452148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ofia</a:t>
              </a:r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4226BAB8-E7F5-49B0-8E02-E5D758D03AD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721EC0E0-4EB5-40C2-9F5D-1E7273CB8960}"/>
              </a:ext>
            </a:extLst>
          </p:cNvPr>
          <p:cNvGrpSpPr/>
          <p:nvPr/>
        </p:nvGrpSpPr>
        <p:grpSpPr>
          <a:xfrm>
            <a:off x="10991417" y="5435082"/>
            <a:ext cx="360040" cy="170864"/>
            <a:chOff x="8212860" y="4534848"/>
            <a:chExt cx="360040" cy="170864"/>
          </a:xfrm>
        </p:grpSpPr>
        <p:sp>
          <p:nvSpPr>
            <p:cNvPr id="410" name="Textfeld 409">
              <a:extLst>
                <a:ext uri="{FF2B5EF4-FFF2-40B4-BE49-F238E27FC236}">
                  <a16:creationId xmlns:a16="http://schemas.microsoft.com/office/drawing/2014/main" id="{F2CAB875-812D-48D0-8176-10B992362404}"/>
                </a:ext>
              </a:extLst>
            </p:cNvPr>
            <p:cNvSpPr txBox="1"/>
            <p:nvPr/>
          </p:nvSpPr>
          <p:spPr>
            <a:xfrm>
              <a:off x="8212860" y="45348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tanbul</a:t>
              </a:r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2FAFC5DF-330A-4273-9F02-AF80BF5B5B0E}"/>
                </a:ext>
              </a:extLst>
            </p:cNvPr>
            <p:cNvSpPr/>
            <p:nvPr/>
          </p:nvSpPr>
          <p:spPr>
            <a:xfrm>
              <a:off x="8324556" y="4669712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2" name="Gruppieren 411">
            <a:extLst>
              <a:ext uri="{FF2B5EF4-FFF2-40B4-BE49-F238E27FC236}">
                <a16:creationId xmlns:a16="http://schemas.microsoft.com/office/drawing/2014/main" id="{58C11163-8844-4C5A-AC77-AFEA5664EC93}"/>
              </a:ext>
            </a:extLst>
          </p:cNvPr>
          <p:cNvGrpSpPr/>
          <p:nvPr/>
        </p:nvGrpSpPr>
        <p:grpSpPr>
          <a:xfrm>
            <a:off x="10400780" y="4846910"/>
            <a:ext cx="475727" cy="175777"/>
            <a:chOff x="8132307" y="4530463"/>
            <a:chExt cx="475727" cy="175777"/>
          </a:xfrm>
        </p:grpSpPr>
        <p:sp>
          <p:nvSpPr>
            <p:cNvPr id="413" name="Textfeld 412">
              <a:extLst>
                <a:ext uri="{FF2B5EF4-FFF2-40B4-BE49-F238E27FC236}">
                  <a16:creationId xmlns:a16="http://schemas.microsoft.com/office/drawing/2014/main" id="{292C5C56-4944-4753-9C05-C19BAB42CBB8}"/>
                </a:ext>
              </a:extLst>
            </p:cNvPr>
            <p:cNvSpPr txBox="1"/>
            <p:nvPr/>
          </p:nvSpPr>
          <p:spPr>
            <a:xfrm>
              <a:off x="8132307" y="4530463"/>
              <a:ext cx="475727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ucharest</a:t>
              </a:r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3F61D099-E774-44DE-BD4D-67F96B827A08}"/>
                </a:ext>
              </a:extLst>
            </p:cNvPr>
            <p:cNvSpPr/>
            <p:nvPr/>
          </p:nvSpPr>
          <p:spPr>
            <a:xfrm>
              <a:off x="8356538" y="46702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5" name="Gruppieren 414">
            <a:extLst>
              <a:ext uri="{FF2B5EF4-FFF2-40B4-BE49-F238E27FC236}">
                <a16:creationId xmlns:a16="http://schemas.microsoft.com/office/drawing/2014/main" id="{4A196F63-8410-4264-90BE-A7718561EA49}"/>
              </a:ext>
            </a:extLst>
          </p:cNvPr>
          <p:cNvGrpSpPr/>
          <p:nvPr/>
        </p:nvGrpSpPr>
        <p:grpSpPr>
          <a:xfrm>
            <a:off x="8788805" y="5522860"/>
            <a:ext cx="443447" cy="92333"/>
            <a:chOff x="8136161" y="4519771"/>
            <a:chExt cx="443447" cy="92333"/>
          </a:xfrm>
        </p:grpSpPr>
        <p:sp>
          <p:nvSpPr>
            <p:cNvPr id="416" name="Textfeld 415">
              <a:extLst>
                <a:ext uri="{FF2B5EF4-FFF2-40B4-BE49-F238E27FC236}">
                  <a16:creationId xmlns:a16="http://schemas.microsoft.com/office/drawing/2014/main" id="{D1AB60F5-832B-4E80-A94D-1386C3B89966}"/>
                </a:ext>
              </a:extLst>
            </p:cNvPr>
            <p:cNvSpPr txBox="1"/>
            <p:nvPr/>
          </p:nvSpPr>
          <p:spPr>
            <a:xfrm>
              <a:off x="8219568" y="451977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ome</a:t>
              </a:r>
            </a:p>
          </p:txBody>
        </p:sp>
        <p:sp>
          <p:nvSpPr>
            <p:cNvPr id="417" name="Ellipse 416">
              <a:extLst>
                <a:ext uri="{FF2B5EF4-FFF2-40B4-BE49-F238E27FC236}">
                  <a16:creationId xmlns:a16="http://schemas.microsoft.com/office/drawing/2014/main" id="{6B3A4F01-2E4D-4F1F-95B9-245D27EC7A1E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18" name="Gruppieren 417">
            <a:extLst>
              <a:ext uri="{FF2B5EF4-FFF2-40B4-BE49-F238E27FC236}">
                <a16:creationId xmlns:a16="http://schemas.microsoft.com/office/drawing/2014/main" id="{13A5E4E1-B35C-444E-8A61-E0C0518ED540}"/>
              </a:ext>
            </a:extLst>
          </p:cNvPr>
          <p:cNvGrpSpPr/>
          <p:nvPr/>
        </p:nvGrpSpPr>
        <p:grpSpPr>
          <a:xfrm>
            <a:off x="7908291" y="4960456"/>
            <a:ext cx="471523" cy="92333"/>
            <a:chOff x="8140914" y="4543536"/>
            <a:chExt cx="471523" cy="92333"/>
          </a:xfrm>
          <a:solidFill>
            <a:srgbClr val="DADAF5"/>
          </a:solidFill>
        </p:grpSpPr>
        <p:sp>
          <p:nvSpPr>
            <p:cNvPr id="419" name="Textfeld 418">
              <a:extLst>
                <a:ext uri="{FF2B5EF4-FFF2-40B4-BE49-F238E27FC236}">
                  <a16:creationId xmlns:a16="http://schemas.microsoft.com/office/drawing/2014/main" id="{6631B7AF-D2AF-494C-9C5B-553B360E6CAB}"/>
                </a:ext>
              </a:extLst>
            </p:cNvPr>
            <p:cNvSpPr txBox="1"/>
            <p:nvPr/>
          </p:nvSpPr>
          <p:spPr>
            <a:xfrm>
              <a:off x="8140914" y="4543536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noa</a:t>
              </a:r>
            </a:p>
          </p:txBody>
        </p:sp>
        <p:sp>
          <p:nvSpPr>
            <p:cNvPr id="420" name="Ellipse 419">
              <a:extLst>
                <a:ext uri="{FF2B5EF4-FFF2-40B4-BE49-F238E27FC236}">
                  <a16:creationId xmlns:a16="http://schemas.microsoft.com/office/drawing/2014/main" id="{114FDBD9-C2FD-4C68-A858-2871EABACE1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1" name="Gruppieren 420">
            <a:extLst>
              <a:ext uri="{FF2B5EF4-FFF2-40B4-BE49-F238E27FC236}">
                <a16:creationId xmlns:a16="http://schemas.microsoft.com/office/drawing/2014/main" id="{33219AB0-667D-4AFE-B259-A13F355AC50A}"/>
              </a:ext>
            </a:extLst>
          </p:cNvPr>
          <p:cNvGrpSpPr/>
          <p:nvPr/>
        </p:nvGrpSpPr>
        <p:grpSpPr>
          <a:xfrm>
            <a:off x="7521374" y="4659247"/>
            <a:ext cx="439324" cy="92333"/>
            <a:chOff x="8173113" y="4546194"/>
            <a:chExt cx="439324" cy="92333"/>
          </a:xfrm>
          <a:solidFill>
            <a:srgbClr val="DADAF5"/>
          </a:solidFill>
        </p:grpSpPr>
        <p:sp>
          <p:nvSpPr>
            <p:cNvPr id="422" name="Textfeld 421">
              <a:extLst>
                <a:ext uri="{FF2B5EF4-FFF2-40B4-BE49-F238E27FC236}">
                  <a16:creationId xmlns:a16="http://schemas.microsoft.com/office/drawing/2014/main" id="{0639DF45-FE77-4AF7-9990-6C448999F66A}"/>
                </a:ext>
              </a:extLst>
            </p:cNvPr>
            <p:cNvSpPr txBox="1"/>
            <p:nvPr/>
          </p:nvSpPr>
          <p:spPr>
            <a:xfrm>
              <a:off x="8173113" y="4546194"/>
              <a:ext cx="360040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yon</a:t>
              </a:r>
            </a:p>
          </p:txBody>
        </p:sp>
        <p:sp>
          <p:nvSpPr>
            <p:cNvPr id="423" name="Ellipse 422">
              <a:extLst>
                <a:ext uri="{FF2B5EF4-FFF2-40B4-BE49-F238E27FC236}">
                  <a16:creationId xmlns:a16="http://schemas.microsoft.com/office/drawing/2014/main" id="{A1B62CD5-E2C7-4929-B75B-D982A12F95B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4" name="Gruppieren 423">
            <a:extLst>
              <a:ext uri="{FF2B5EF4-FFF2-40B4-BE49-F238E27FC236}">
                <a16:creationId xmlns:a16="http://schemas.microsoft.com/office/drawing/2014/main" id="{E4DDABA8-1A84-4943-82DB-94018BFC7B6F}"/>
              </a:ext>
            </a:extLst>
          </p:cNvPr>
          <p:cNvGrpSpPr/>
          <p:nvPr/>
        </p:nvGrpSpPr>
        <p:grpSpPr>
          <a:xfrm>
            <a:off x="7635780" y="4490361"/>
            <a:ext cx="556290" cy="92333"/>
            <a:chOff x="8056147" y="4533960"/>
            <a:chExt cx="556290" cy="92333"/>
          </a:xfrm>
          <a:solidFill>
            <a:srgbClr val="DADAF5"/>
          </a:solidFill>
        </p:grpSpPr>
        <p:sp>
          <p:nvSpPr>
            <p:cNvPr id="425" name="Textfeld 424">
              <a:extLst>
                <a:ext uri="{FF2B5EF4-FFF2-40B4-BE49-F238E27FC236}">
                  <a16:creationId xmlns:a16="http://schemas.microsoft.com/office/drawing/2014/main" id="{4093CCC0-555F-44C4-9748-A5E3C9337F8D}"/>
                </a:ext>
              </a:extLst>
            </p:cNvPr>
            <p:cNvSpPr txBox="1"/>
            <p:nvPr/>
          </p:nvSpPr>
          <p:spPr>
            <a:xfrm>
              <a:off x="8056147" y="4533960"/>
              <a:ext cx="481081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ausanne</a:t>
              </a:r>
            </a:p>
          </p:txBody>
        </p:sp>
        <p:sp>
          <p:nvSpPr>
            <p:cNvPr id="426" name="Ellipse 425">
              <a:extLst>
                <a:ext uri="{FF2B5EF4-FFF2-40B4-BE49-F238E27FC236}">
                  <a16:creationId xmlns:a16="http://schemas.microsoft.com/office/drawing/2014/main" id="{204A9AF4-528F-4B8E-842C-5C3A9956288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7" name="Gruppieren 426">
            <a:extLst>
              <a:ext uri="{FF2B5EF4-FFF2-40B4-BE49-F238E27FC236}">
                <a16:creationId xmlns:a16="http://schemas.microsoft.com/office/drawing/2014/main" id="{6948855A-4408-4373-B9A1-9F1727429BE7}"/>
              </a:ext>
            </a:extLst>
          </p:cNvPr>
          <p:cNvGrpSpPr/>
          <p:nvPr/>
        </p:nvGrpSpPr>
        <p:grpSpPr>
          <a:xfrm>
            <a:off x="7829682" y="3982876"/>
            <a:ext cx="567173" cy="140558"/>
            <a:chOff x="8054548" y="4486350"/>
            <a:chExt cx="567173" cy="140558"/>
          </a:xfrm>
          <a:solidFill>
            <a:srgbClr val="DADAF5"/>
          </a:solidFill>
        </p:grpSpPr>
        <p:sp>
          <p:nvSpPr>
            <p:cNvPr id="428" name="Textfeld 427">
              <a:extLst>
                <a:ext uri="{FF2B5EF4-FFF2-40B4-BE49-F238E27FC236}">
                  <a16:creationId xmlns:a16="http://schemas.microsoft.com/office/drawing/2014/main" id="{8CC0326C-52D2-403D-9C93-097E999E11A3}"/>
                </a:ext>
              </a:extLst>
            </p:cNvPr>
            <p:cNvSpPr txBox="1"/>
            <p:nvPr/>
          </p:nvSpPr>
          <p:spPr>
            <a:xfrm>
              <a:off x="8054548" y="4534575"/>
              <a:ext cx="567173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uxembourg</a:t>
              </a:r>
            </a:p>
          </p:txBody>
        </p:sp>
        <p:sp>
          <p:nvSpPr>
            <p:cNvPr id="429" name="Ellipse 428">
              <a:extLst>
                <a:ext uri="{FF2B5EF4-FFF2-40B4-BE49-F238E27FC236}">
                  <a16:creationId xmlns:a16="http://schemas.microsoft.com/office/drawing/2014/main" id="{949A1CB6-FA76-40F8-8A14-3DB57BCD3FB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0" name="Gruppieren 429">
            <a:extLst>
              <a:ext uri="{FF2B5EF4-FFF2-40B4-BE49-F238E27FC236}">
                <a16:creationId xmlns:a16="http://schemas.microsoft.com/office/drawing/2014/main" id="{32C6E3BF-18D7-4D69-87E6-59D18FA3AB32}"/>
              </a:ext>
            </a:extLst>
          </p:cNvPr>
          <p:cNvGrpSpPr/>
          <p:nvPr/>
        </p:nvGrpSpPr>
        <p:grpSpPr>
          <a:xfrm>
            <a:off x="8907563" y="4322151"/>
            <a:ext cx="425203" cy="92333"/>
            <a:chOff x="8187234" y="4549748"/>
            <a:chExt cx="425203" cy="92333"/>
          </a:xfrm>
        </p:grpSpPr>
        <p:sp>
          <p:nvSpPr>
            <p:cNvPr id="431" name="Textfeld 430">
              <a:extLst>
                <a:ext uri="{FF2B5EF4-FFF2-40B4-BE49-F238E27FC236}">
                  <a16:creationId xmlns:a16="http://schemas.microsoft.com/office/drawing/2014/main" id="{B674785A-B178-4C29-B43A-6A3BB1DCBD1B}"/>
                </a:ext>
              </a:extLst>
            </p:cNvPr>
            <p:cNvSpPr txBox="1"/>
            <p:nvPr/>
          </p:nvSpPr>
          <p:spPr>
            <a:xfrm>
              <a:off x="8187234" y="4549748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Vienna</a:t>
              </a:r>
            </a:p>
          </p:txBody>
        </p:sp>
        <p:sp>
          <p:nvSpPr>
            <p:cNvPr id="432" name="Ellipse 431">
              <a:extLst>
                <a:ext uri="{FF2B5EF4-FFF2-40B4-BE49-F238E27FC236}">
                  <a16:creationId xmlns:a16="http://schemas.microsoft.com/office/drawing/2014/main" id="{CB4BDB66-119C-47AA-9569-40C7C8CC7521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3" name="Gruppieren 432">
            <a:extLst>
              <a:ext uri="{FF2B5EF4-FFF2-40B4-BE49-F238E27FC236}">
                <a16:creationId xmlns:a16="http://schemas.microsoft.com/office/drawing/2014/main" id="{3A05B3F1-14FE-4CBA-ABDA-6ED6723E9C52}"/>
              </a:ext>
            </a:extLst>
          </p:cNvPr>
          <p:cNvGrpSpPr/>
          <p:nvPr/>
        </p:nvGrpSpPr>
        <p:grpSpPr>
          <a:xfrm>
            <a:off x="9478516" y="4296779"/>
            <a:ext cx="533017" cy="92333"/>
            <a:chOff x="8136161" y="4518575"/>
            <a:chExt cx="533017" cy="92333"/>
          </a:xfrm>
        </p:grpSpPr>
        <p:sp>
          <p:nvSpPr>
            <p:cNvPr id="434" name="Textfeld 433">
              <a:extLst>
                <a:ext uri="{FF2B5EF4-FFF2-40B4-BE49-F238E27FC236}">
                  <a16:creationId xmlns:a16="http://schemas.microsoft.com/office/drawing/2014/main" id="{2F5FABE9-8953-4C74-80A2-1F45D419D334}"/>
                </a:ext>
              </a:extLst>
            </p:cNvPr>
            <p:cNvSpPr txBox="1"/>
            <p:nvPr/>
          </p:nvSpPr>
          <p:spPr>
            <a:xfrm>
              <a:off x="8211948" y="4518575"/>
              <a:ext cx="45723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atislava</a:t>
              </a:r>
            </a:p>
          </p:txBody>
        </p:sp>
        <p:sp>
          <p:nvSpPr>
            <p:cNvPr id="435" name="Ellipse 434">
              <a:extLst>
                <a:ext uri="{FF2B5EF4-FFF2-40B4-BE49-F238E27FC236}">
                  <a16:creationId xmlns:a16="http://schemas.microsoft.com/office/drawing/2014/main" id="{8C0221F3-C9CE-4DA9-AFED-DCC94F0B9F5C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6" name="Gruppieren 435">
            <a:extLst>
              <a:ext uri="{FF2B5EF4-FFF2-40B4-BE49-F238E27FC236}">
                <a16:creationId xmlns:a16="http://schemas.microsoft.com/office/drawing/2014/main" id="{FD085599-36FF-4C30-B42F-D040729B5673}"/>
              </a:ext>
            </a:extLst>
          </p:cNvPr>
          <p:cNvGrpSpPr/>
          <p:nvPr/>
        </p:nvGrpSpPr>
        <p:grpSpPr>
          <a:xfrm>
            <a:off x="6459960" y="5420008"/>
            <a:ext cx="462567" cy="92333"/>
            <a:chOff x="8136161" y="4523576"/>
            <a:chExt cx="462567" cy="92333"/>
          </a:xfrm>
        </p:grpSpPr>
        <p:sp>
          <p:nvSpPr>
            <p:cNvPr id="437" name="Textfeld 436">
              <a:extLst>
                <a:ext uri="{FF2B5EF4-FFF2-40B4-BE49-F238E27FC236}">
                  <a16:creationId xmlns:a16="http://schemas.microsoft.com/office/drawing/2014/main" id="{08CC24AB-C93F-474D-B02C-9CFFFA084B73}"/>
                </a:ext>
              </a:extLst>
            </p:cNvPr>
            <p:cNvSpPr txBox="1"/>
            <p:nvPr/>
          </p:nvSpPr>
          <p:spPr>
            <a:xfrm>
              <a:off x="8238688" y="452357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drid</a:t>
              </a:r>
            </a:p>
          </p:txBody>
        </p:sp>
        <p:sp>
          <p:nvSpPr>
            <p:cNvPr id="438" name="Ellipse 437">
              <a:extLst>
                <a:ext uri="{FF2B5EF4-FFF2-40B4-BE49-F238E27FC236}">
                  <a16:creationId xmlns:a16="http://schemas.microsoft.com/office/drawing/2014/main" id="{F7D06720-B8F3-4455-B3FC-3C0B13E7676A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39" name="Gruppieren 438">
            <a:extLst>
              <a:ext uri="{FF2B5EF4-FFF2-40B4-BE49-F238E27FC236}">
                <a16:creationId xmlns:a16="http://schemas.microsoft.com/office/drawing/2014/main" id="{E962E7FB-090E-433B-A9AB-FEA2137B63D3}"/>
              </a:ext>
            </a:extLst>
          </p:cNvPr>
          <p:cNvGrpSpPr/>
          <p:nvPr/>
        </p:nvGrpSpPr>
        <p:grpSpPr>
          <a:xfrm>
            <a:off x="5926943" y="5950963"/>
            <a:ext cx="942820" cy="92333"/>
            <a:chOff x="8136161" y="4507474"/>
            <a:chExt cx="942820" cy="92333"/>
          </a:xfrm>
        </p:grpSpPr>
        <p:sp>
          <p:nvSpPr>
            <p:cNvPr id="440" name="Textfeld 439">
              <a:extLst>
                <a:ext uri="{FF2B5EF4-FFF2-40B4-BE49-F238E27FC236}">
                  <a16:creationId xmlns:a16="http://schemas.microsoft.com/office/drawing/2014/main" id="{07FA2673-BDD9-4379-AD57-69AB05AAEAD6}"/>
                </a:ext>
              </a:extLst>
            </p:cNvPr>
            <p:cNvSpPr txBox="1"/>
            <p:nvPr/>
          </p:nvSpPr>
          <p:spPr>
            <a:xfrm>
              <a:off x="8212145" y="4507474"/>
              <a:ext cx="86683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Jerez de la Frontera</a:t>
              </a:r>
            </a:p>
          </p:txBody>
        </p:sp>
        <p:sp>
          <p:nvSpPr>
            <p:cNvPr id="441" name="Ellipse 440">
              <a:extLst>
                <a:ext uri="{FF2B5EF4-FFF2-40B4-BE49-F238E27FC236}">
                  <a16:creationId xmlns:a16="http://schemas.microsoft.com/office/drawing/2014/main" id="{F3BE9CBB-BCE5-4DB7-9D7C-F2E43A801011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2" name="Gruppieren 441">
            <a:extLst>
              <a:ext uri="{FF2B5EF4-FFF2-40B4-BE49-F238E27FC236}">
                <a16:creationId xmlns:a16="http://schemas.microsoft.com/office/drawing/2014/main" id="{02CF6360-09F5-43CB-83D7-88F4A9172812}"/>
              </a:ext>
            </a:extLst>
          </p:cNvPr>
          <p:cNvGrpSpPr/>
          <p:nvPr/>
        </p:nvGrpSpPr>
        <p:grpSpPr>
          <a:xfrm>
            <a:off x="7944694" y="6483639"/>
            <a:ext cx="464949" cy="92333"/>
            <a:chOff x="8147488" y="4546916"/>
            <a:chExt cx="464949" cy="92333"/>
          </a:xfrm>
        </p:grpSpPr>
        <p:sp>
          <p:nvSpPr>
            <p:cNvPr id="443" name="Textfeld 442">
              <a:extLst>
                <a:ext uri="{FF2B5EF4-FFF2-40B4-BE49-F238E27FC236}">
                  <a16:creationId xmlns:a16="http://schemas.microsoft.com/office/drawing/2014/main" id="{0EBCD736-A813-4F31-A4EE-A9E3CF088288}"/>
                </a:ext>
              </a:extLst>
            </p:cNvPr>
            <p:cNvSpPr txBox="1"/>
            <p:nvPr/>
          </p:nvSpPr>
          <p:spPr>
            <a:xfrm>
              <a:off x="8147488" y="4546916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unis</a:t>
              </a:r>
            </a:p>
          </p:txBody>
        </p:sp>
        <p:sp>
          <p:nvSpPr>
            <p:cNvPr id="444" name="Ellipse 443">
              <a:extLst>
                <a:ext uri="{FF2B5EF4-FFF2-40B4-BE49-F238E27FC236}">
                  <a16:creationId xmlns:a16="http://schemas.microsoft.com/office/drawing/2014/main" id="{C013ABDE-EAD6-4542-8A0D-8998867AF5A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5" name="Gruppieren 444">
            <a:extLst>
              <a:ext uri="{FF2B5EF4-FFF2-40B4-BE49-F238E27FC236}">
                <a16:creationId xmlns:a16="http://schemas.microsoft.com/office/drawing/2014/main" id="{85901DD0-3678-4D4C-B33D-23B252FDED06}"/>
              </a:ext>
            </a:extLst>
          </p:cNvPr>
          <p:cNvGrpSpPr/>
          <p:nvPr/>
        </p:nvGrpSpPr>
        <p:grpSpPr>
          <a:xfrm>
            <a:off x="4999760" y="5429616"/>
            <a:ext cx="690011" cy="107722"/>
            <a:chOff x="7922426" y="4533029"/>
            <a:chExt cx="690011" cy="107722"/>
          </a:xfrm>
        </p:grpSpPr>
        <p:sp>
          <p:nvSpPr>
            <p:cNvPr id="446" name="Textfeld 445">
              <a:extLst>
                <a:ext uri="{FF2B5EF4-FFF2-40B4-BE49-F238E27FC236}">
                  <a16:creationId xmlns:a16="http://schemas.microsoft.com/office/drawing/2014/main" id="{B52E734B-CAD7-4256-978C-18CDB034E36A}"/>
                </a:ext>
              </a:extLst>
            </p:cNvPr>
            <p:cNvSpPr txBox="1"/>
            <p:nvPr/>
          </p:nvSpPr>
          <p:spPr>
            <a:xfrm>
              <a:off x="7922426" y="4533029"/>
              <a:ext cx="5571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isbon</a:t>
              </a:r>
            </a:p>
          </p:txBody>
        </p:sp>
        <p:sp>
          <p:nvSpPr>
            <p:cNvPr id="447" name="Ellipse 446">
              <a:extLst>
                <a:ext uri="{FF2B5EF4-FFF2-40B4-BE49-F238E27FC236}">
                  <a16:creationId xmlns:a16="http://schemas.microsoft.com/office/drawing/2014/main" id="{05C7E062-EE91-46F3-961B-372D9767122D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48" name="Gruppieren 447">
            <a:extLst>
              <a:ext uri="{FF2B5EF4-FFF2-40B4-BE49-F238E27FC236}">
                <a16:creationId xmlns:a16="http://schemas.microsoft.com/office/drawing/2014/main" id="{47C73A2A-D54F-4110-A713-5703B6C758B6}"/>
              </a:ext>
            </a:extLst>
          </p:cNvPr>
          <p:cNvGrpSpPr/>
          <p:nvPr/>
        </p:nvGrpSpPr>
        <p:grpSpPr>
          <a:xfrm>
            <a:off x="8544012" y="3764282"/>
            <a:ext cx="435249" cy="92333"/>
            <a:chOff x="8177188" y="4533960"/>
            <a:chExt cx="435249" cy="92333"/>
          </a:xfrm>
        </p:grpSpPr>
        <p:sp>
          <p:nvSpPr>
            <p:cNvPr id="449" name="Textfeld 448">
              <a:extLst>
                <a:ext uri="{FF2B5EF4-FFF2-40B4-BE49-F238E27FC236}">
                  <a16:creationId xmlns:a16="http://schemas.microsoft.com/office/drawing/2014/main" id="{087A794E-9393-4EE1-965D-7170140FA7A1}"/>
                </a:ext>
              </a:extLst>
            </p:cNvPr>
            <p:cNvSpPr txBox="1"/>
            <p:nvPr/>
          </p:nvSpPr>
          <p:spPr>
            <a:xfrm>
              <a:off x="8177188" y="4533960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ipzig</a:t>
              </a:r>
            </a:p>
          </p:txBody>
        </p:sp>
        <p:sp>
          <p:nvSpPr>
            <p:cNvPr id="450" name="Ellipse 449">
              <a:extLst>
                <a:ext uri="{FF2B5EF4-FFF2-40B4-BE49-F238E27FC236}">
                  <a16:creationId xmlns:a16="http://schemas.microsoft.com/office/drawing/2014/main" id="{2D3C8CED-6930-47DA-89F3-23B4A62C0DC2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1" name="Gruppieren 450">
            <a:extLst>
              <a:ext uri="{FF2B5EF4-FFF2-40B4-BE49-F238E27FC236}">
                <a16:creationId xmlns:a16="http://schemas.microsoft.com/office/drawing/2014/main" id="{8A96D300-5A18-45C1-AF41-AB73BD0F2210}"/>
              </a:ext>
            </a:extLst>
          </p:cNvPr>
          <p:cNvGrpSpPr/>
          <p:nvPr/>
        </p:nvGrpSpPr>
        <p:grpSpPr>
          <a:xfrm>
            <a:off x="8295207" y="3612875"/>
            <a:ext cx="609957" cy="92333"/>
            <a:chOff x="8136161" y="4517462"/>
            <a:chExt cx="609957" cy="92333"/>
          </a:xfrm>
        </p:grpSpPr>
        <p:sp>
          <p:nvSpPr>
            <p:cNvPr id="452" name="Textfeld 451">
              <a:extLst>
                <a:ext uri="{FF2B5EF4-FFF2-40B4-BE49-F238E27FC236}">
                  <a16:creationId xmlns:a16="http://schemas.microsoft.com/office/drawing/2014/main" id="{5B94CED6-28CB-4F89-81B9-F4249B17F249}"/>
                </a:ext>
              </a:extLst>
            </p:cNvPr>
            <p:cNvSpPr txBox="1"/>
            <p:nvPr/>
          </p:nvSpPr>
          <p:spPr>
            <a:xfrm>
              <a:off x="8220768" y="4517462"/>
              <a:ext cx="52535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üsseldorf</a:t>
              </a:r>
            </a:p>
          </p:txBody>
        </p:sp>
        <p:sp>
          <p:nvSpPr>
            <p:cNvPr id="453" name="Ellipse 452">
              <a:extLst>
                <a:ext uri="{FF2B5EF4-FFF2-40B4-BE49-F238E27FC236}">
                  <a16:creationId xmlns:a16="http://schemas.microsoft.com/office/drawing/2014/main" id="{DC05E0B6-1148-483C-9AE9-F12F5E4EECC8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4" name="Gruppieren 453">
            <a:extLst>
              <a:ext uri="{FF2B5EF4-FFF2-40B4-BE49-F238E27FC236}">
                <a16:creationId xmlns:a16="http://schemas.microsoft.com/office/drawing/2014/main" id="{2F78B2C3-0314-4E44-8012-BACC61DBAD25}"/>
              </a:ext>
            </a:extLst>
          </p:cNvPr>
          <p:cNvGrpSpPr/>
          <p:nvPr/>
        </p:nvGrpSpPr>
        <p:grpSpPr>
          <a:xfrm>
            <a:off x="10535579" y="3749130"/>
            <a:ext cx="453707" cy="92333"/>
            <a:chOff x="8158730" y="4545783"/>
            <a:chExt cx="453707" cy="92333"/>
          </a:xfrm>
        </p:grpSpPr>
        <p:sp>
          <p:nvSpPr>
            <p:cNvPr id="455" name="Textfeld 454">
              <a:extLst>
                <a:ext uri="{FF2B5EF4-FFF2-40B4-BE49-F238E27FC236}">
                  <a16:creationId xmlns:a16="http://schemas.microsoft.com/office/drawing/2014/main" id="{A335D533-3ECE-4A64-B684-88B36CDA1DF3}"/>
                </a:ext>
              </a:extLst>
            </p:cNvPr>
            <p:cNvSpPr txBox="1"/>
            <p:nvPr/>
          </p:nvSpPr>
          <p:spPr>
            <a:xfrm>
              <a:off x="8158730" y="4545783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iev</a:t>
              </a:r>
            </a:p>
          </p:txBody>
        </p:sp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3819D690-41FA-453F-8ED9-DF7E468D46CC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57" name="Gruppieren 456">
            <a:extLst>
              <a:ext uri="{FF2B5EF4-FFF2-40B4-BE49-F238E27FC236}">
                <a16:creationId xmlns:a16="http://schemas.microsoft.com/office/drawing/2014/main" id="{8BE87C98-5CA1-49A9-A0EA-845421725EA3}"/>
              </a:ext>
            </a:extLst>
          </p:cNvPr>
          <p:cNvGrpSpPr/>
          <p:nvPr/>
        </p:nvGrpSpPr>
        <p:grpSpPr>
          <a:xfrm>
            <a:off x="9381717" y="3581559"/>
            <a:ext cx="601999" cy="92333"/>
            <a:chOff x="8010438" y="4542857"/>
            <a:chExt cx="601999" cy="92333"/>
          </a:xfrm>
        </p:grpSpPr>
        <p:sp>
          <p:nvSpPr>
            <p:cNvPr id="458" name="Textfeld 457">
              <a:extLst>
                <a:ext uri="{FF2B5EF4-FFF2-40B4-BE49-F238E27FC236}">
                  <a16:creationId xmlns:a16="http://schemas.microsoft.com/office/drawing/2014/main" id="{504C86B7-A065-41BD-95BA-65A946E23734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arsaw</a:t>
              </a:r>
            </a:p>
          </p:txBody>
        </p:sp>
        <p:sp>
          <p:nvSpPr>
            <p:cNvPr id="459" name="Ellipse 458">
              <a:extLst>
                <a:ext uri="{FF2B5EF4-FFF2-40B4-BE49-F238E27FC236}">
                  <a16:creationId xmlns:a16="http://schemas.microsoft.com/office/drawing/2014/main" id="{4194EF05-1629-4C6E-A6B3-18C18447F5DE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0" name="Gruppieren 459">
            <a:extLst>
              <a:ext uri="{FF2B5EF4-FFF2-40B4-BE49-F238E27FC236}">
                <a16:creationId xmlns:a16="http://schemas.microsoft.com/office/drawing/2014/main" id="{42704DEE-12AF-44A6-A286-0AC9A20B072A}"/>
              </a:ext>
            </a:extLst>
          </p:cNvPr>
          <p:cNvGrpSpPr/>
          <p:nvPr/>
        </p:nvGrpSpPr>
        <p:grpSpPr>
          <a:xfrm>
            <a:off x="7461839" y="3766838"/>
            <a:ext cx="580562" cy="92333"/>
            <a:chOff x="8031875" y="4554554"/>
            <a:chExt cx="580562" cy="92333"/>
          </a:xfrm>
          <a:solidFill>
            <a:srgbClr val="DADAF5"/>
          </a:solidFill>
        </p:grpSpPr>
        <p:sp>
          <p:nvSpPr>
            <p:cNvPr id="461" name="Textfeld 460">
              <a:extLst>
                <a:ext uri="{FF2B5EF4-FFF2-40B4-BE49-F238E27FC236}">
                  <a16:creationId xmlns:a16="http://schemas.microsoft.com/office/drawing/2014/main" id="{EBAAA1B0-E906-4962-8BB3-C36044A6A603}"/>
                </a:ext>
              </a:extLst>
            </p:cNvPr>
            <p:cNvSpPr txBox="1"/>
            <p:nvPr/>
          </p:nvSpPr>
          <p:spPr>
            <a:xfrm>
              <a:off x="8031875" y="4554554"/>
              <a:ext cx="494988" cy="9233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russels</a:t>
              </a:r>
            </a:p>
          </p:txBody>
        </p:sp>
        <p:sp>
          <p:nvSpPr>
            <p:cNvPr id="462" name="Ellipse 461">
              <a:extLst>
                <a:ext uri="{FF2B5EF4-FFF2-40B4-BE49-F238E27FC236}">
                  <a16:creationId xmlns:a16="http://schemas.microsoft.com/office/drawing/2014/main" id="{CE02B419-2787-44FB-AAC9-5F8417BAD913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3" name="Gruppieren 462">
            <a:extLst>
              <a:ext uri="{FF2B5EF4-FFF2-40B4-BE49-F238E27FC236}">
                <a16:creationId xmlns:a16="http://schemas.microsoft.com/office/drawing/2014/main" id="{01CAB728-C0E9-457B-94F7-F4F253F2B447}"/>
              </a:ext>
            </a:extLst>
          </p:cNvPr>
          <p:cNvGrpSpPr/>
          <p:nvPr/>
        </p:nvGrpSpPr>
        <p:grpSpPr>
          <a:xfrm>
            <a:off x="6883073" y="3478115"/>
            <a:ext cx="601999" cy="92333"/>
            <a:chOff x="8010438" y="4542857"/>
            <a:chExt cx="601999" cy="92333"/>
          </a:xfrm>
          <a:solidFill>
            <a:srgbClr val="DADAF5"/>
          </a:solidFill>
        </p:grpSpPr>
        <p:sp>
          <p:nvSpPr>
            <p:cNvPr id="464" name="Textfeld 463">
              <a:extLst>
                <a:ext uri="{FF2B5EF4-FFF2-40B4-BE49-F238E27FC236}">
                  <a16:creationId xmlns:a16="http://schemas.microsoft.com/office/drawing/2014/main" id="{759DA782-332A-4D22-8869-425CC12C568B}"/>
                </a:ext>
              </a:extLst>
            </p:cNvPr>
            <p:cNvSpPr txBox="1"/>
            <p:nvPr/>
          </p:nvSpPr>
          <p:spPr>
            <a:xfrm>
              <a:off x="8010438" y="4542857"/>
              <a:ext cx="49498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ondon</a:t>
              </a:r>
            </a:p>
          </p:txBody>
        </p:sp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DCB4E8C2-2657-42D7-BD70-91082471C125}"/>
                </a:ext>
              </a:extLst>
            </p:cNvPr>
            <p:cNvSpPr/>
            <p:nvPr/>
          </p:nvSpPr>
          <p:spPr>
            <a:xfrm>
              <a:off x="8576437" y="4575716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6" name="Gruppieren 465">
            <a:extLst>
              <a:ext uri="{FF2B5EF4-FFF2-40B4-BE49-F238E27FC236}">
                <a16:creationId xmlns:a16="http://schemas.microsoft.com/office/drawing/2014/main" id="{1D977FCD-5C05-4F7E-9782-A48D4965994B}"/>
              </a:ext>
            </a:extLst>
          </p:cNvPr>
          <p:cNvGrpSpPr/>
          <p:nvPr/>
        </p:nvGrpSpPr>
        <p:grpSpPr>
          <a:xfrm>
            <a:off x="7827609" y="3452747"/>
            <a:ext cx="540000" cy="151088"/>
            <a:chOff x="8107198" y="4371262"/>
            <a:chExt cx="540000" cy="151088"/>
          </a:xfrm>
          <a:solidFill>
            <a:srgbClr val="DADAF5"/>
          </a:solidFill>
        </p:grpSpPr>
        <p:sp>
          <p:nvSpPr>
            <p:cNvPr id="467" name="Textfeld 466">
              <a:extLst>
                <a:ext uri="{FF2B5EF4-FFF2-40B4-BE49-F238E27FC236}">
                  <a16:creationId xmlns:a16="http://schemas.microsoft.com/office/drawing/2014/main" id="{250CF39E-CB0C-4D54-A1EA-7C5237468F93}"/>
                </a:ext>
              </a:extLst>
            </p:cNvPr>
            <p:cNvSpPr txBox="1"/>
            <p:nvPr/>
          </p:nvSpPr>
          <p:spPr>
            <a:xfrm>
              <a:off x="8107198" y="4371262"/>
              <a:ext cx="54000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Verdana"/>
                  <a:ea typeface="+mn-ea"/>
                  <a:cs typeface="+mn-cs"/>
                </a:rPr>
                <a:t>Amsterdam</a:t>
              </a:r>
            </a:p>
          </p:txBody>
        </p:sp>
        <p:sp>
          <p:nvSpPr>
            <p:cNvPr id="468" name="Ellipse 467">
              <a:extLst>
                <a:ext uri="{FF2B5EF4-FFF2-40B4-BE49-F238E27FC236}">
                  <a16:creationId xmlns:a16="http://schemas.microsoft.com/office/drawing/2014/main" id="{B50338F1-4696-409D-A986-C164DEE48D63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69" name="Gruppieren 468">
            <a:extLst>
              <a:ext uri="{FF2B5EF4-FFF2-40B4-BE49-F238E27FC236}">
                <a16:creationId xmlns:a16="http://schemas.microsoft.com/office/drawing/2014/main" id="{BEBBAB18-BF0A-4A91-AF2D-8B6A83D484EF}"/>
              </a:ext>
            </a:extLst>
          </p:cNvPr>
          <p:cNvGrpSpPr/>
          <p:nvPr/>
        </p:nvGrpSpPr>
        <p:grpSpPr>
          <a:xfrm>
            <a:off x="9022214" y="2900411"/>
            <a:ext cx="459248" cy="92333"/>
            <a:chOff x="8136161" y="4516411"/>
            <a:chExt cx="459248" cy="92333"/>
          </a:xfrm>
        </p:grpSpPr>
        <p:sp>
          <p:nvSpPr>
            <p:cNvPr id="470" name="Textfeld 469">
              <a:extLst>
                <a:ext uri="{FF2B5EF4-FFF2-40B4-BE49-F238E27FC236}">
                  <a16:creationId xmlns:a16="http://schemas.microsoft.com/office/drawing/2014/main" id="{4F90E1F0-B345-4554-8E1E-2F4CB1F7CE88}"/>
                </a:ext>
              </a:extLst>
            </p:cNvPr>
            <p:cNvSpPr txBox="1"/>
            <p:nvPr/>
          </p:nvSpPr>
          <p:spPr>
            <a:xfrm>
              <a:off x="8235369" y="4516411"/>
              <a:ext cx="360040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almö</a:t>
              </a:r>
            </a:p>
          </p:txBody>
        </p:sp>
        <p:sp>
          <p:nvSpPr>
            <p:cNvPr id="471" name="Ellipse 470">
              <a:extLst>
                <a:ext uri="{FF2B5EF4-FFF2-40B4-BE49-F238E27FC236}">
                  <a16:creationId xmlns:a16="http://schemas.microsoft.com/office/drawing/2014/main" id="{3CFE28EE-C52C-4C05-A8F9-9FC9F7DB352D}"/>
                </a:ext>
              </a:extLst>
            </p:cNvPr>
            <p:cNvSpPr/>
            <p:nvPr/>
          </p:nvSpPr>
          <p:spPr>
            <a:xfrm>
              <a:off x="8136161" y="455334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2" name="Gruppieren 471">
            <a:extLst>
              <a:ext uri="{FF2B5EF4-FFF2-40B4-BE49-F238E27FC236}">
                <a16:creationId xmlns:a16="http://schemas.microsoft.com/office/drawing/2014/main" id="{52A4BD8F-FB65-46A6-8AC1-A2BDD7A0B4BE}"/>
              </a:ext>
            </a:extLst>
          </p:cNvPr>
          <p:cNvGrpSpPr/>
          <p:nvPr/>
        </p:nvGrpSpPr>
        <p:grpSpPr>
          <a:xfrm>
            <a:off x="8618526" y="1998692"/>
            <a:ext cx="429463" cy="153551"/>
            <a:chOff x="8144034" y="4368799"/>
            <a:chExt cx="429463" cy="153551"/>
          </a:xfrm>
        </p:grpSpPr>
        <p:sp>
          <p:nvSpPr>
            <p:cNvPr id="473" name="Textfeld 472">
              <a:extLst>
                <a:ext uri="{FF2B5EF4-FFF2-40B4-BE49-F238E27FC236}">
                  <a16:creationId xmlns:a16="http://schemas.microsoft.com/office/drawing/2014/main" id="{DD715E2A-AA64-490C-A950-E543665EBDD4}"/>
                </a:ext>
              </a:extLst>
            </p:cNvPr>
            <p:cNvSpPr txBox="1"/>
            <p:nvPr/>
          </p:nvSpPr>
          <p:spPr>
            <a:xfrm>
              <a:off x="8144034" y="436879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slo</a:t>
              </a:r>
            </a:p>
          </p:txBody>
        </p:sp>
        <p:sp>
          <p:nvSpPr>
            <p:cNvPr id="474" name="Ellipse 473">
              <a:extLst>
                <a:ext uri="{FF2B5EF4-FFF2-40B4-BE49-F238E27FC236}">
                  <a16:creationId xmlns:a16="http://schemas.microsoft.com/office/drawing/2014/main" id="{85100E3A-FAA6-4D02-9D3C-FE46C530A12C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75" name="Gruppieren 474">
            <a:extLst>
              <a:ext uri="{FF2B5EF4-FFF2-40B4-BE49-F238E27FC236}">
                <a16:creationId xmlns:a16="http://schemas.microsoft.com/office/drawing/2014/main" id="{00C39AEC-3DC7-48C7-9CF6-52B9AAFCA4D0}"/>
              </a:ext>
            </a:extLst>
          </p:cNvPr>
          <p:cNvGrpSpPr/>
          <p:nvPr/>
        </p:nvGrpSpPr>
        <p:grpSpPr>
          <a:xfrm>
            <a:off x="9957499" y="1922360"/>
            <a:ext cx="429463" cy="143181"/>
            <a:chOff x="8128181" y="4379169"/>
            <a:chExt cx="429463" cy="143181"/>
          </a:xfrm>
        </p:grpSpPr>
        <p:sp>
          <p:nvSpPr>
            <p:cNvPr id="476" name="Textfeld 475">
              <a:extLst>
                <a:ext uri="{FF2B5EF4-FFF2-40B4-BE49-F238E27FC236}">
                  <a16:creationId xmlns:a16="http://schemas.microsoft.com/office/drawing/2014/main" id="{25CEC3A4-56C0-4219-9D0A-2D5B8FA768D9}"/>
                </a:ext>
              </a:extLst>
            </p:cNvPr>
            <p:cNvSpPr txBox="1"/>
            <p:nvPr/>
          </p:nvSpPr>
          <p:spPr>
            <a:xfrm>
              <a:off x="8128181" y="4379169"/>
              <a:ext cx="429463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elsinki</a:t>
              </a:r>
            </a:p>
          </p:txBody>
        </p:sp>
        <p:sp>
          <p:nvSpPr>
            <p:cNvPr id="477" name="Ellipse 476">
              <a:extLst>
                <a:ext uri="{FF2B5EF4-FFF2-40B4-BE49-F238E27FC236}">
                  <a16:creationId xmlns:a16="http://schemas.microsoft.com/office/drawing/2014/main" id="{34D4C5E8-8C8B-470D-B008-FE8783F0EB54}"/>
                </a:ext>
              </a:extLst>
            </p:cNvPr>
            <p:cNvSpPr/>
            <p:nvPr/>
          </p:nvSpPr>
          <p:spPr>
            <a:xfrm>
              <a:off x="8349580" y="4486350"/>
              <a:ext cx="36000" cy="36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" name="Ellipse 1"/>
          <p:cNvSpPr>
            <a:spLocks noChangeAspect="1"/>
          </p:cNvSpPr>
          <p:nvPr/>
        </p:nvSpPr>
        <p:spPr>
          <a:xfrm>
            <a:off x="8849324" y="155977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3</a:t>
            </a:r>
          </a:p>
        </p:txBody>
      </p:sp>
      <p:sp>
        <p:nvSpPr>
          <p:cNvPr id="479" name="Ellipse 478"/>
          <p:cNvSpPr>
            <a:spLocks noChangeAspect="1"/>
          </p:cNvSpPr>
          <p:nvPr/>
        </p:nvSpPr>
        <p:spPr>
          <a:xfrm>
            <a:off x="9624400" y="3700663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</a:t>
            </a:r>
          </a:p>
        </p:txBody>
      </p:sp>
      <p:sp>
        <p:nvSpPr>
          <p:cNvPr id="483" name="Ellipse 482"/>
          <p:cNvSpPr>
            <a:spLocks noChangeAspect="1"/>
          </p:cNvSpPr>
          <p:nvPr/>
        </p:nvSpPr>
        <p:spPr>
          <a:xfrm>
            <a:off x="7355078" y="4113107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Ellipse 483"/>
          <p:cNvSpPr>
            <a:spLocks noChangeAspect="1"/>
          </p:cNvSpPr>
          <p:nvPr/>
        </p:nvSpPr>
        <p:spPr>
          <a:xfrm>
            <a:off x="7950651" y="3714254"/>
            <a:ext cx="324464" cy="324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Ellipse 484"/>
          <p:cNvSpPr>
            <a:spLocks noChangeAspect="1"/>
          </p:cNvSpPr>
          <p:nvPr/>
        </p:nvSpPr>
        <p:spPr>
          <a:xfrm>
            <a:off x="6001331" y="5435340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Ellipse 485"/>
          <p:cNvSpPr>
            <a:spLocks noChangeAspect="1"/>
          </p:cNvSpPr>
          <p:nvPr/>
        </p:nvSpPr>
        <p:spPr>
          <a:xfrm>
            <a:off x="6909172" y="276940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Ellipse 487"/>
          <p:cNvSpPr>
            <a:spLocks noChangeAspect="1"/>
          </p:cNvSpPr>
          <p:nvPr/>
        </p:nvSpPr>
        <p:spPr>
          <a:xfrm>
            <a:off x="8546612" y="502387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490" name="Ellipse 489"/>
          <p:cNvSpPr>
            <a:spLocks noChangeAspect="1"/>
          </p:cNvSpPr>
          <p:nvPr/>
        </p:nvSpPr>
        <p:spPr>
          <a:xfrm>
            <a:off x="652060" y="5608134"/>
            <a:ext cx="180258" cy="180000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1424" y="5605946"/>
            <a:ext cx="30243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g-term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wer purchase agreements and short-term market access / portfolio management</a:t>
            </a:r>
          </a:p>
        </p:txBody>
      </p:sp>
      <p:sp>
        <p:nvSpPr>
          <p:cNvPr id="495" name="Ellipse 478"/>
          <p:cNvSpPr>
            <a:spLocks noChangeAspect="1"/>
          </p:cNvSpPr>
          <p:nvPr/>
        </p:nvSpPr>
        <p:spPr>
          <a:xfrm>
            <a:off x="10246928" y="4478358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482" name="Ellipse 1"/>
          <p:cNvSpPr>
            <a:spLocks noChangeAspect="1"/>
          </p:cNvSpPr>
          <p:nvPr/>
        </p:nvSpPr>
        <p:spPr>
          <a:xfrm>
            <a:off x="649353" y="5995961"/>
            <a:ext cx="185672" cy="18540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TextBox 488"/>
          <p:cNvSpPr txBox="1"/>
          <p:nvPr/>
        </p:nvSpPr>
        <p:spPr>
          <a:xfrm>
            <a:off x="911424" y="6012909"/>
            <a:ext cx="252028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Wh contracted energy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Ellipse 483"/>
          <p:cNvSpPr>
            <a:spLocks noChangeAspect="1"/>
          </p:cNvSpPr>
          <p:nvPr/>
        </p:nvSpPr>
        <p:spPr>
          <a:xfrm>
            <a:off x="8565297" y="3253545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93" name="Ellipse 486"/>
          <p:cNvSpPr>
            <a:spLocks noChangeAspect="1"/>
          </p:cNvSpPr>
          <p:nvPr/>
        </p:nvSpPr>
        <p:spPr>
          <a:xfrm>
            <a:off x="7348497" y="608794"/>
            <a:ext cx="396000" cy="395434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Ellipse 483"/>
          <p:cNvSpPr>
            <a:spLocks noChangeAspect="1"/>
          </p:cNvSpPr>
          <p:nvPr/>
        </p:nvSpPr>
        <p:spPr>
          <a:xfrm>
            <a:off x="7865862" y="2983062"/>
            <a:ext cx="360000" cy="359485"/>
          </a:xfrm>
          <a:prstGeom prst="ellipse">
            <a:avLst/>
          </a:prstGeom>
          <a:solidFill>
            <a:srgbClr val="DADA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1" name="Arc 10"/>
          <p:cNvSpPr/>
          <p:nvPr/>
        </p:nvSpPr>
        <p:spPr>
          <a:xfrm rot="5634061">
            <a:off x="5506803" y="-1159155"/>
            <a:ext cx="2977898" cy="2977898"/>
          </a:xfrm>
          <a:prstGeom prst="arc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64719" y="6581190"/>
            <a:ext cx="147348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gures reporting 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e 30.9.2021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244" name="Slide Number Placeholder 2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8</a:t>
            </a:fld>
            <a:endParaRPr lang="en-GB" dirty="0"/>
          </a:p>
        </p:txBody>
      </p:sp>
      <p:pic>
        <p:nvPicPr>
          <p:cNvPr id="492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0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HY ADVANCED ANALYTICS ?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zure Bootcamp Switzerland, Arindam Mitra &amp; Adrian Senn</a:t>
            </a: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295796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arkets get faster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ublish mo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format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1223451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Competitors 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vestigating the 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possibilitie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mpacting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optimal behaviour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791783" y="1988840"/>
            <a:ext cx="4689763" cy="3718113"/>
          </a:xfrm>
          <a:prstGeom prst="roundRect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utomate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decision proces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and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simultaneously benefit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from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more information 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Keep market shares and grow them as smaller competitors might not have the means to respon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Understand implications and know how to react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Adjust trading concepts to changing market rules (game theory) as competitors are relying on analyt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Be able to benefit from new information sources</a:t>
            </a:r>
            <a:b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Most of the new opportunities will require analytics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New joiners will expect professional framework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Get ready for upcoming market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/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Prepare and master the toolkit </a:t>
            </a:r>
            <a:b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</a:b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 Detect (or even create?) opportun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77533" y="1844824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New opportunities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 </a:t>
            </a: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/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in existing markets</a:t>
            </a:r>
            <a:b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</a:b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Verdana"/>
                <a:ea typeface="+mn-ea"/>
                <a:cs typeface="Segoe UI" panose="020B0502040204020203" pitchFamily="34" charset="0"/>
              </a:rPr>
              <a:t>thanks to new data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D48B8C5B-B0B1-42D4-BEC7-D87A878B2155}"/>
              </a:ext>
            </a:extLst>
          </p:cNvPr>
          <p:cNvSpPr>
            <a:spLocks noChangeAspect="1"/>
          </p:cNvSpPr>
          <p:nvPr/>
        </p:nvSpPr>
        <p:spPr>
          <a:xfrm>
            <a:off x="9187961" y="4014206"/>
            <a:ext cx="1800000" cy="1800000"/>
          </a:xfrm>
          <a:prstGeom prst="ellipse">
            <a:avLst/>
          </a:prstGeom>
          <a:solidFill>
            <a:srgbClr val="FFFFFF">
              <a:alpha val="54000"/>
            </a:srgb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 smtClean="0">
                <a:solidFill>
                  <a:srgbClr val="3D3D3D"/>
                </a:solidFill>
                <a:latin typeface="Verdana"/>
                <a:cs typeface="Segoe UI" panose="020B0502040204020203" pitchFamily="34" charset="0"/>
              </a:rPr>
              <a:t>…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3D3D3D"/>
              </a:solidFill>
              <a:effectLst/>
              <a:uLnTx/>
              <a:uFillTx/>
              <a:latin typeface="Verdan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05/11/2023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9</a:t>
            </a:fld>
            <a:endParaRPr lang="en-GB" dirty="0"/>
          </a:p>
        </p:txBody>
      </p:sp>
      <p:pic>
        <p:nvPicPr>
          <p:cNvPr id="11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296" y="359059"/>
            <a:ext cx="2288282" cy="108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177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TSnLPrTgvbOs51f3742A"/>
</p:tagLst>
</file>

<file path=ppt/theme/theme1.xml><?xml version="1.0" encoding="utf-8"?>
<a:theme xmlns:a="http://schemas.openxmlformats.org/drawingml/2006/main" name="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2.xml><?xml version="1.0" encoding="utf-8"?>
<a:theme xmlns:a="http://schemas.openxmlformats.org/drawingml/2006/main" name="1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3.xml><?xml version="1.0" encoding="utf-8"?>
<a:theme xmlns:a="http://schemas.openxmlformats.org/drawingml/2006/main" name="2_Axpo">
  <a:themeElements>
    <a:clrScheme name="Axpo">
      <a:dk1>
        <a:srgbClr val="3D3D3D"/>
      </a:dk1>
      <a:lt1>
        <a:sysClr val="window" lastClr="FFFFFF"/>
      </a:lt1>
      <a:dk2>
        <a:srgbClr val="000000"/>
      </a:dk2>
      <a:lt2>
        <a:srgbClr val="FFFFFF"/>
      </a:lt2>
      <a:accent1>
        <a:srgbClr val="FF5D64"/>
      </a:accent1>
      <a:accent2>
        <a:srgbClr val="4545CF"/>
      </a:accent2>
      <a:accent3>
        <a:srgbClr val="00ECD1"/>
      </a:accent3>
      <a:accent4>
        <a:srgbClr val="FFED57"/>
      </a:accent4>
      <a:accent5>
        <a:srgbClr val="D8D8D8"/>
      </a:accent5>
      <a:accent6>
        <a:srgbClr val="A2A2E7"/>
      </a:accent6>
      <a:hlink>
        <a:srgbClr val="3D3D3D"/>
      </a:hlink>
      <a:folHlink>
        <a:srgbClr val="3D3D3D"/>
      </a:folHlink>
    </a:clrScheme>
    <a:fontScheme name="Axpo_fonts_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Presentation EN_copmpact.pptx" id="{226C7B97-E3FD-4CF1-9A0D-4ED85D6E325C}" vid="{C4CF1D44-CFCF-4C51-8117-6D8F80A3023A}"/>
    </a:ext>
  </a:extLst>
</a:theme>
</file>

<file path=ppt/theme/theme4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Axpo">
      <a:dk1>
        <a:sysClr val="windowText" lastClr="000000"/>
      </a:dk1>
      <a:lt1>
        <a:sysClr val="window" lastClr="FFFFFF"/>
      </a:lt1>
      <a:dk2>
        <a:srgbClr val="7E6E71"/>
      </a:dk2>
      <a:lt2>
        <a:srgbClr val="E7D0D3"/>
      </a:lt2>
      <a:accent1>
        <a:srgbClr val="E10019"/>
      </a:accent1>
      <a:accent2>
        <a:srgbClr val="B7737C"/>
      </a:accent2>
      <a:accent3>
        <a:srgbClr val="E0D6D3"/>
      </a:accent3>
      <a:accent4>
        <a:srgbClr val="9F4550"/>
      </a:accent4>
      <a:accent5>
        <a:srgbClr val="5E4A4D"/>
      </a:accent5>
      <a:accent6>
        <a:srgbClr val="E7D0D3"/>
      </a:accent6>
      <a:hlink>
        <a:srgbClr val="000000"/>
      </a:hlink>
      <a:folHlink>
        <a:srgbClr val="000000"/>
      </a:folHlink>
    </a:clrScheme>
    <a:fontScheme name="Ax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&quot;Coral Red&quot;">
      <a:srgbClr val="FF5D64"/>
    </a:custClr>
    <a:custClr name="&quot;Light Red&quot;">
      <a:srgbClr val="F89AA6"/>
    </a:custClr>
    <a:custClr name="&quot;Horizon Blue&quot;">
      <a:srgbClr val="4545CF"/>
    </a:custClr>
    <a:custClr name="&quot;Medium Blue&quot;">
      <a:srgbClr val="A2A2E7"/>
    </a:custClr>
    <a:custClr name="&quot;Light Blue&quot;">
      <a:srgbClr val="DADAF5"/>
    </a:custClr>
    <a:custClr name="&quot;Aqua Green&quot;">
      <a:srgbClr val="00ECD1"/>
    </a:custClr>
    <a:custClr name="&quot;Light Green&quot;">
      <a:srgbClr val="AAF9F0"/>
    </a:custClr>
    <a:custClr name="&quot;Solar Yellow&quot;">
      <a:srgbClr val="FFED57"/>
    </a:custClr>
    <a:custClr name="&quot;Light Yellow&quot;">
      <a:srgbClr val="FFEDB3"/>
    </a:custClr>
    <a:custClr name="&quot;Grey&quot;">
      <a:srgbClr val="D8D8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E594130A2AF244FBF3F304D904ED593" ma:contentTypeVersion="11" ma:contentTypeDescription="Ein neues Dokument erstellen." ma:contentTypeScope="" ma:versionID="c1c5daacc5f11f71f165ca53949573d1">
  <xsd:schema xmlns:xsd="http://www.w3.org/2001/XMLSchema" xmlns:xs="http://www.w3.org/2001/XMLSchema" xmlns:p="http://schemas.microsoft.com/office/2006/metadata/properties" xmlns:ns2="c9077d15-72ed-4fec-bcfe-3472729e9195" targetNamespace="http://schemas.microsoft.com/office/2006/metadata/properties" ma:root="true" ma:fieldsID="21fde61944c682fd238978b96a8d7f8b" ns2:_="">
    <xsd:import namespace="c9077d15-72ed-4fec-bcfe-3472729e91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077d15-72ed-4fec-bcfe-3472729e91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C711DA5-D012-41E9-B668-198D5AEB2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814995-30EC-42F4-8221-AAA0E891BD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077d15-72ed-4fec-bcfe-3472729e91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B389CE-F2E4-4929-8C37-24BCD70BC375}">
  <ds:schemaRefs>
    <ds:schemaRef ds:uri="http://schemas.openxmlformats.org/package/2006/metadata/core-properties"/>
    <ds:schemaRef ds:uri="c9077d15-72ed-4fec-bcfe-3472729e9195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EN_copmpact</Template>
  <TotalTime>0</TotalTime>
  <Words>1545</Words>
  <Application>Microsoft Office PowerPoint</Application>
  <PresentationFormat>Widescreen</PresentationFormat>
  <Paragraphs>418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Arial</vt:lpstr>
      <vt:lpstr>Calibri</vt:lpstr>
      <vt:lpstr>Segoe UI</vt:lpstr>
      <vt:lpstr>Verdana</vt:lpstr>
      <vt:lpstr>Wingdings</vt:lpstr>
      <vt:lpstr>Axpo</vt:lpstr>
      <vt:lpstr>1_Axpo</vt:lpstr>
      <vt:lpstr>2_Axpo</vt:lpstr>
      <vt:lpstr>think-cell Folie</vt:lpstr>
      <vt:lpstr>Advanced Analytics with Azure DevOps Dojo </vt:lpstr>
      <vt:lpstr>SESSION ABSTRACT:-</vt:lpstr>
      <vt:lpstr>SPEAKER INTRODUCTION:-</vt:lpstr>
      <vt:lpstr>SPEAKER INTRODUCTION:-</vt:lpstr>
      <vt:lpstr>AGENDA:-</vt:lpstr>
      <vt:lpstr>PowerPoint Presentation</vt:lpstr>
      <vt:lpstr>Leveraging volatility and optionality</vt:lpstr>
      <vt:lpstr>PORTFOLIO:-</vt:lpstr>
      <vt:lpstr>WHY ADVANCED ANALYTICS ?</vt:lpstr>
      <vt:lpstr>ANALYTICS AT AXPO:-</vt:lpstr>
      <vt:lpstr>IDEAS IN A COMPLEX WORLD:-</vt:lpstr>
      <vt:lpstr>PHYSICAL POWER TRADING:-</vt:lpstr>
      <vt:lpstr>ADJUST TO NEW SITUATION  FAST:-</vt:lpstr>
      <vt:lpstr>CURRENT MODELS | FACTS &amp; FIGURES:-</vt:lpstr>
      <vt:lpstr>AZURE ARCHITECTURE:-</vt:lpstr>
      <vt:lpstr>DEVOPS IN ADVANCED  ANALYTICS:-</vt:lpstr>
      <vt:lpstr>PIPELINE TEMPLATES:-</vt:lpstr>
      <vt:lpstr>MULTIPLE ENVIRONMENT:-</vt:lpstr>
      <vt:lpstr>DEVOPS SSH WITH TF MODULES:-</vt:lpstr>
      <vt:lpstr>HOW WE ONBOARD  USE CASE:-</vt:lpstr>
      <vt:lpstr>DEMO WORKFLOW:-</vt:lpstr>
      <vt:lpstr>GRATITUDE:- </vt:lpstr>
      <vt:lpstr>PowerPoint Presentation</vt:lpstr>
    </vt:vector>
  </TitlesOfParts>
  <Company>Avectr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Analytics &amp; DevOps Dojo</dc:title>
  <dc:creator>Senn Adrian TDD</dc:creator>
  <cp:lastModifiedBy>Mitra Arindam TCI-I</cp:lastModifiedBy>
  <cp:revision>75</cp:revision>
  <dcterms:created xsi:type="dcterms:W3CDTF">2023-04-28T14:51:59Z</dcterms:created>
  <dcterms:modified xsi:type="dcterms:W3CDTF">2023-05-09T23:3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48412639</vt:i4>
  </property>
  <property fmtid="{D5CDD505-2E9C-101B-9397-08002B2CF9AE}" pid="3" name="_NewReviewCycle">
    <vt:lpwstr/>
  </property>
  <property fmtid="{D5CDD505-2E9C-101B-9397-08002B2CF9AE}" pid="4" name="_EmailSubject">
    <vt:lpwstr>Austausch MS PowerPoint u. Excel</vt:lpwstr>
  </property>
  <property fmtid="{D5CDD505-2E9C-101B-9397-08002B2CF9AE}" pid="5" name="_AuthorEmail">
    <vt:lpwstr>Isabelle.Grabolus@axpo.com</vt:lpwstr>
  </property>
  <property fmtid="{D5CDD505-2E9C-101B-9397-08002B2CF9AE}" pid="6" name="_AuthorEmailDisplayName">
    <vt:lpwstr>Grabolus Isabelle MKN</vt:lpwstr>
  </property>
  <property fmtid="{D5CDD505-2E9C-101B-9397-08002B2CF9AE}" pid="7" name="ContentTypeId">
    <vt:lpwstr>0x0101000E594130A2AF244FBF3F304D904ED593</vt:lpwstr>
  </property>
  <property fmtid="{D5CDD505-2E9C-101B-9397-08002B2CF9AE}" pid="8" name="_PreviousAdHocReviewCycleID">
    <vt:i4>-703151674</vt:i4>
  </property>
</Properties>
</file>